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36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tags/tag225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32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Default Extension="gif" ContentType="image/gif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3" r:id="rId1"/>
  </p:sldMasterIdLst>
  <p:notesMasterIdLst>
    <p:notesMasterId r:id="rId17"/>
  </p:notesMasterIdLst>
  <p:handoutMasterIdLst>
    <p:handoutMasterId r:id="rId18"/>
  </p:handoutMasterIdLst>
  <p:sldIdLst>
    <p:sldId id="364" r:id="rId2"/>
    <p:sldId id="419" r:id="rId3"/>
    <p:sldId id="373" r:id="rId4"/>
    <p:sldId id="414" r:id="rId5"/>
    <p:sldId id="412" r:id="rId6"/>
    <p:sldId id="420" r:id="rId7"/>
    <p:sldId id="421" r:id="rId8"/>
    <p:sldId id="395" r:id="rId9"/>
    <p:sldId id="396" r:id="rId10"/>
    <p:sldId id="433" r:id="rId11"/>
    <p:sldId id="428" r:id="rId12"/>
    <p:sldId id="429" r:id="rId13"/>
    <p:sldId id="431" r:id="rId14"/>
    <p:sldId id="427" r:id="rId15"/>
    <p:sldId id="389" r:id="rId16"/>
  </p:sldIdLst>
  <p:sldSz cx="9906000" cy="6858000" type="A4"/>
  <p:notesSz cx="7010400" cy="9296400"/>
  <p:custDataLst>
    <p:tags r:id="rId19"/>
  </p:custDataLst>
  <p:defaultTextStyle>
    <a:defPPr lvl="0">
      <a:defRPr lang="da-DK"/>
    </a:defPPr>
    <a:lvl1pPr lvl="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160" lvl="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320" lvl="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480" lvl="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63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5799" algn="l" defTabSz="91432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2959" algn="l" defTabSz="91432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118" algn="l" defTabSz="91432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278" algn="l" defTabSz="91432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065">
          <p15:clr>
            <a:srgbClr val="A4A3A4"/>
          </p15:clr>
        </p15:guide>
        <p15:guide id="2" orient="horz" pos="749">
          <p15:clr>
            <a:srgbClr val="A4A3A4"/>
          </p15:clr>
        </p15:guide>
        <p15:guide id="3" orient="horz" pos="3741">
          <p15:clr>
            <a:srgbClr val="A4A3A4"/>
          </p15:clr>
        </p15:guide>
        <p15:guide id="4" orient="horz" pos="4187">
          <p15:clr>
            <a:srgbClr val="A4A3A4"/>
          </p15:clr>
        </p15:guide>
        <p15:guide id="5" orient="horz" pos="2211">
          <p15:clr>
            <a:srgbClr val="A4A3A4"/>
          </p15:clr>
        </p15:guide>
        <p15:guide id="6" orient="horz" pos="2280">
          <p15:clr>
            <a:srgbClr val="A4A3A4"/>
          </p15:clr>
        </p15:guide>
        <p15:guide id="7" orient="horz" pos="112">
          <p15:clr>
            <a:srgbClr val="A4A3A4"/>
          </p15:clr>
        </p15:guide>
        <p15:guide id="8" pos="249">
          <p15:clr>
            <a:srgbClr val="A4A3A4"/>
          </p15:clr>
        </p15:guide>
        <p15:guide id="9" pos="5992">
          <p15:clr>
            <a:srgbClr val="A4A3A4"/>
          </p15:clr>
        </p15:guide>
        <p15:guide id="10" pos="3076">
          <p15:clr>
            <a:srgbClr val="A4A3A4"/>
          </p15:clr>
        </p15:guide>
        <p15:guide id="11" pos="31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 userDrawn="1">
          <p15:clr>
            <a:srgbClr val="A4A3A4"/>
          </p15:clr>
        </p15:guide>
        <p15:guide id="2" pos="220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83A5C"/>
    <a:srgbClr val="D4D47E"/>
    <a:srgbClr val="E4E5E0"/>
    <a:srgbClr val="6B90B6"/>
    <a:srgbClr val="646B00"/>
    <a:srgbClr val="1F5C0C"/>
    <a:srgbClr val="A1C589"/>
    <a:srgbClr val="A05D15"/>
    <a:srgbClr val="E8AF70"/>
    <a:srgbClr val="C30F1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67" autoAdjust="0"/>
    <p:restoredTop sz="71665" autoAdjust="0"/>
  </p:normalViewPr>
  <p:slideViewPr>
    <p:cSldViewPr snapToGrid="0">
      <p:cViewPr varScale="1">
        <p:scale>
          <a:sx n="86" d="100"/>
          <a:sy n="86" d="100"/>
        </p:scale>
        <p:origin x="-564" y="-90"/>
      </p:cViewPr>
      <p:guideLst>
        <p:guide orient="horz" pos="4065"/>
        <p:guide orient="horz" pos="749"/>
        <p:guide orient="horz" pos="3741"/>
        <p:guide orient="horz" pos="4187"/>
        <p:guide orient="horz" pos="2211"/>
        <p:guide orient="horz" pos="2280"/>
        <p:guide orient="horz" pos="112"/>
        <p:guide pos="249"/>
        <p:guide pos="5992"/>
        <p:guide pos="3076"/>
        <p:guide pos="31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226"/>
    </p:cViewPr>
  </p:sorterViewPr>
  <p:notesViewPr>
    <p:cSldViewPr snapToGrid="0" showGuides="1">
      <p:cViewPr varScale="1">
        <p:scale>
          <a:sx n="88" d="100"/>
          <a:sy n="88" d="100"/>
        </p:scale>
        <p:origin x="-3804" y="-102"/>
      </p:cViewPr>
      <p:guideLst>
        <p:guide orient="horz" pos="2928"/>
        <p:guide pos="220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image" Target="../media/image28.emf"/><Relationship Id="rId4" Type="http://schemas.openxmlformats.org/officeDocument/2006/relationships/image" Target="../media/image31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image" Target="../media/image2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image" Target="../media/image3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4.emf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46" cy="465195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970302" y="0"/>
            <a:ext cx="3038445" cy="465195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DA526B7E-4E69-4316-A373-BAD7945F255F}" type="datetimeFigureOut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2" y="8829710"/>
            <a:ext cx="3038446" cy="465194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970302" y="8829710"/>
            <a:ext cx="3038445" cy="465194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5CD57E57-8544-41DD-9E4D-E797284126E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115809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7841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937" y="0"/>
            <a:ext cx="3037841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87425" y="696913"/>
            <a:ext cx="503555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1" y="4415791"/>
            <a:ext cx="5608320" cy="41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307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29967"/>
            <a:ext cx="3037841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937" y="8829967"/>
            <a:ext cx="3037841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EAA2392-EDAE-4E89-9F86-516214C2A8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624295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16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32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48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63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5799" algn="l" defTabSz="9143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9" algn="l" defTabSz="9143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18" algn="l" defTabSz="9143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78" algn="l" defTabSz="9143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xmlns="" val="11470244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75503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xmlns="" val="946617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906000" cy="4391999"/>
          </a:xfrm>
          <a:prstGeom prst="rect">
            <a:avLst/>
          </a:prstGeom>
          <a:solidFill>
            <a:srgbClr val="E4E5E0"/>
          </a:solidFill>
        </p:spPr>
        <p:txBody>
          <a:bodyPr bIns="1800000" anchor="b" anchorCtr="0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71599134"/>
              </p:ext>
            </p:extLst>
          </p:nvPr>
        </p:nvGraphicFramePr>
        <p:xfrm>
          <a:off x="2" y="1"/>
          <a:ext cx="171980" cy="158750"/>
        </p:xfrm>
        <a:graphic>
          <a:graphicData uri="http://schemas.openxmlformats.org/presentationml/2006/ole">
            <p:oleObj spid="_x0000_s580913" name="think-cell Slide" r:id="rId3" imgW="0" imgH="0" progId="">
              <p:embed/>
            </p:oleObj>
          </a:graphicData>
        </a:graphic>
      </p:graphicFrame>
      <p:sp>
        <p:nvSpPr>
          <p:cNvPr id="26" name="Subtitle 32"/>
          <p:cNvSpPr>
            <a:spLocks noGrp="1"/>
          </p:cNvSpPr>
          <p:nvPr>
            <p:ph type="subTitle" idx="1"/>
          </p:nvPr>
        </p:nvSpPr>
        <p:spPr>
          <a:xfrm>
            <a:off x="565200" y="1404338"/>
            <a:ext cx="5113894" cy="4079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27" name="Text Placeholder 33"/>
          <p:cNvSpPr>
            <a:spLocks noGrp="1"/>
          </p:cNvSpPr>
          <p:nvPr>
            <p:ph type="body" sz="quarter" idx="12"/>
          </p:nvPr>
        </p:nvSpPr>
        <p:spPr>
          <a:xfrm>
            <a:off x="565200" y="4552703"/>
            <a:ext cx="3379786" cy="188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28" name="Text Placeholder 34"/>
          <p:cNvSpPr>
            <a:spLocks noGrp="1"/>
          </p:cNvSpPr>
          <p:nvPr>
            <p:ph type="body" sz="quarter" idx="13"/>
          </p:nvPr>
        </p:nvSpPr>
        <p:spPr>
          <a:xfrm>
            <a:off x="565200" y="4766089"/>
            <a:ext cx="3379786" cy="1846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pic>
        <p:nvPicPr>
          <p:cNvPr id="32" name="Billede 7" descr="DONG Energy CMYK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234006" y="6242540"/>
            <a:ext cx="1260000" cy="40339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65495" y="432000"/>
            <a:ext cx="5101880" cy="825487"/>
          </a:xfrm>
        </p:spPr>
        <p:txBody>
          <a:bodyPr anchor="b" anchorCtr="0"/>
          <a:lstStyle>
            <a:lvl1pPr>
              <a:defRPr sz="2500" cap="all" spc="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add </a:t>
            </a:r>
            <a:br>
              <a:rPr lang="en-GB" dirty="0" smtClean="0"/>
            </a:br>
            <a:r>
              <a:rPr lang="en-GB" dirty="0" smtClean="0"/>
              <a:t>Master Titl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403200" y="0"/>
            <a:ext cx="0" cy="1186907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xmlns="" val="128204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 rot="5400000">
            <a:off x="6317823" y="2757060"/>
            <a:ext cx="5626829" cy="7272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  <p:sp>
        <p:nvSpPr>
          <p:cNvPr id="11" name="Content Placeholder 5"/>
          <p:cNvSpPr>
            <a:spLocks noGrp="1"/>
          </p:cNvSpPr>
          <p:nvPr>
            <p:ph idx="14"/>
          </p:nvPr>
        </p:nvSpPr>
        <p:spPr>
          <a:xfrm rot="5400000">
            <a:off x="1772928" y="-1063742"/>
            <a:ext cx="5624939" cy="8380221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3628833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auto">
          <a:xfrm>
            <a:off x="392401" y="1173161"/>
            <a:ext cx="9111963" cy="4768852"/>
          </a:xfrm>
          <a:prstGeom prst="rect">
            <a:avLst/>
          </a:prstGeom>
          <a:solidFill>
            <a:srgbClr val="E9EA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92399" y="338400"/>
            <a:ext cx="9104401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65593" y="1310830"/>
            <a:ext cx="8773200" cy="44820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Wingdings" panose="05000000000000000000" pitchFamily="2" charset="2"/>
              <a:buChar char="§"/>
              <a:defRPr sz="1200"/>
            </a:lvl1pPr>
            <a:lvl2pPr marL="269875" indent="-90488">
              <a:buFont typeface="Arial" panose="020B0604020202020204" pitchFamily="34" charset="0"/>
              <a:buChar char="-"/>
              <a:defRPr sz="1200"/>
            </a:lvl2pPr>
            <a:lvl3pPr marL="360363" indent="-90488">
              <a:buFont typeface="Arial" panose="020B0604020202020204" pitchFamily="34" charset="0"/>
              <a:buChar char="-"/>
              <a:defRPr/>
            </a:lvl3pPr>
            <a:lvl4pPr marL="542925" indent="-180975">
              <a:buFont typeface="Courier New" panose="02070309020205020404" pitchFamily="49" charset="0"/>
              <a:buChar char="o"/>
              <a:defRPr sz="10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1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50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81080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 smtClean="0"/>
              <a:t>Advanced Energy Conference 2016</a:t>
            </a:r>
            <a:endParaRPr lang="da-DK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11815A-B20D-485D-A42D-61E71CBE0279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xmlns="" val="28589102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2"/>
          <p:cNvSpPr>
            <a:spLocks noGrp="1"/>
          </p:cNvSpPr>
          <p:nvPr>
            <p:ph type="dt" sz="half" idx="10"/>
          </p:nvPr>
        </p:nvSpPr>
        <p:spPr>
          <a:xfrm>
            <a:off x="5644800" y="6526799"/>
            <a:ext cx="2311400" cy="140400"/>
          </a:xfrm>
        </p:spPr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1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70552" y="6526800"/>
            <a:ext cx="288000" cy="140400"/>
          </a:xfrm>
        </p:spPr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390002" y="1328738"/>
            <a:ext cx="9129046" cy="42101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654300" y="6544089"/>
            <a:ext cx="3379786" cy="12311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800" b="1" cap="all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 dirty="0" smtClean="0"/>
              <a:t>DONG Energy corporate strategy</a:t>
            </a:r>
            <a:endParaRPr lang="en-GB" noProof="0" dirty="0"/>
          </a:p>
        </p:txBody>
      </p:sp>
      <p:sp>
        <p:nvSpPr>
          <p:cNvPr id="22" name="Title 7"/>
          <p:cNvSpPr>
            <a:spLocks noGrp="1"/>
          </p:cNvSpPr>
          <p:nvPr>
            <p:ph type="title"/>
          </p:nvPr>
        </p:nvSpPr>
        <p:spPr>
          <a:xfrm>
            <a:off x="390002" y="338400"/>
            <a:ext cx="9129046" cy="823912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97751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92400" y="1187999"/>
            <a:ext cx="9118800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7" name="Content Placeholder 5"/>
          <p:cNvSpPr>
            <a:spLocks noGrp="1"/>
          </p:cNvSpPr>
          <p:nvPr>
            <p:ph idx="1"/>
          </p:nvPr>
        </p:nvSpPr>
        <p:spPr>
          <a:xfrm>
            <a:off x="546450" y="1322056"/>
            <a:ext cx="8814907" cy="4464961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 lvl="0">
              <a:defRPr lang="da-DK"/>
            </a:defPPr>
            <a:lvl1pPr lvl="1" algn="l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800" kern="1200" cap="all" baseline="0">
                <a:solidFill>
                  <a:srgbClr val="929497"/>
                </a:solidFill>
                <a:latin typeface="Arial" charset="0"/>
                <a:ea typeface="+mn-ea"/>
                <a:cs typeface="+mn-cs"/>
              </a:defRPr>
            </a:lvl1pPr>
            <a:lvl2pPr marL="457160" lvl="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320" lvl="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480" lvl="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6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79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295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11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27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5600" y="6523200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501433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  <p:sp>
        <p:nvSpPr>
          <p:cNvPr id="10" name="Content Placeholder 5"/>
          <p:cNvSpPr>
            <a:spLocks noGrp="1"/>
          </p:cNvSpPr>
          <p:nvPr>
            <p:ph idx="1"/>
          </p:nvPr>
        </p:nvSpPr>
        <p:spPr>
          <a:xfrm>
            <a:off x="395288" y="1189038"/>
            <a:ext cx="9117012" cy="4749800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005268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templa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021550" y="1187999"/>
            <a:ext cx="4490750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2" name="Content Placeholder 5"/>
          <p:cNvSpPr>
            <a:spLocks noGrp="1"/>
          </p:cNvSpPr>
          <p:nvPr>
            <p:ph idx="15"/>
          </p:nvPr>
        </p:nvSpPr>
        <p:spPr>
          <a:xfrm>
            <a:off x="5176178" y="1321200"/>
            <a:ext cx="4181494" cy="4464961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92400" y="1187999"/>
            <a:ext cx="4490750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0" name="Content Placeholder 5"/>
          <p:cNvSpPr>
            <a:spLocks noGrp="1"/>
          </p:cNvSpPr>
          <p:nvPr>
            <p:ph idx="14"/>
          </p:nvPr>
        </p:nvSpPr>
        <p:spPr>
          <a:xfrm>
            <a:off x="546451" y="1322056"/>
            <a:ext cx="4181494" cy="4464961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90261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74" name="think-cell Slide" r:id="rId3" imgW="360" imgH="360" progId="">
              <p:embed/>
            </p:oleObj>
          </a:graphicData>
        </a:graphic>
      </p:graphicFrame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12654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763155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7672" name="think-cell Slide" r:id="rId3" imgW="360" imgH="360" progId="">
              <p:embed/>
            </p:oleObj>
          </a:graphicData>
        </a:graphic>
      </p:graphicFrame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  <p:sp>
        <p:nvSpPr>
          <p:cNvPr id="13" name="Content Placeholder 5"/>
          <p:cNvSpPr>
            <a:spLocks noGrp="1"/>
          </p:cNvSpPr>
          <p:nvPr>
            <p:ph idx="15"/>
          </p:nvPr>
        </p:nvSpPr>
        <p:spPr>
          <a:xfrm>
            <a:off x="5022000" y="1188000"/>
            <a:ext cx="4489200" cy="4748400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idx="14"/>
          </p:nvPr>
        </p:nvSpPr>
        <p:spPr>
          <a:xfrm>
            <a:off x="392400" y="1188000"/>
            <a:ext cx="4489554" cy="4748400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37451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 templa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9878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8643" name="think-cell Slide" r:id="rId3" imgW="360" imgH="360" progId="">
              <p:embed/>
            </p:oleObj>
          </a:graphicData>
        </a:graphic>
      </p:graphicFrame>
      <p:sp>
        <p:nvSpPr>
          <p:cNvPr id="3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5021550" y="118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5" name="Content Placeholder 5"/>
          <p:cNvSpPr>
            <a:spLocks noGrp="1"/>
          </p:cNvSpPr>
          <p:nvPr>
            <p:ph idx="15"/>
          </p:nvPr>
        </p:nvSpPr>
        <p:spPr>
          <a:xfrm>
            <a:off x="5176178" y="1321200"/>
            <a:ext cx="4181494" cy="2052865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92400" y="118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7" name="Content Placeholder 5"/>
          <p:cNvSpPr>
            <a:spLocks noGrp="1"/>
          </p:cNvSpPr>
          <p:nvPr>
            <p:ph idx="14"/>
          </p:nvPr>
        </p:nvSpPr>
        <p:spPr>
          <a:xfrm>
            <a:off x="546451" y="1322056"/>
            <a:ext cx="4181494" cy="2052865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5021550" y="361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9" name="Content Placeholder 5"/>
          <p:cNvSpPr>
            <a:spLocks noGrp="1"/>
          </p:cNvSpPr>
          <p:nvPr>
            <p:ph idx="16"/>
          </p:nvPr>
        </p:nvSpPr>
        <p:spPr>
          <a:xfrm>
            <a:off x="5176178" y="3750771"/>
            <a:ext cx="4181494" cy="2052865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30" name="Rectangle 29"/>
          <p:cNvSpPr/>
          <p:nvPr userDrawn="1"/>
        </p:nvSpPr>
        <p:spPr>
          <a:xfrm>
            <a:off x="392400" y="361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31" name="Content Placeholder 5"/>
          <p:cNvSpPr>
            <a:spLocks noGrp="1"/>
          </p:cNvSpPr>
          <p:nvPr>
            <p:ph idx="17"/>
          </p:nvPr>
        </p:nvSpPr>
        <p:spPr>
          <a:xfrm>
            <a:off x="546451" y="3751627"/>
            <a:ext cx="4181494" cy="2052865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773362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ing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59603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01637" y="1303963"/>
            <a:ext cx="9102726" cy="44729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23742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  <p:sp>
        <p:nvSpPr>
          <p:cNvPr id="11" name="Content Placeholder 5"/>
          <p:cNvSpPr>
            <a:spLocks noGrp="1"/>
          </p:cNvSpPr>
          <p:nvPr>
            <p:ph idx="14"/>
          </p:nvPr>
        </p:nvSpPr>
        <p:spPr>
          <a:xfrm rot="5400000">
            <a:off x="2578895" y="-994569"/>
            <a:ext cx="4749800" cy="9117013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108222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30810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87942" name="think-cell Slide" r:id="rId16" imgW="360" imgH="360" progId="">
              <p:embed/>
            </p:oleObj>
          </a:graphicData>
        </a:graphic>
      </p:graphicFrame>
      <p:pic>
        <p:nvPicPr>
          <p:cNvPr id="47" name="Billede 7" descr="DONG Energy CMYK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8234006" y="6242540"/>
            <a:ext cx="1260000" cy="40339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8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92398" y="338400"/>
            <a:ext cx="9108000" cy="688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Klik</a:t>
            </a:r>
            <a:r>
              <a:rPr lang="en-GB" noProof="0" dirty="0" smtClean="0"/>
              <a:t> for at </a:t>
            </a:r>
            <a:r>
              <a:rPr lang="en-GB" noProof="0" dirty="0" err="1" smtClean="0"/>
              <a:t>redigere</a:t>
            </a:r>
            <a:r>
              <a:rPr lang="en-GB" noProof="0" dirty="0" smtClean="0"/>
              <a:t> </a:t>
            </a:r>
            <a:r>
              <a:rPr lang="en-GB" noProof="0" dirty="0" err="1" smtClean="0"/>
              <a:t>titeltypografi</a:t>
            </a:r>
            <a:r>
              <a:rPr lang="en-GB" noProof="0" dirty="0" smtClean="0"/>
              <a:t> i </a:t>
            </a:r>
            <a:r>
              <a:rPr lang="en-GB" noProof="0" dirty="0" err="1" smtClean="0"/>
              <a:t>masteren</a:t>
            </a:r>
            <a:endParaRPr lang="en-GB" noProof="0" dirty="0" smtClean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GB" smtClean="0"/>
              <a:t>Advanced Energy Conference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64009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96" r:id="rId2"/>
    <p:sldLayoutId id="2147483792" r:id="rId3"/>
    <p:sldLayoutId id="2147483794" r:id="rId4"/>
    <p:sldLayoutId id="2147483793" r:id="rId5"/>
    <p:sldLayoutId id="2147483795" r:id="rId6"/>
    <p:sldLayoutId id="2147483787" r:id="rId7"/>
    <p:sldLayoutId id="2147483788" r:id="rId8"/>
    <p:sldLayoutId id="2147483789" r:id="rId9"/>
    <p:sldLayoutId id="2147483790" r:id="rId10"/>
    <p:sldLayoutId id="2147483797" r:id="rId11"/>
    <p:sldLayoutId id="2147483798" r:id="rId12"/>
    <p:sldLayoutId id="2147483799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61950" indent="-182563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360363" indent="-904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4.png"/><Relationship Id="rId4" Type="http://schemas.openxmlformats.org/officeDocument/2006/relationships/oleObject" Target="../embeddings/oleObject27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18" Type="http://schemas.openxmlformats.org/officeDocument/2006/relationships/tags" Target="../tags/tag229.xml"/><Relationship Id="rId26" Type="http://schemas.openxmlformats.org/officeDocument/2006/relationships/tags" Target="../tags/tag237.xml"/><Relationship Id="rId3" Type="http://schemas.openxmlformats.org/officeDocument/2006/relationships/tags" Target="../tags/tag214.xml"/><Relationship Id="rId21" Type="http://schemas.openxmlformats.org/officeDocument/2006/relationships/tags" Target="../tags/tag232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tags" Target="../tags/tag228.xml"/><Relationship Id="rId25" Type="http://schemas.openxmlformats.org/officeDocument/2006/relationships/tags" Target="../tags/tag236.xml"/><Relationship Id="rId2" Type="http://schemas.openxmlformats.org/officeDocument/2006/relationships/tags" Target="../tags/tag213.xml"/><Relationship Id="rId16" Type="http://schemas.openxmlformats.org/officeDocument/2006/relationships/tags" Target="../tags/tag227.xml"/><Relationship Id="rId20" Type="http://schemas.openxmlformats.org/officeDocument/2006/relationships/tags" Target="../tags/tag231.xml"/><Relationship Id="rId29" Type="http://schemas.openxmlformats.org/officeDocument/2006/relationships/oleObject" Target="../embeddings/oleObject28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24" Type="http://schemas.openxmlformats.org/officeDocument/2006/relationships/tags" Target="../tags/tag235.xml"/><Relationship Id="rId5" Type="http://schemas.openxmlformats.org/officeDocument/2006/relationships/tags" Target="../tags/tag216.xml"/><Relationship Id="rId15" Type="http://schemas.openxmlformats.org/officeDocument/2006/relationships/tags" Target="../tags/tag226.xml"/><Relationship Id="rId23" Type="http://schemas.openxmlformats.org/officeDocument/2006/relationships/tags" Target="../tags/tag234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221.xml"/><Relationship Id="rId19" Type="http://schemas.openxmlformats.org/officeDocument/2006/relationships/tags" Target="../tags/tag230.xml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4" Type="http://schemas.openxmlformats.org/officeDocument/2006/relationships/tags" Target="../tags/tag225.xml"/><Relationship Id="rId22" Type="http://schemas.openxmlformats.org/officeDocument/2006/relationships/tags" Target="../tags/tag233.xml"/><Relationship Id="rId27" Type="http://schemas.openxmlformats.org/officeDocument/2006/relationships/tags" Target="../tags/tag238.xml"/><Relationship Id="rId30" Type="http://schemas.openxmlformats.org/officeDocument/2006/relationships/oleObject" Target="../embeddings/oleObject2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gif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openxmlformats.org/officeDocument/2006/relationships/oleObject" Target="../embeddings/oleObject3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7.jpeg"/><Relationship Id="rId5" Type="http://schemas.openxmlformats.org/officeDocument/2006/relationships/image" Target="../media/image46.png"/><Relationship Id="rId4" Type="http://schemas.openxmlformats.org/officeDocument/2006/relationships/oleObject" Target="../embeddings/oleObject3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51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Relationship Id="rId9" Type="http://schemas.openxmlformats.org/officeDocument/2006/relationships/image" Target="../media/image53.jpeg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4.xml"/><Relationship Id="rId21" Type="http://schemas.openxmlformats.org/officeDocument/2006/relationships/tags" Target="../tags/tag29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63" Type="http://schemas.openxmlformats.org/officeDocument/2006/relationships/tags" Target="../tags/tag71.xml"/><Relationship Id="rId68" Type="http://schemas.openxmlformats.org/officeDocument/2006/relationships/tags" Target="../tags/tag76.xml"/><Relationship Id="rId84" Type="http://schemas.openxmlformats.org/officeDocument/2006/relationships/tags" Target="../tags/tag92.xml"/><Relationship Id="rId89" Type="http://schemas.openxmlformats.org/officeDocument/2006/relationships/tags" Target="../tags/tag97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9" Type="http://schemas.openxmlformats.org/officeDocument/2006/relationships/tags" Target="../tags/tag37.xml"/><Relationship Id="rId107" Type="http://schemas.openxmlformats.org/officeDocument/2006/relationships/oleObject" Target="../embeddings/oleObject12.bin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53" Type="http://schemas.openxmlformats.org/officeDocument/2006/relationships/tags" Target="../tags/tag61.xml"/><Relationship Id="rId58" Type="http://schemas.openxmlformats.org/officeDocument/2006/relationships/tags" Target="../tags/tag66.xml"/><Relationship Id="rId66" Type="http://schemas.openxmlformats.org/officeDocument/2006/relationships/tags" Target="../tags/tag74.xml"/><Relationship Id="rId74" Type="http://schemas.openxmlformats.org/officeDocument/2006/relationships/tags" Target="../tags/tag82.xml"/><Relationship Id="rId79" Type="http://schemas.openxmlformats.org/officeDocument/2006/relationships/tags" Target="../tags/tag87.xml"/><Relationship Id="rId87" Type="http://schemas.openxmlformats.org/officeDocument/2006/relationships/tags" Target="../tags/tag95.xml"/><Relationship Id="rId102" Type="http://schemas.openxmlformats.org/officeDocument/2006/relationships/oleObject" Target="../embeddings/oleObject8.bin"/><Relationship Id="rId110" Type="http://schemas.openxmlformats.org/officeDocument/2006/relationships/image" Target="../media/image13.jpeg"/><Relationship Id="rId5" Type="http://schemas.openxmlformats.org/officeDocument/2006/relationships/tags" Target="../tags/tag13.xml"/><Relationship Id="rId61" Type="http://schemas.openxmlformats.org/officeDocument/2006/relationships/tags" Target="../tags/tag69.xml"/><Relationship Id="rId82" Type="http://schemas.openxmlformats.org/officeDocument/2006/relationships/tags" Target="../tags/tag90.xml"/><Relationship Id="rId90" Type="http://schemas.openxmlformats.org/officeDocument/2006/relationships/tags" Target="../tags/tag98.xml"/><Relationship Id="rId95" Type="http://schemas.openxmlformats.org/officeDocument/2006/relationships/tags" Target="../tags/tag103.xml"/><Relationship Id="rId19" Type="http://schemas.openxmlformats.org/officeDocument/2006/relationships/tags" Target="../tags/tag2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56" Type="http://schemas.openxmlformats.org/officeDocument/2006/relationships/tags" Target="../tags/tag64.xml"/><Relationship Id="rId64" Type="http://schemas.openxmlformats.org/officeDocument/2006/relationships/tags" Target="../tags/tag72.xml"/><Relationship Id="rId69" Type="http://schemas.openxmlformats.org/officeDocument/2006/relationships/tags" Target="../tags/tag77.xml"/><Relationship Id="rId77" Type="http://schemas.openxmlformats.org/officeDocument/2006/relationships/tags" Target="../tags/tag85.xml"/><Relationship Id="rId100" Type="http://schemas.openxmlformats.org/officeDocument/2006/relationships/notesSlide" Target="../notesSlides/notesSlide2.xml"/><Relationship Id="rId105" Type="http://schemas.openxmlformats.org/officeDocument/2006/relationships/oleObject" Target="../embeddings/oleObject10.bin"/><Relationship Id="rId8" Type="http://schemas.openxmlformats.org/officeDocument/2006/relationships/tags" Target="../tags/tag16.xml"/><Relationship Id="rId51" Type="http://schemas.openxmlformats.org/officeDocument/2006/relationships/tags" Target="../tags/tag59.xml"/><Relationship Id="rId72" Type="http://schemas.openxmlformats.org/officeDocument/2006/relationships/tags" Target="../tags/tag80.xml"/><Relationship Id="rId80" Type="http://schemas.openxmlformats.org/officeDocument/2006/relationships/tags" Target="../tags/tag88.xml"/><Relationship Id="rId85" Type="http://schemas.openxmlformats.org/officeDocument/2006/relationships/tags" Target="../tags/tag93.xml"/><Relationship Id="rId93" Type="http://schemas.openxmlformats.org/officeDocument/2006/relationships/tags" Target="../tags/tag101.xml"/><Relationship Id="rId98" Type="http://schemas.openxmlformats.org/officeDocument/2006/relationships/tags" Target="../tags/tag106.xml"/><Relationship Id="rId3" Type="http://schemas.openxmlformats.org/officeDocument/2006/relationships/tags" Target="../tags/tag11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59" Type="http://schemas.openxmlformats.org/officeDocument/2006/relationships/tags" Target="../tags/tag67.xml"/><Relationship Id="rId67" Type="http://schemas.openxmlformats.org/officeDocument/2006/relationships/tags" Target="../tags/tag75.xml"/><Relationship Id="rId103" Type="http://schemas.openxmlformats.org/officeDocument/2006/relationships/oleObject" Target="../embeddings/oleObject9.bin"/><Relationship Id="rId108" Type="http://schemas.openxmlformats.org/officeDocument/2006/relationships/image" Target="../media/image11.jpeg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54" Type="http://schemas.openxmlformats.org/officeDocument/2006/relationships/tags" Target="../tags/tag62.xml"/><Relationship Id="rId62" Type="http://schemas.openxmlformats.org/officeDocument/2006/relationships/tags" Target="../tags/tag70.xml"/><Relationship Id="rId70" Type="http://schemas.openxmlformats.org/officeDocument/2006/relationships/tags" Target="../tags/tag78.xml"/><Relationship Id="rId75" Type="http://schemas.openxmlformats.org/officeDocument/2006/relationships/tags" Target="../tags/tag83.xml"/><Relationship Id="rId83" Type="http://schemas.openxmlformats.org/officeDocument/2006/relationships/tags" Target="../tags/tag91.xml"/><Relationship Id="rId88" Type="http://schemas.openxmlformats.org/officeDocument/2006/relationships/tags" Target="../tags/tag96.xml"/><Relationship Id="rId91" Type="http://schemas.openxmlformats.org/officeDocument/2006/relationships/tags" Target="../tags/tag99.xml"/><Relationship Id="rId96" Type="http://schemas.openxmlformats.org/officeDocument/2006/relationships/tags" Target="../tags/tag104.xml"/><Relationship Id="rId111" Type="http://schemas.openxmlformats.org/officeDocument/2006/relationships/image" Target="../media/image14.jpeg"/><Relationship Id="rId1" Type="http://schemas.openxmlformats.org/officeDocument/2006/relationships/vmlDrawing" Target="../drawings/vmlDrawing7.vml"/><Relationship Id="rId6" Type="http://schemas.openxmlformats.org/officeDocument/2006/relationships/tags" Target="../tags/tag14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57" Type="http://schemas.openxmlformats.org/officeDocument/2006/relationships/tags" Target="../tags/tag65.xml"/><Relationship Id="rId106" Type="http://schemas.openxmlformats.org/officeDocument/2006/relationships/oleObject" Target="../embeddings/oleObject11.bin"/><Relationship Id="rId10" Type="http://schemas.openxmlformats.org/officeDocument/2006/relationships/tags" Target="../tags/tag18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tags" Target="../tags/tag60.xml"/><Relationship Id="rId60" Type="http://schemas.openxmlformats.org/officeDocument/2006/relationships/tags" Target="../tags/tag68.xml"/><Relationship Id="rId65" Type="http://schemas.openxmlformats.org/officeDocument/2006/relationships/tags" Target="../tags/tag73.xml"/><Relationship Id="rId73" Type="http://schemas.openxmlformats.org/officeDocument/2006/relationships/tags" Target="../tags/tag81.xml"/><Relationship Id="rId78" Type="http://schemas.openxmlformats.org/officeDocument/2006/relationships/tags" Target="../tags/tag86.xml"/><Relationship Id="rId81" Type="http://schemas.openxmlformats.org/officeDocument/2006/relationships/tags" Target="../tags/tag89.xml"/><Relationship Id="rId86" Type="http://schemas.openxmlformats.org/officeDocument/2006/relationships/tags" Target="../tags/tag94.xml"/><Relationship Id="rId94" Type="http://schemas.openxmlformats.org/officeDocument/2006/relationships/tags" Target="../tags/tag102.xml"/><Relationship Id="rId99" Type="http://schemas.openxmlformats.org/officeDocument/2006/relationships/slideLayout" Target="../slideLayouts/slideLayout13.xml"/><Relationship Id="rId101" Type="http://schemas.openxmlformats.org/officeDocument/2006/relationships/oleObject" Target="../embeddings/oleObject7.bin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39" Type="http://schemas.openxmlformats.org/officeDocument/2006/relationships/tags" Target="../tags/tag47.xml"/><Relationship Id="rId109" Type="http://schemas.openxmlformats.org/officeDocument/2006/relationships/image" Target="../media/image12.jpeg"/><Relationship Id="rId34" Type="http://schemas.openxmlformats.org/officeDocument/2006/relationships/tags" Target="../tags/tag42.xml"/><Relationship Id="rId50" Type="http://schemas.openxmlformats.org/officeDocument/2006/relationships/tags" Target="../tags/tag58.xml"/><Relationship Id="rId55" Type="http://schemas.openxmlformats.org/officeDocument/2006/relationships/tags" Target="../tags/tag63.xml"/><Relationship Id="rId76" Type="http://schemas.openxmlformats.org/officeDocument/2006/relationships/tags" Target="../tags/tag84.xml"/><Relationship Id="rId97" Type="http://schemas.openxmlformats.org/officeDocument/2006/relationships/tags" Target="../tags/tag105.xml"/><Relationship Id="rId104" Type="http://schemas.openxmlformats.org/officeDocument/2006/relationships/image" Target="../media/image10.png"/><Relationship Id="rId7" Type="http://schemas.openxmlformats.org/officeDocument/2006/relationships/tags" Target="../tags/tag15.xml"/><Relationship Id="rId71" Type="http://schemas.openxmlformats.org/officeDocument/2006/relationships/tags" Target="../tags/tag79.xml"/><Relationship Id="rId92" Type="http://schemas.openxmlformats.org/officeDocument/2006/relationships/tags" Target="../tags/tag10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tags" Target="../tags/tag123.xml"/><Relationship Id="rId26" Type="http://schemas.openxmlformats.org/officeDocument/2006/relationships/oleObject" Target="../embeddings/oleObject15.bin"/><Relationship Id="rId3" Type="http://schemas.openxmlformats.org/officeDocument/2006/relationships/tags" Target="../tags/tag108.xml"/><Relationship Id="rId21" Type="http://schemas.openxmlformats.org/officeDocument/2006/relationships/tags" Target="../tags/tag126.xml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tags" Target="../tags/tag122.xml"/><Relationship Id="rId25" Type="http://schemas.openxmlformats.org/officeDocument/2006/relationships/oleObject" Target="../embeddings/oleObject14.bin"/><Relationship Id="rId2" Type="http://schemas.openxmlformats.org/officeDocument/2006/relationships/tags" Target="../tags/tag107.xml"/><Relationship Id="rId16" Type="http://schemas.openxmlformats.org/officeDocument/2006/relationships/tags" Target="../tags/tag121.xml"/><Relationship Id="rId20" Type="http://schemas.openxmlformats.org/officeDocument/2006/relationships/tags" Target="../tags/tag125.xml"/><Relationship Id="rId1" Type="http://schemas.openxmlformats.org/officeDocument/2006/relationships/vmlDrawing" Target="../drawings/vmlDrawing8.v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24" Type="http://schemas.openxmlformats.org/officeDocument/2006/relationships/oleObject" Target="../embeddings/oleObject13.bin"/><Relationship Id="rId5" Type="http://schemas.openxmlformats.org/officeDocument/2006/relationships/tags" Target="../tags/tag110.xml"/><Relationship Id="rId15" Type="http://schemas.openxmlformats.org/officeDocument/2006/relationships/tags" Target="../tags/tag120.xml"/><Relationship Id="rId23" Type="http://schemas.openxmlformats.org/officeDocument/2006/relationships/notesSlide" Target="../notesSlides/notesSlide3.xml"/><Relationship Id="rId10" Type="http://schemas.openxmlformats.org/officeDocument/2006/relationships/tags" Target="../tags/tag115.xml"/><Relationship Id="rId19" Type="http://schemas.openxmlformats.org/officeDocument/2006/relationships/tags" Target="../tags/tag124.xml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tags" Target="../tags/tag119.xml"/><Relationship Id="rId22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tags" Target="../tags/tag138.xml"/><Relationship Id="rId18" Type="http://schemas.openxmlformats.org/officeDocument/2006/relationships/slideLayout" Target="../slideLayouts/slideLayout11.xml"/><Relationship Id="rId3" Type="http://schemas.openxmlformats.org/officeDocument/2006/relationships/tags" Target="../tags/tag128.xml"/><Relationship Id="rId21" Type="http://schemas.openxmlformats.org/officeDocument/2006/relationships/image" Target="../media/image19.jpeg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17" Type="http://schemas.openxmlformats.org/officeDocument/2006/relationships/tags" Target="../tags/tag142.xml"/><Relationship Id="rId2" Type="http://schemas.openxmlformats.org/officeDocument/2006/relationships/tags" Target="../tags/tag127.xml"/><Relationship Id="rId16" Type="http://schemas.openxmlformats.org/officeDocument/2006/relationships/tags" Target="../tags/tag141.xml"/><Relationship Id="rId20" Type="http://schemas.openxmlformats.org/officeDocument/2006/relationships/image" Target="../media/image18.jpeg"/><Relationship Id="rId1" Type="http://schemas.openxmlformats.org/officeDocument/2006/relationships/vmlDrawing" Target="../drawings/vmlDrawing9.v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24" Type="http://schemas.openxmlformats.org/officeDocument/2006/relationships/image" Target="../media/image21.jpeg"/><Relationship Id="rId5" Type="http://schemas.openxmlformats.org/officeDocument/2006/relationships/tags" Target="../tags/tag130.xml"/><Relationship Id="rId15" Type="http://schemas.openxmlformats.org/officeDocument/2006/relationships/tags" Target="../tags/tag140.xml"/><Relationship Id="rId23" Type="http://schemas.openxmlformats.org/officeDocument/2006/relationships/oleObject" Target="../embeddings/oleObject17.bin"/><Relationship Id="rId10" Type="http://schemas.openxmlformats.org/officeDocument/2006/relationships/tags" Target="../tags/tag135.xml"/><Relationship Id="rId19" Type="http://schemas.openxmlformats.org/officeDocument/2006/relationships/oleObject" Target="../embeddings/oleObject16.bin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4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tags" Target="../tags/tag155.xml"/><Relationship Id="rId18" Type="http://schemas.openxmlformats.org/officeDocument/2006/relationships/tags" Target="../tags/tag160.xml"/><Relationship Id="rId26" Type="http://schemas.openxmlformats.org/officeDocument/2006/relationships/tags" Target="../tags/tag168.xml"/><Relationship Id="rId39" Type="http://schemas.openxmlformats.org/officeDocument/2006/relationships/tags" Target="../tags/tag181.xml"/><Relationship Id="rId3" Type="http://schemas.openxmlformats.org/officeDocument/2006/relationships/tags" Target="../tags/tag145.xml"/><Relationship Id="rId21" Type="http://schemas.openxmlformats.org/officeDocument/2006/relationships/tags" Target="../tags/tag163.xml"/><Relationship Id="rId34" Type="http://schemas.openxmlformats.org/officeDocument/2006/relationships/tags" Target="../tags/tag176.xml"/><Relationship Id="rId42" Type="http://schemas.openxmlformats.org/officeDocument/2006/relationships/tags" Target="../tags/tag184.xml"/><Relationship Id="rId47" Type="http://schemas.openxmlformats.org/officeDocument/2006/relationships/oleObject" Target="../embeddings/oleObject22.bin"/><Relationship Id="rId7" Type="http://schemas.openxmlformats.org/officeDocument/2006/relationships/tags" Target="../tags/tag149.xml"/><Relationship Id="rId12" Type="http://schemas.openxmlformats.org/officeDocument/2006/relationships/tags" Target="../tags/tag154.xml"/><Relationship Id="rId17" Type="http://schemas.openxmlformats.org/officeDocument/2006/relationships/tags" Target="../tags/tag159.xml"/><Relationship Id="rId25" Type="http://schemas.openxmlformats.org/officeDocument/2006/relationships/tags" Target="../tags/tag167.xml"/><Relationship Id="rId33" Type="http://schemas.openxmlformats.org/officeDocument/2006/relationships/tags" Target="../tags/tag175.xml"/><Relationship Id="rId38" Type="http://schemas.openxmlformats.org/officeDocument/2006/relationships/tags" Target="../tags/tag180.xml"/><Relationship Id="rId46" Type="http://schemas.openxmlformats.org/officeDocument/2006/relationships/oleObject" Target="../embeddings/oleObject21.bin"/><Relationship Id="rId2" Type="http://schemas.openxmlformats.org/officeDocument/2006/relationships/tags" Target="../tags/tag144.xml"/><Relationship Id="rId16" Type="http://schemas.openxmlformats.org/officeDocument/2006/relationships/tags" Target="../tags/tag158.xml"/><Relationship Id="rId20" Type="http://schemas.openxmlformats.org/officeDocument/2006/relationships/tags" Target="../tags/tag162.xml"/><Relationship Id="rId29" Type="http://schemas.openxmlformats.org/officeDocument/2006/relationships/tags" Target="../tags/tag171.xml"/><Relationship Id="rId41" Type="http://schemas.openxmlformats.org/officeDocument/2006/relationships/tags" Target="../tags/tag18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24" Type="http://schemas.openxmlformats.org/officeDocument/2006/relationships/tags" Target="../tags/tag166.xml"/><Relationship Id="rId32" Type="http://schemas.openxmlformats.org/officeDocument/2006/relationships/tags" Target="../tags/tag174.xml"/><Relationship Id="rId37" Type="http://schemas.openxmlformats.org/officeDocument/2006/relationships/tags" Target="../tags/tag179.xml"/><Relationship Id="rId40" Type="http://schemas.openxmlformats.org/officeDocument/2006/relationships/tags" Target="../tags/tag182.xml"/><Relationship Id="rId45" Type="http://schemas.openxmlformats.org/officeDocument/2006/relationships/oleObject" Target="../embeddings/oleObject20.bin"/><Relationship Id="rId5" Type="http://schemas.openxmlformats.org/officeDocument/2006/relationships/tags" Target="../tags/tag147.xml"/><Relationship Id="rId15" Type="http://schemas.openxmlformats.org/officeDocument/2006/relationships/tags" Target="../tags/tag157.xml"/><Relationship Id="rId23" Type="http://schemas.openxmlformats.org/officeDocument/2006/relationships/tags" Target="../tags/tag165.xml"/><Relationship Id="rId28" Type="http://schemas.openxmlformats.org/officeDocument/2006/relationships/tags" Target="../tags/tag170.xml"/><Relationship Id="rId36" Type="http://schemas.openxmlformats.org/officeDocument/2006/relationships/tags" Target="../tags/tag178.xml"/><Relationship Id="rId10" Type="http://schemas.openxmlformats.org/officeDocument/2006/relationships/tags" Target="../tags/tag152.xml"/><Relationship Id="rId19" Type="http://schemas.openxmlformats.org/officeDocument/2006/relationships/tags" Target="../tags/tag161.xml"/><Relationship Id="rId31" Type="http://schemas.openxmlformats.org/officeDocument/2006/relationships/tags" Target="../tags/tag173.xml"/><Relationship Id="rId44" Type="http://schemas.openxmlformats.org/officeDocument/2006/relationships/oleObject" Target="../embeddings/oleObject19.bin"/><Relationship Id="rId4" Type="http://schemas.openxmlformats.org/officeDocument/2006/relationships/tags" Target="../tags/tag146.xml"/><Relationship Id="rId9" Type="http://schemas.openxmlformats.org/officeDocument/2006/relationships/tags" Target="../tags/tag151.xml"/><Relationship Id="rId14" Type="http://schemas.openxmlformats.org/officeDocument/2006/relationships/tags" Target="../tags/tag156.xml"/><Relationship Id="rId22" Type="http://schemas.openxmlformats.org/officeDocument/2006/relationships/tags" Target="../tags/tag164.xml"/><Relationship Id="rId27" Type="http://schemas.openxmlformats.org/officeDocument/2006/relationships/tags" Target="../tags/tag169.xml"/><Relationship Id="rId30" Type="http://schemas.openxmlformats.org/officeDocument/2006/relationships/tags" Target="../tags/tag172.xml"/><Relationship Id="rId35" Type="http://schemas.openxmlformats.org/officeDocument/2006/relationships/tags" Target="../tags/tag177.xml"/><Relationship Id="rId43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tags" Target="../tags/tag196.xml"/><Relationship Id="rId18" Type="http://schemas.openxmlformats.org/officeDocument/2006/relationships/tags" Target="../tags/tag201.xml"/><Relationship Id="rId3" Type="http://schemas.openxmlformats.org/officeDocument/2006/relationships/tags" Target="../tags/tag186.xml"/><Relationship Id="rId21" Type="http://schemas.openxmlformats.org/officeDocument/2006/relationships/oleObject" Target="../embeddings/oleObject23.bin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17" Type="http://schemas.openxmlformats.org/officeDocument/2006/relationships/tags" Target="../tags/tag200.xml"/><Relationship Id="rId2" Type="http://schemas.openxmlformats.org/officeDocument/2006/relationships/tags" Target="../tags/tag185.xml"/><Relationship Id="rId16" Type="http://schemas.openxmlformats.org/officeDocument/2006/relationships/tags" Target="../tags/tag199.xml"/><Relationship Id="rId20" Type="http://schemas.openxmlformats.org/officeDocument/2006/relationships/slideLayout" Target="../slideLayouts/slideLayout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5" Type="http://schemas.openxmlformats.org/officeDocument/2006/relationships/tags" Target="../tags/tag198.xml"/><Relationship Id="rId23" Type="http://schemas.openxmlformats.org/officeDocument/2006/relationships/image" Target="../media/image33.jpeg"/><Relationship Id="rId10" Type="http://schemas.openxmlformats.org/officeDocument/2006/relationships/tags" Target="../tags/tag193.xml"/><Relationship Id="rId19" Type="http://schemas.openxmlformats.org/officeDocument/2006/relationships/tags" Target="../tags/tag202.xml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tags" Target="../tags/tag197.xml"/><Relationship Id="rId22" Type="http://schemas.openxmlformats.org/officeDocument/2006/relationships/oleObject" Target="../embeddings/oleObject2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204.xml"/><Relationship Id="rId7" Type="http://schemas.openxmlformats.org/officeDocument/2006/relationships/slideLayout" Target="../slideLayouts/slideLayout11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07.xml"/><Relationship Id="rId5" Type="http://schemas.openxmlformats.org/officeDocument/2006/relationships/tags" Target="../tags/tag206.xml"/><Relationship Id="rId4" Type="http://schemas.openxmlformats.org/officeDocument/2006/relationships/tags" Target="../tags/tag20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209.xml"/><Relationship Id="rId7" Type="http://schemas.openxmlformats.org/officeDocument/2006/relationships/oleObject" Target="../embeddings/oleObject26.bin"/><Relationship Id="rId2" Type="http://schemas.openxmlformats.org/officeDocument/2006/relationships/tags" Target="../tags/tag208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11.xml"/><Relationship Id="rId5" Type="http://schemas.openxmlformats.org/officeDocument/2006/relationships/tags" Target="../tags/tag211.xml"/><Relationship Id="rId4" Type="http://schemas.openxmlformats.org/officeDocument/2006/relationships/tags" Target="../tags/tag2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0309" b="10309"/>
          <a:stretch/>
        </p:blipFill>
        <p:spPr>
          <a:xfrm>
            <a:off x="1" y="0"/>
            <a:ext cx="9905980" cy="4895711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25241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9619" name="think-cell Slide" r:id="rId5" imgW="360" imgH="360" progId="">
              <p:embed/>
            </p:oleObj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65200" y="5378208"/>
            <a:ext cx="3379786" cy="450024"/>
          </a:xfrm>
        </p:spPr>
        <p:txBody>
          <a:bodyPr/>
          <a:lstStyle/>
          <a:p>
            <a:r>
              <a:rPr lang="en-US" b="1" dirty="0"/>
              <a:t>Thomas </a:t>
            </a:r>
            <a:r>
              <a:rPr lang="en-US" b="1" dirty="0" err="1" smtClean="0"/>
              <a:t>Brostrøm</a:t>
            </a:r>
            <a:r>
              <a:rPr lang="en-US" b="1" dirty="0" smtClean="0"/>
              <a:t>, General Manager U.S.</a:t>
            </a:r>
          </a:p>
          <a:p>
            <a:r>
              <a:rPr lang="en-US" dirty="0" smtClean="0"/>
              <a:t>May 18</a:t>
            </a:r>
            <a:r>
              <a:rPr lang="en-US" baseline="30000" dirty="0" smtClean="0"/>
              <a:t>th</a:t>
            </a:r>
            <a:r>
              <a:rPr lang="en-US" dirty="0" smtClean="0"/>
              <a:t> 2016</a:t>
            </a:r>
          </a:p>
          <a:p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5200" y="0"/>
            <a:ext cx="7690037" cy="1670914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Offshore wind power</a:t>
            </a:r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1800" dirty="0" smtClean="0">
                <a:solidFill>
                  <a:schemeClr val="bg1"/>
                </a:solidFill>
              </a:rPr>
              <a:t>New england Electricity Restructuring Roundtable</a:t>
            </a:r>
            <a:br>
              <a:rPr lang="en-US" sz="1800" dirty="0" smtClean="0">
                <a:solidFill>
                  <a:schemeClr val="bg1"/>
                </a:solidFill>
              </a:rPr>
            </a:br>
            <a:endParaRPr lang="en-US" sz="180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 bwMode="auto">
          <a:xfrm>
            <a:off x="403200" y="0"/>
            <a:ext cx="0" cy="1186907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xmlns="" val="1701194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p:oleObj spid="_x0000_s669704" name="think-cell Slide" r:id="rId4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GB" sz="1000" dirty="0">
              <a:solidFill>
                <a:schemeClr val="bg1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US is a market full of opportunities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6352457" y="1144588"/>
            <a:ext cx="0" cy="4951412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426468" y="1626593"/>
            <a:ext cx="3109548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120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smtClean="0"/>
              <a:t>Good </a:t>
            </a:r>
            <a:r>
              <a:rPr lang="en-GB" sz="1200" dirty="0"/>
              <a:t>site characteristics (similar to Europ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Decommissioning of capacity (coal, oil &amp; nuclea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Legally binding renewable energy targets (state level)</a:t>
            </a:r>
          </a:p>
          <a:p>
            <a:endParaRPr lang="en-GB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Load centres along the coast l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Energy security issu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 smtClean="0"/>
              <a:t>Offshore </a:t>
            </a:r>
            <a:r>
              <a:rPr lang="en-GB" sz="1200" smtClean="0"/>
              <a:t>wind lease </a:t>
            </a:r>
            <a:r>
              <a:rPr lang="en-GB" sz="1200"/>
              <a:t>planning through Bureau of Ocean Energy Management (</a:t>
            </a:r>
            <a:r>
              <a:rPr lang="en-GB" sz="1200" smtClean="0"/>
              <a:t>BOEM)</a:t>
            </a:r>
            <a:endParaRPr lang="en-GB" sz="1200"/>
          </a:p>
          <a:p>
            <a:endParaRPr lang="en-GB" sz="120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smtClean="0"/>
              <a:t>National Renewable Energy Laboratory (NREL) </a:t>
            </a:r>
            <a:r>
              <a:rPr lang="en-GB" sz="1200"/>
              <a:t>Offshore Wind Resource Maps</a:t>
            </a:r>
            <a:endParaRPr lang="en-GB" sz="120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/>
              <a:t>ISO New England </a:t>
            </a:r>
            <a:br>
              <a:rPr lang="en-US" sz="1200"/>
            </a:br>
            <a:r>
              <a:rPr lang="en-US" sz="1200"/>
              <a:t>Economic Study of Offshore Wind</a:t>
            </a:r>
            <a:endParaRPr lang="en-GB" sz="1200" smtClean="0"/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008" b="17503"/>
          <a:stretch/>
        </p:blipFill>
        <p:spPr bwMode="auto">
          <a:xfrm>
            <a:off x="6483425" y="1247941"/>
            <a:ext cx="603878" cy="39547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7087303" y="1211124"/>
            <a:ext cx="22410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smtClean="0">
                <a:solidFill>
                  <a:prstClr val="black"/>
                </a:solidFill>
              </a:rPr>
              <a:t>US Presents Attractive New Market</a:t>
            </a:r>
            <a:endParaRPr lang="en-GB" sz="1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392399" y="5991367"/>
            <a:ext cx="55327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1000" dirty="0" smtClean="0"/>
              <a:t>*Bureau of Ocean Energy Management (“BOEM”), similar to The Crown Estate in the UK 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5494961" y="2415446"/>
            <a:ext cx="10080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b="1" dirty="0" err="1" smtClean="0">
                <a:solidFill>
                  <a:schemeClr val="accent1"/>
                </a:solidFill>
              </a:rPr>
              <a:t>Massachu</a:t>
            </a:r>
            <a:r>
              <a:rPr lang="en-GB" sz="900" b="1" dirty="0" smtClean="0">
                <a:solidFill>
                  <a:schemeClr val="accent1"/>
                </a:solidFill>
              </a:rPr>
              <a:t>-</a:t>
            </a:r>
          </a:p>
          <a:p>
            <a:r>
              <a:rPr lang="en-GB" sz="900" b="1" dirty="0" smtClean="0">
                <a:solidFill>
                  <a:schemeClr val="accent1"/>
                </a:solidFill>
              </a:rPr>
              <a:t>setts</a:t>
            </a:r>
            <a:endParaRPr lang="en-GB" sz="900" b="1" dirty="0">
              <a:solidFill>
                <a:schemeClr val="accent1"/>
              </a:solidFill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5532312" y="2767057"/>
            <a:ext cx="8249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Rhode Island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981359" y="1225000"/>
            <a:ext cx="439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accent1"/>
                </a:solidFill>
              </a:rPr>
              <a:t>WHAT DOES THE MARKET LOOK LIKE?</a:t>
            </a:r>
          </a:p>
        </p:txBody>
      </p:sp>
      <p:grpSp>
        <p:nvGrpSpPr>
          <p:cNvPr id="209" name="Group 208"/>
          <p:cNvGrpSpPr/>
          <p:nvPr/>
        </p:nvGrpSpPr>
        <p:grpSpPr>
          <a:xfrm>
            <a:off x="406086" y="1768250"/>
            <a:ext cx="5810388" cy="3687566"/>
            <a:chOff x="423178" y="1486237"/>
            <a:chExt cx="5810388" cy="3687566"/>
          </a:xfrm>
        </p:grpSpPr>
        <p:sp>
          <p:nvSpPr>
            <p:cNvPr id="91" name="Freeform 1"/>
            <p:cNvSpPr>
              <a:spLocks noChangeArrowheads="1"/>
            </p:cNvSpPr>
            <p:nvPr/>
          </p:nvSpPr>
          <p:spPr bwMode="auto">
            <a:xfrm rot="21163818">
              <a:off x="3048268" y="2778522"/>
              <a:ext cx="593010" cy="361641"/>
            </a:xfrm>
            <a:custGeom>
              <a:avLst/>
              <a:gdLst>
                <a:gd name="T0" fmla="*/ 2147483647 w 9500"/>
                <a:gd name="T1" fmla="*/ 2147483647 h 6521"/>
                <a:gd name="T2" fmla="*/ 2147483647 w 9500"/>
                <a:gd name="T3" fmla="*/ 2147483647 h 6521"/>
                <a:gd name="T4" fmla="*/ 2147483647 w 9500"/>
                <a:gd name="T5" fmla="*/ 2147483647 h 6521"/>
                <a:gd name="T6" fmla="*/ 2147483647 w 9500"/>
                <a:gd name="T7" fmla="*/ 2147483647 h 6521"/>
                <a:gd name="T8" fmla="*/ 2147483647 w 9500"/>
                <a:gd name="T9" fmla="*/ 2147483647 h 6521"/>
                <a:gd name="T10" fmla="*/ 2147483647 w 9500"/>
                <a:gd name="T11" fmla="*/ 2147483647 h 6521"/>
                <a:gd name="T12" fmla="*/ 2147483647 w 9500"/>
                <a:gd name="T13" fmla="*/ 2147483647 h 6521"/>
                <a:gd name="T14" fmla="*/ 2147483647 w 9500"/>
                <a:gd name="T15" fmla="*/ 2147483647 h 6521"/>
                <a:gd name="T16" fmla="*/ 2147483647 w 9500"/>
                <a:gd name="T17" fmla="*/ 2147483647 h 6521"/>
                <a:gd name="T18" fmla="*/ 2147483647 w 9500"/>
                <a:gd name="T19" fmla="*/ 2147483647 h 6521"/>
                <a:gd name="T20" fmla="*/ 2147483647 w 9500"/>
                <a:gd name="T21" fmla="*/ 2147483647 h 6521"/>
                <a:gd name="T22" fmla="*/ 2147483647 w 9500"/>
                <a:gd name="T23" fmla="*/ 2147483647 h 6521"/>
                <a:gd name="T24" fmla="*/ 2147483647 w 9500"/>
                <a:gd name="T25" fmla="*/ 2147483647 h 6521"/>
                <a:gd name="T26" fmla="*/ 2147483647 w 9500"/>
                <a:gd name="T27" fmla="*/ 2147483647 h 6521"/>
                <a:gd name="T28" fmla="*/ 2147483647 w 9500"/>
                <a:gd name="T29" fmla="*/ 2147483647 h 6521"/>
                <a:gd name="T30" fmla="*/ 2147483647 w 9500"/>
                <a:gd name="T31" fmla="*/ 2147483647 h 6521"/>
                <a:gd name="T32" fmla="*/ 2147483647 w 9500"/>
                <a:gd name="T33" fmla="*/ 2147483647 h 6521"/>
                <a:gd name="T34" fmla="*/ 2147483647 w 9500"/>
                <a:gd name="T35" fmla="*/ 2147483647 h 6521"/>
                <a:gd name="T36" fmla="*/ 2147483647 w 9500"/>
                <a:gd name="T37" fmla="*/ 2147483647 h 6521"/>
                <a:gd name="T38" fmla="*/ 2147483647 w 9500"/>
                <a:gd name="T39" fmla="*/ 2147483647 h 6521"/>
                <a:gd name="T40" fmla="*/ 2147483647 w 9500"/>
                <a:gd name="T41" fmla="*/ 2147483647 h 6521"/>
                <a:gd name="T42" fmla="*/ 2147483647 w 9500"/>
                <a:gd name="T43" fmla="*/ 2147483647 h 6521"/>
                <a:gd name="T44" fmla="*/ 2147483647 w 9500"/>
                <a:gd name="T45" fmla="*/ 2147483647 h 6521"/>
                <a:gd name="T46" fmla="*/ 2147483647 w 9500"/>
                <a:gd name="T47" fmla="*/ 2147483647 h 6521"/>
                <a:gd name="T48" fmla="*/ 2147483647 w 9500"/>
                <a:gd name="T49" fmla="*/ 2147483647 h 6521"/>
                <a:gd name="T50" fmla="*/ 2147483647 w 9500"/>
                <a:gd name="T51" fmla="*/ 2147483647 h 6521"/>
                <a:gd name="T52" fmla="*/ 2147483647 w 9500"/>
                <a:gd name="T53" fmla="*/ 2147483647 h 6521"/>
                <a:gd name="T54" fmla="*/ 2147483647 w 9500"/>
                <a:gd name="T55" fmla="*/ 2147483647 h 6521"/>
                <a:gd name="T56" fmla="*/ 2147483647 w 9500"/>
                <a:gd name="T57" fmla="*/ 2147483647 h 6521"/>
                <a:gd name="T58" fmla="*/ 2147483647 w 9500"/>
                <a:gd name="T59" fmla="*/ 2147483647 h 6521"/>
                <a:gd name="T60" fmla="*/ 0 w 9500"/>
                <a:gd name="T61" fmla="*/ 2147483647 h 6521"/>
                <a:gd name="T62" fmla="*/ 2147483647 w 9500"/>
                <a:gd name="T63" fmla="*/ 2147483647 h 6521"/>
                <a:gd name="T64" fmla="*/ 2147483647 w 9500"/>
                <a:gd name="T65" fmla="*/ 2147483647 h 6521"/>
                <a:gd name="T66" fmla="*/ 2147483647 w 9500"/>
                <a:gd name="T67" fmla="*/ 2147483647 h 652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connsiteX0" fmla="*/ 257 w 9999"/>
                <a:gd name="connsiteY0" fmla="*/ 0 h 9998"/>
                <a:gd name="connsiteX1" fmla="*/ 8447 w 9999"/>
                <a:gd name="connsiteY1" fmla="*/ 90 h 9998"/>
                <a:gd name="connsiteX2" fmla="*/ 8352 w 9999"/>
                <a:gd name="connsiteY2" fmla="*/ 561 h 9998"/>
                <a:gd name="connsiteX3" fmla="*/ 8681 w 9999"/>
                <a:gd name="connsiteY3" fmla="*/ 969 h 9998"/>
                <a:gd name="connsiteX4" fmla="*/ 8425 w 9999"/>
                <a:gd name="connsiteY4" fmla="*/ 1225 h 9998"/>
                <a:gd name="connsiteX5" fmla="*/ 8425 w 9999"/>
                <a:gd name="connsiteY5" fmla="*/ 1938 h 9998"/>
                <a:gd name="connsiteX6" fmla="*/ 8536 w 9999"/>
                <a:gd name="connsiteY6" fmla="*/ 2194 h 9998"/>
                <a:gd name="connsiteX7" fmla="*/ 8571 w 9999"/>
                <a:gd name="connsiteY7" fmla="*/ 2501 h 9998"/>
                <a:gd name="connsiteX8" fmla="*/ 8975 w 9999"/>
                <a:gd name="connsiteY8" fmla="*/ 3010 h 9998"/>
                <a:gd name="connsiteX9" fmla="*/ 9232 w 9999"/>
                <a:gd name="connsiteY9" fmla="*/ 3519 h 9998"/>
                <a:gd name="connsiteX10" fmla="*/ 9560 w 9999"/>
                <a:gd name="connsiteY10" fmla="*/ 3929 h 9998"/>
                <a:gd name="connsiteX11" fmla="*/ 9742 w 9999"/>
                <a:gd name="connsiteY11" fmla="*/ 4285 h 9998"/>
                <a:gd name="connsiteX12" fmla="*/ 9889 w 9999"/>
                <a:gd name="connsiteY12" fmla="*/ 4541 h 9998"/>
                <a:gd name="connsiteX13" fmla="*/ 9999 w 9999"/>
                <a:gd name="connsiteY13" fmla="*/ 5306 h 9998"/>
                <a:gd name="connsiteX14" fmla="*/ 9780 w 9999"/>
                <a:gd name="connsiteY14" fmla="*/ 5764 h 9998"/>
                <a:gd name="connsiteX15" fmla="*/ 9669 w 9999"/>
                <a:gd name="connsiteY15" fmla="*/ 6021 h 9998"/>
                <a:gd name="connsiteX16" fmla="*/ 9669 w 9999"/>
                <a:gd name="connsiteY16" fmla="*/ 6479 h 9998"/>
                <a:gd name="connsiteX17" fmla="*/ 9232 w 9999"/>
                <a:gd name="connsiteY17" fmla="*/ 6427 h 9998"/>
                <a:gd name="connsiteX18" fmla="*/ 8901 w 9999"/>
                <a:gd name="connsiteY18" fmla="*/ 6683 h 9998"/>
                <a:gd name="connsiteX19" fmla="*/ 8755 w 9999"/>
                <a:gd name="connsiteY19" fmla="*/ 6887 h 9998"/>
                <a:gd name="connsiteX20" fmla="*/ 8571 w 9999"/>
                <a:gd name="connsiteY20" fmla="*/ 7295 h 9998"/>
                <a:gd name="connsiteX21" fmla="*/ 8608 w 9999"/>
                <a:gd name="connsiteY21" fmla="*/ 7654 h 9998"/>
                <a:gd name="connsiteX22" fmla="*/ 8792 w 9999"/>
                <a:gd name="connsiteY22" fmla="*/ 8264 h 9998"/>
                <a:gd name="connsiteX23" fmla="*/ 8536 w 9999"/>
                <a:gd name="connsiteY23" fmla="*/ 8623 h 9998"/>
                <a:gd name="connsiteX24" fmla="*/ 8536 w 9999"/>
                <a:gd name="connsiteY24" fmla="*/ 9031 h 9998"/>
                <a:gd name="connsiteX25" fmla="*/ 8536 w 9999"/>
                <a:gd name="connsiteY25" fmla="*/ 9285 h 9998"/>
                <a:gd name="connsiteX26" fmla="*/ 8169 w 9999"/>
                <a:gd name="connsiteY26" fmla="*/ 9437 h 9998"/>
                <a:gd name="connsiteX27" fmla="*/ 8096 w 9999"/>
                <a:gd name="connsiteY27" fmla="*/ 9692 h 9998"/>
                <a:gd name="connsiteX28" fmla="*/ 8133 w 9999"/>
                <a:gd name="connsiteY28" fmla="*/ 9948 h 9998"/>
                <a:gd name="connsiteX29" fmla="*/ 8022 w 9999"/>
                <a:gd name="connsiteY29" fmla="*/ 9998 h 9998"/>
                <a:gd name="connsiteX30" fmla="*/ 7765 w 9999"/>
                <a:gd name="connsiteY30" fmla="*/ 9641 h 9998"/>
                <a:gd name="connsiteX31" fmla="*/ 7545 w 9999"/>
                <a:gd name="connsiteY31" fmla="*/ 9540 h 9998"/>
                <a:gd name="connsiteX32" fmla="*/ 7399 w 9999"/>
                <a:gd name="connsiteY32" fmla="*/ 9437 h 9998"/>
                <a:gd name="connsiteX33" fmla="*/ 1502 w 9999"/>
                <a:gd name="connsiteY33" fmla="*/ 9641 h 9998"/>
                <a:gd name="connsiteX34" fmla="*/ 1428 w 9999"/>
                <a:gd name="connsiteY34" fmla="*/ 9183 h 9998"/>
                <a:gd name="connsiteX35" fmla="*/ 1428 w 9999"/>
                <a:gd name="connsiteY35" fmla="*/ 9083 h 9998"/>
                <a:gd name="connsiteX36" fmla="*/ 1428 w 9999"/>
                <a:gd name="connsiteY36" fmla="*/ 8724 h 9998"/>
                <a:gd name="connsiteX37" fmla="*/ 1466 w 9999"/>
                <a:gd name="connsiteY37" fmla="*/ 8419 h 9998"/>
                <a:gd name="connsiteX38" fmla="*/ 1392 w 9999"/>
                <a:gd name="connsiteY38" fmla="*/ 7959 h 9998"/>
                <a:gd name="connsiteX39" fmla="*/ 1246 w 9999"/>
                <a:gd name="connsiteY39" fmla="*/ 7396 h 9998"/>
                <a:gd name="connsiteX40" fmla="*/ 1173 w 9999"/>
                <a:gd name="connsiteY40" fmla="*/ 6990 h 9998"/>
                <a:gd name="connsiteX41" fmla="*/ 1356 w 9999"/>
                <a:gd name="connsiteY41" fmla="*/ 6683 h 9998"/>
                <a:gd name="connsiteX42" fmla="*/ 1062 w 9999"/>
                <a:gd name="connsiteY42" fmla="*/ 6225 h 9998"/>
                <a:gd name="connsiteX43" fmla="*/ 1062 w 9999"/>
                <a:gd name="connsiteY43" fmla="*/ 6123 h 9998"/>
                <a:gd name="connsiteX44" fmla="*/ 1100 w 9999"/>
                <a:gd name="connsiteY44" fmla="*/ 5613 h 9998"/>
                <a:gd name="connsiteX45" fmla="*/ 953 w 9999"/>
                <a:gd name="connsiteY45" fmla="*/ 5203 h 9998"/>
                <a:gd name="connsiteX46" fmla="*/ 696 w 9999"/>
                <a:gd name="connsiteY46" fmla="*/ 4387 h 9998"/>
                <a:gd name="connsiteX47" fmla="*/ 623 w 9999"/>
                <a:gd name="connsiteY47" fmla="*/ 3775 h 9998"/>
                <a:gd name="connsiteX48" fmla="*/ 623 w 9999"/>
                <a:gd name="connsiteY48" fmla="*/ 3366 h 9998"/>
                <a:gd name="connsiteX49" fmla="*/ 0 w 9999"/>
                <a:gd name="connsiteY49" fmla="*/ 2552 h 9998"/>
                <a:gd name="connsiteX50" fmla="*/ 477 w 9999"/>
                <a:gd name="connsiteY50" fmla="*/ 1990 h 9998"/>
                <a:gd name="connsiteX51" fmla="*/ 477 w 9999"/>
                <a:gd name="connsiteY51" fmla="*/ 1736 h 9998"/>
                <a:gd name="connsiteX52" fmla="*/ 477 w 9999"/>
                <a:gd name="connsiteY52" fmla="*/ 969 h 9998"/>
                <a:gd name="connsiteX53" fmla="*/ 147 w 9999"/>
                <a:gd name="connsiteY53" fmla="*/ 459 h 9998"/>
                <a:gd name="connsiteX54" fmla="*/ 257 w 9999"/>
                <a:gd name="connsiteY54" fmla="*/ 0 h 9998"/>
                <a:gd name="connsiteX0" fmla="*/ 257 w 10000"/>
                <a:gd name="connsiteY0" fmla="*/ 0 h 10000"/>
                <a:gd name="connsiteX1" fmla="*/ 8448 w 10000"/>
                <a:gd name="connsiteY1" fmla="*/ 90 h 10000"/>
                <a:gd name="connsiteX2" fmla="*/ 8353 w 10000"/>
                <a:gd name="connsiteY2" fmla="*/ 561 h 10000"/>
                <a:gd name="connsiteX3" fmla="*/ 8682 w 10000"/>
                <a:gd name="connsiteY3" fmla="*/ 969 h 10000"/>
                <a:gd name="connsiteX4" fmla="*/ 8631 w 10000"/>
                <a:gd name="connsiteY4" fmla="*/ 1264 h 10000"/>
                <a:gd name="connsiteX5" fmla="*/ 8426 w 10000"/>
                <a:gd name="connsiteY5" fmla="*/ 1938 h 10000"/>
                <a:gd name="connsiteX6" fmla="*/ 8537 w 10000"/>
                <a:gd name="connsiteY6" fmla="*/ 2194 h 10000"/>
                <a:gd name="connsiteX7" fmla="*/ 8572 w 10000"/>
                <a:gd name="connsiteY7" fmla="*/ 2502 h 10000"/>
                <a:gd name="connsiteX8" fmla="*/ 8976 w 10000"/>
                <a:gd name="connsiteY8" fmla="*/ 3011 h 10000"/>
                <a:gd name="connsiteX9" fmla="*/ 9233 w 10000"/>
                <a:gd name="connsiteY9" fmla="*/ 3520 h 10000"/>
                <a:gd name="connsiteX10" fmla="*/ 9561 w 10000"/>
                <a:gd name="connsiteY10" fmla="*/ 3930 h 10000"/>
                <a:gd name="connsiteX11" fmla="*/ 9743 w 10000"/>
                <a:gd name="connsiteY11" fmla="*/ 4286 h 10000"/>
                <a:gd name="connsiteX12" fmla="*/ 9890 w 10000"/>
                <a:gd name="connsiteY12" fmla="*/ 4542 h 10000"/>
                <a:gd name="connsiteX13" fmla="*/ 10000 w 10000"/>
                <a:gd name="connsiteY13" fmla="*/ 5307 h 10000"/>
                <a:gd name="connsiteX14" fmla="*/ 9781 w 10000"/>
                <a:gd name="connsiteY14" fmla="*/ 5765 h 10000"/>
                <a:gd name="connsiteX15" fmla="*/ 9670 w 10000"/>
                <a:gd name="connsiteY15" fmla="*/ 6022 h 10000"/>
                <a:gd name="connsiteX16" fmla="*/ 9670 w 10000"/>
                <a:gd name="connsiteY16" fmla="*/ 6480 h 10000"/>
                <a:gd name="connsiteX17" fmla="*/ 9233 w 10000"/>
                <a:gd name="connsiteY17" fmla="*/ 6428 h 10000"/>
                <a:gd name="connsiteX18" fmla="*/ 8902 w 10000"/>
                <a:gd name="connsiteY18" fmla="*/ 6684 h 10000"/>
                <a:gd name="connsiteX19" fmla="*/ 8756 w 10000"/>
                <a:gd name="connsiteY19" fmla="*/ 6888 h 10000"/>
                <a:gd name="connsiteX20" fmla="*/ 8572 w 10000"/>
                <a:gd name="connsiteY20" fmla="*/ 7296 h 10000"/>
                <a:gd name="connsiteX21" fmla="*/ 8609 w 10000"/>
                <a:gd name="connsiteY21" fmla="*/ 7656 h 10000"/>
                <a:gd name="connsiteX22" fmla="*/ 8793 w 10000"/>
                <a:gd name="connsiteY22" fmla="*/ 8266 h 10000"/>
                <a:gd name="connsiteX23" fmla="*/ 8537 w 10000"/>
                <a:gd name="connsiteY23" fmla="*/ 8625 h 10000"/>
                <a:gd name="connsiteX24" fmla="*/ 8537 w 10000"/>
                <a:gd name="connsiteY24" fmla="*/ 9033 h 10000"/>
                <a:gd name="connsiteX25" fmla="*/ 8537 w 10000"/>
                <a:gd name="connsiteY25" fmla="*/ 9287 h 10000"/>
                <a:gd name="connsiteX26" fmla="*/ 8170 w 10000"/>
                <a:gd name="connsiteY26" fmla="*/ 9439 h 10000"/>
                <a:gd name="connsiteX27" fmla="*/ 8097 w 10000"/>
                <a:gd name="connsiteY27" fmla="*/ 9694 h 10000"/>
                <a:gd name="connsiteX28" fmla="*/ 8134 w 10000"/>
                <a:gd name="connsiteY28" fmla="*/ 9950 h 10000"/>
                <a:gd name="connsiteX29" fmla="*/ 8023 w 10000"/>
                <a:gd name="connsiteY29" fmla="*/ 10000 h 10000"/>
                <a:gd name="connsiteX30" fmla="*/ 7766 w 10000"/>
                <a:gd name="connsiteY30" fmla="*/ 9643 h 10000"/>
                <a:gd name="connsiteX31" fmla="*/ 7546 w 10000"/>
                <a:gd name="connsiteY31" fmla="*/ 9542 h 10000"/>
                <a:gd name="connsiteX32" fmla="*/ 7400 w 10000"/>
                <a:gd name="connsiteY32" fmla="*/ 9439 h 10000"/>
                <a:gd name="connsiteX33" fmla="*/ 1502 w 10000"/>
                <a:gd name="connsiteY33" fmla="*/ 9643 h 10000"/>
                <a:gd name="connsiteX34" fmla="*/ 1428 w 10000"/>
                <a:gd name="connsiteY34" fmla="*/ 9185 h 10000"/>
                <a:gd name="connsiteX35" fmla="*/ 1428 w 10000"/>
                <a:gd name="connsiteY35" fmla="*/ 9085 h 10000"/>
                <a:gd name="connsiteX36" fmla="*/ 1428 w 10000"/>
                <a:gd name="connsiteY36" fmla="*/ 8726 h 10000"/>
                <a:gd name="connsiteX37" fmla="*/ 1466 w 10000"/>
                <a:gd name="connsiteY37" fmla="*/ 8421 h 10000"/>
                <a:gd name="connsiteX38" fmla="*/ 1392 w 10000"/>
                <a:gd name="connsiteY38" fmla="*/ 7961 h 10000"/>
                <a:gd name="connsiteX39" fmla="*/ 1246 w 10000"/>
                <a:gd name="connsiteY39" fmla="*/ 7397 h 10000"/>
                <a:gd name="connsiteX40" fmla="*/ 1173 w 10000"/>
                <a:gd name="connsiteY40" fmla="*/ 6991 h 10000"/>
                <a:gd name="connsiteX41" fmla="*/ 1356 w 10000"/>
                <a:gd name="connsiteY41" fmla="*/ 6684 h 10000"/>
                <a:gd name="connsiteX42" fmla="*/ 1062 w 10000"/>
                <a:gd name="connsiteY42" fmla="*/ 6226 h 10000"/>
                <a:gd name="connsiteX43" fmla="*/ 1062 w 10000"/>
                <a:gd name="connsiteY43" fmla="*/ 6124 h 10000"/>
                <a:gd name="connsiteX44" fmla="*/ 1100 w 10000"/>
                <a:gd name="connsiteY44" fmla="*/ 5614 h 10000"/>
                <a:gd name="connsiteX45" fmla="*/ 953 w 10000"/>
                <a:gd name="connsiteY45" fmla="*/ 5204 h 10000"/>
                <a:gd name="connsiteX46" fmla="*/ 696 w 10000"/>
                <a:gd name="connsiteY46" fmla="*/ 4388 h 10000"/>
                <a:gd name="connsiteX47" fmla="*/ 623 w 10000"/>
                <a:gd name="connsiteY47" fmla="*/ 3776 h 10000"/>
                <a:gd name="connsiteX48" fmla="*/ 623 w 10000"/>
                <a:gd name="connsiteY48" fmla="*/ 3367 h 10000"/>
                <a:gd name="connsiteX49" fmla="*/ 0 w 10000"/>
                <a:gd name="connsiteY49" fmla="*/ 2553 h 10000"/>
                <a:gd name="connsiteX50" fmla="*/ 477 w 10000"/>
                <a:gd name="connsiteY50" fmla="*/ 1990 h 10000"/>
                <a:gd name="connsiteX51" fmla="*/ 477 w 10000"/>
                <a:gd name="connsiteY51" fmla="*/ 1736 h 10000"/>
                <a:gd name="connsiteX52" fmla="*/ 477 w 10000"/>
                <a:gd name="connsiteY52" fmla="*/ 969 h 10000"/>
                <a:gd name="connsiteX53" fmla="*/ 147 w 10000"/>
                <a:gd name="connsiteY53" fmla="*/ 459 h 10000"/>
                <a:gd name="connsiteX54" fmla="*/ 257 w 10000"/>
                <a:gd name="connsiteY54" fmla="*/ 0 h 10000"/>
                <a:gd name="connsiteX0" fmla="*/ 257 w 10000"/>
                <a:gd name="connsiteY0" fmla="*/ 0 h 10000"/>
                <a:gd name="connsiteX1" fmla="*/ 8448 w 10000"/>
                <a:gd name="connsiteY1" fmla="*/ 90 h 10000"/>
                <a:gd name="connsiteX2" fmla="*/ 8353 w 10000"/>
                <a:gd name="connsiteY2" fmla="*/ 561 h 10000"/>
                <a:gd name="connsiteX3" fmla="*/ 8682 w 10000"/>
                <a:gd name="connsiteY3" fmla="*/ 969 h 10000"/>
                <a:gd name="connsiteX4" fmla="*/ 8631 w 10000"/>
                <a:gd name="connsiteY4" fmla="*/ 1264 h 10000"/>
                <a:gd name="connsiteX5" fmla="*/ 8426 w 10000"/>
                <a:gd name="connsiteY5" fmla="*/ 1938 h 10000"/>
                <a:gd name="connsiteX6" fmla="*/ 8537 w 10000"/>
                <a:gd name="connsiteY6" fmla="*/ 2194 h 10000"/>
                <a:gd name="connsiteX7" fmla="*/ 8572 w 10000"/>
                <a:gd name="connsiteY7" fmla="*/ 2502 h 10000"/>
                <a:gd name="connsiteX8" fmla="*/ 8976 w 10000"/>
                <a:gd name="connsiteY8" fmla="*/ 3011 h 10000"/>
                <a:gd name="connsiteX9" fmla="*/ 9458 w 10000"/>
                <a:gd name="connsiteY9" fmla="*/ 3329 h 10000"/>
                <a:gd name="connsiteX10" fmla="*/ 9561 w 10000"/>
                <a:gd name="connsiteY10" fmla="*/ 3930 h 10000"/>
                <a:gd name="connsiteX11" fmla="*/ 9743 w 10000"/>
                <a:gd name="connsiteY11" fmla="*/ 4286 h 10000"/>
                <a:gd name="connsiteX12" fmla="*/ 9890 w 10000"/>
                <a:gd name="connsiteY12" fmla="*/ 4542 h 10000"/>
                <a:gd name="connsiteX13" fmla="*/ 10000 w 10000"/>
                <a:gd name="connsiteY13" fmla="*/ 5307 h 10000"/>
                <a:gd name="connsiteX14" fmla="*/ 9781 w 10000"/>
                <a:gd name="connsiteY14" fmla="*/ 5765 h 10000"/>
                <a:gd name="connsiteX15" fmla="*/ 9670 w 10000"/>
                <a:gd name="connsiteY15" fmla="*/ 6022 h 10000"/>
                <a:gd name="connsiteX16" fmla="*/ 9670 w 10000"/>
                <a:gd name="connsiteY16" fmla="*/ 6480 h 10000"/>
                <a:gd name="connsiteX17" fmla="*/ 9233 w 10000"/>
                <a:gd name="connsiteY17" fmla="*/ 6428 h 10000"/>
                <a:gd name="connsiteX18" fmla="*/ 8902 w 10000"/>
                <a:gd name="connsiteY18" fmla="*/ 6684 h 10000"/>
                <a:gd name="connsiteX19" fmla="*/ 8756 w 10000"/>
                <a:gd name="connsiteY19" fmla="*/ 6888 h 10000"/>
                <a:gd name="connsiteX20" fmla="*/ 8572 w 10000"/>
                <a:gd name="connsiteY20" fmla="*/ 7296 h 10000"/>
                <a:gd name="connsiteX21" fmla="*/ 8609 w 10000"/>
                <a:gd name="connsiteY21" fmla="*/ 7656 h 10000"/>
                <a:gd name="connsiteX22" fmla="*/ 8793 w 10000"/>
                <a:gd name="connsiteY22" fmla="*/ 8266 h 10000"/>
                <a:gd name="connsiteX23" fmla="*/ 8537 w 10000"/>
                <a:gd name="connsiteY23" fmla="*/ 8625 h 10000"/>
                <a:gd name="connsiteX24" fmla="*/ 8537 w 10000"/>
                <a:gd name="connsiteY24" fmla="*/ 9033 h 10000"/>
                <a:gd name="connsiteX25" fmla="*/ 8537 w 10000"/>
                <a:gd name="connsiteY25" fmla="*/ 9287 h 10000"/>
                <a:gd name="connsiteX26" fmla="*/ 8170 w 10000"/>
                <a:gd name="connsiteY26" fmla="*/ 9439 h 10000"/>
                <a:gd name="connsiteX27" fmla="*/ 8097 w 10000"/>
                <a:gd name="connsiteY27" fmla="*/ 9694 h 10000"/>
                <a:gd name="connsiteX28" fmla="*/ 8134 w 10000"/>
                <a:gd name="connsiteY28" fmla="*/ 9950 h 10000"/>
                <a:gd name="connsiteX29" fmla="*/ 8023 w 10000"/>
                <a:gd name="connsiteY29" fmla="*/ 10000 h 10000"/>
                <a:gd name="connsiteX30" fmla="*/ 7766 w 10000"/>
                <a:gd name="connsiteY30" fmla="*/ 9643 h 10000"/>
                <a:gd name="connsiteX31" fmla="*/ 7546 w 10000"/>
                <a:gd name="connsiteY31" fmla="*/ 9542 h 10000"/>
                <a:gd name="connsiteX32" fmla="*/ 7400 w 10000"/>
                <a:gd name="connsiteY32" fmla="*/ 9439 h 10000"/>
                <a:gd name="connsiteX33" fmla="*/ 1502 w 10000"/>
                <a:gd name="connsiteY33" fmla="*/ 9643 h 10000"/>
                <a:gd name="connsiteX34" fmla="*/ 1428 w 10000"/>
                <a:gd name="connsiteY34" fmla="*/ 9185 h 10000"/>
                <a:gd name="connsiteX35" fmla="*/ 1428 w 10000"/>
                <a:gd name="connsiteY35" fmla="*/ 9085 h 10000"/>
                <a:gd name="connsiteX36" fmla="*/ 1428 w 10000"/>
                <a:gd name="connsiteY36" fmla="*/ 8726 h 10000"/>
                <a:gd name="connsiteX37" fmla="*/ 1466 w 10000"/>
                <a:gd name="connsiteY37" fmla="*/ 8421 h 10000"/>
                <a:gd name="connsiteX38" fmla="*/ 1392 w 10000"/>
                <a:gd name="connsiteY38" fmla="*/ 7961 h 10000"/>
                <a:gd name="connsiteX39" fmla="*/ 1246 w 10000"/>
                <a:gd name="connsiteY39" fmla="*/ 7397 h 10000"/>
                <a:gd name="connsiteX40" fmla="*/ 1173 w 10000"/>
                <a:gd name="connsiteY40" fmla="*/ 6991 h 10000"/>
                <a:gd name="connsiteX41" fmla="*/ 1356 w 10000"/>
                <a:gd name="connsiteY41" fmla="*/ 6684 h 10000"/>
                <a:gd name="connsiteX42" fmla="*/ 1062 w 10000"/>
                <a:gd name="connsiteY42" fmla="*/ 6226 h 10000"/>
                <a:gd name="connsiteX43" fmla="*/ 1062 w 10000"/>
                <a:gd name="connsiteY43" fmla="*/ 6124 h 10000"/>
                <a:gd name="connsiteX44" fmla="*/ 1100 w 10000"/>
                <a:gd name="connsiteY44" fmla="*/ 5614 h 10000"/>
                <a:gd name="connsiteX45" fmla="*/ 953 w 10000"/>
                <a:gd name="connsiteY45" fmla="*/ 5204 h 10000"/>
                <a:gd name="connsiteX46" fmla="*/ 696 w 10000"/>
                <a:gd name="connsiteY46" fmla="*/ 4388 h 10000"/>
                <a:gd name="connsiteX47" fmla="*/ 623 w 10000"/>
                <a:gd name="connsiteY47" fmla="*/ 3776 h 10000"/>
                <a:gd name="connsiteX48" fmla="*/ 623 w 10000"/>
                <a:gd name="connsiteY48" fmla="*/ 3367 h 10000"/>
                <a:gd name="connsiteX49" fmla="*/ 0 w 10000"/>
                <a:gd name="connsiteY49" fmla="*/ 2553 h 10000"/>
                <a:gd name="connsiteX50" fmla="*/ 477 w 10000"/>
                <a:gd name="connsiteY50" fmla="*/ 1990 h 10000"/>
                <a:gd name="connsiteX51" fmla="*/ 477 w 10000"/>
                <a:gd name="connsiteY51" fmla="*/ 1736 h 10000"/>
                <a:gd name="connsiteX52" fmla="*/ 477 w 10000"/>
                <a:gd name="connsiteY52" fmla="*/ 969 h 10000"/>
                <a:gd name="connsiteX53" fmla="*/ 147 w 10000"/>
                <a:gd name="connsiteY53" fmla="*/ 459 h 10000"/>
                <a:gd name="connsiteX54" fmla="*/ 257 w 10000"/>
                <a:gd name="connsiteY54" fmla="*/ 0 h 10000"/>
                <a:gd name="connsiteX0" fmla="*/ 257 w 10000"/>
                <a:gd name="connsiteY0" fmla="*/ 0 h 10000"/>
                <a:gd name="connsiteX1" fmla="*/ 8448 w 10000"/>
                <a:gd name="connsiteY1" fmla="*/ 90 h 10000"/>
                <a:gd name="connsiteX2" fmla="*/ 8353 w 10000"/>
                <a:gd name="connsiteY2" fmla="*/ 561 h 10000"/>
                <a:gd name="connsiteX3" fmla="*/ 8682 w 10000"/>
                <a:gd name="connsiteY3" fmla="*/ 969 h 10000"/>
                <a:gd name="connsiteX4" fmla="*/ 8631 w 10000"/>
                <a:gd name="connsiteY4" fmla="*/ 1264 h 10000"/>
                <a:gd name="connsiteX5" fmla="*/ 8426 w 10000"/>
                <a:gd name="connsiteY5" fmla="*/ 1938 h 10000"/>
                <a:gd name="connsiteX6" fmla="*/ 8537 w 10000"/>
                <a:gd name="connsiteY6" fmla="*/ 2194 h 10000"/>
                <a:gd name="connsiteX7" fmla="*/ 8572 w 10000"/>
                <a:gd name="connsiteY7" fmla="*/ 2502 h 10000"/>
                <a:gd name="connsiteX8" fmla="*/ 8976 w 10000"/>
                <a:gd name="connsiteY8" fmla="*/ 3011 h 10000"/>
                <a:gd name="connsiteX9" fmla="*/ 9458 w 10000"/>
                <a:gd name="connsiteY9" fmla="*/ 3329 h 10000"/>
                <a:gd name="connsiteX10" fmla="*/ 9561 w 10000"/>
                <a:gd name="connsiteY10" fmla="*/ 3930 h 10000"/>
                <a:gd name="connsiteX11" fmla="*/ 9743 w 10000"/>
                <a:gd name="connsiteY11" fmla="*/ 4286 h 10000"/>
                <a:gd name="connsiteX12" fmla="*/ 9890 w 10000"/>
                <a:gd name="connsiteY12" fmla="*/ 4542 h 10000"/>
                <a:gd name="connsiteX13" fmla="*/ 10000 w 10000"/>
                <a:gd name="connsiteY13" fmla="*/ 5307 h 10000"/>
                <a:gd name="connsiteX14" fmla="*/ 9781 w 10000"/>
                <a:gd name="connsiteY14" fmla="*/ 5765 h 10000"/>
                <a:gd name="connsiteX15" fmla="*/ 9670 w 10000"/>
                <a:gd name="connsiteY15" fmla="*/ 6022 h 10000"/>
                <a:gd name="connsiteX16" fmla="*/ 9670 w 10000"/>
                <a:gd name="connsiteY16" fmla="*/ 6480 h 10000"/>
                <a:gd name="connsiteX17" fmla="*/ 9233 w 10000"/>
                <a:gd name="connsiteY17" fmla="*/ 6428 h 10000"/>
                <a:gd name="connsiteX18" fmla="*/ 8902 w 10000"/>
                <a:gd name="connsiteY18" fmla="*/ 6684 h 10000"/>
                <a:gd name="connsiteX19" fmla="*/ 8756 w 10000"/>
                <a:gd name="connsiteY19" fmla="*/ 6888 h 10000"/>
                <a:gd name="connsiteX20" fmla="*/ 8572 w 10000"/>
                <a:gd name="connsiteY20" fmla="*/ 7296 h 10000"/>
                <a:gd name="connsiteX21" fmla="*/ 8609 w 10000"/>
                <a:gd name="connsiteY21" fmla="*/ 7656 h 10000"/>
                <a:gd name="connsiteX22" fmla="*/ 8793 w 10000"/>
                <a:gd name="connsiteY22" fmla="*/ 8266 h 10000"/>
                <a:gd name="connsiteX23" fmla="*/ 8537 w 10000"/>
                <a:gd name="connsiteY23" fmla="*/ 8625 h 10000"/>
                <a:gd name="connsiteX24" fmla="*/ 8537 w 10000"/>
                <a:gd name="connsiteY24" fmla="*/ 9033 h 10000"/>
                <a:gd name="connsiteX25" fmla="*/ 8170 w 10000"/>
                <a:gd name="connsiteY25" fmla="*/ 9439 h 10000"/>
                <a:gd name="connsiteX26" fmla="*/ 8097 w 10000"/>
                <a:gd name="connsiteY26" fmla="*/ 9694 h 10000"/>
                <a:gd name="connsiteX27" fmla="*/ 8134 w 10000"/>
                <a:gd name="connsiteY27" fmla="*/ 9950 h 10000"/>
                <a:gd name="connsiteX28" fmla="*/ 8023 w 10000"/>
                <a:gd name="connsiteY28" fmla="*/ 10000 h 10000"/>
                <a:gd name="connsiteX29" fmla="*/ 7766 w 10000"/>
                <a:gd name="connsiteY29" fmla="*/ 9643 h 10000"/>
                <a:gd name="connsiteX30" fmla="*/ 7546 w 10000"/>
                <a:gd name="connsiteY30" fmla="*/ 9542 h 10000"/>
                <a:gd name="connsiteX31" fmla="*/ 7400 w 10000"/>
                <a:gd name="connsiteY31" fmla="*/ 9439 h 10000"/>
                <a:gd name="connsiteX32" fmla="*/ 1502 w 10000"/>
                <a:gd name="connsiteY32" fmla="*/ 9643 h 10000"/>
                <a:gd name="connsiteX33" fmla="*/ 1428 w 10000"/>
                <a:gd name="connsiteY33" fmla="*/ 9185 h 10000"/>
                <a:gd name="connsiteX34" fmla="*/ 1428 w 10000"/>
                <a:gd name="connsiteY34" fmla="*/ 9085 h 10000"/>
                <a:gd name="connsiteX35" fmla="*/ 1428 w 10000"/>
                <a:gd name="connsiteY35" fmla="*/ 8726 h 10000"/>
                <a:gd name="connsiteX36" fmla="*/ 1466 w 10000"/>
                <a:gd name="connsiteY36" fmla="*/ 8421 h 10000"/>
                <a:gd name="connsiteX37" fmla="*/ 1392 w 10000"/>
                <a:gd name="connsiteY37" fmla="*/ 7961 h 10000"/>
                <a:gd name="connsiteX38" fmla="*/ 1246 w 10000"/>
                <a:gd name="connsiteY38" fmla="*/ 7397 h 10000"/>
                <a:gd name="connsiteX39" fmla="*/ 1173 w 10000"/>
                <a:gd name="connsiteY39" fmla="*/ 6991 h 10000"/>
                <a:gd name="connsiteX40" fmla="*/ 1356 w 10000"/>
                <a:gd name="connsiteY40" fmla="*/ 6684 h 10000"/>
                <a:gd name="connsiteX41" fmla="*/ 1062 w 10000"/>
                <a:gd name="connsiteY41" fmla="*/ 6226 h 10000"/>
                <a:gd name="connsiteX42" fmla="*/ 1062 w 10000"/>
                <a:gd name="connsiteY42" fmla="*/ 6124 h 10000"/>
                <a:gd name="connsiteX43" fmla="*/ 1100 w 10000"/>
                <a:gd name="connsiteY43" fmla="*/ 5614 h 10000"/>
                <a:gd name="connsiteX44" fmla="*/ 953 w 10000"/>
                <a:gd name="connsiteY44" fmla="*/ 5204 h 10000"/>
                <a:gd name="connsiteX45" fmla="*/ 696 w 10000"/>
                <a:gd name="connsiteY45" fmla="*/ 4388 h 10000"/>
                <a:gd name="connsiteX46" fmla="*/ 623 w 10000"/>
                <a:gd name="connsiteY46" fmla="*/ 3776 h 10000"/>
                <a:gd name="connsiteX47" fmla="*/ 623 w 10000"/>
                <a:gd name="connsiteY47" fmla="*/ 3367 h 10000"/>
                <a:gd name="connsiteX48" fmla="*/ 0 w 10000"/>
                <a:gd name="connsiteY48" fmla="*/ 2553 h 10000"/>
                <a:gd name="connsiteX49" fmla="*/ 477 w 10000"/>
                <a:gd name="connsiteY49" fmla="*/ 1990 h 10000"/>
                <a:gd name="connsiteX50" fmla="*/ 477 w 10000"/>
                <a:gd name="connsiteY50" fmla="*/ 1736 h 10000"/>
                <a:gd name="connsiteX51" fmla="*/ 477 w 10000"/>
                <a:gd name="connsiteY51" fmla="*/ 969 h 10000"/>
                <a:gd name="connsiteX52" fmla="*/ 147 w 10000"/>
                <a:gd name="connsiteY52" fmla="*/ 459 h 10000"/>
                <a:gd name="connsiteX53" fmla="*/ 257 w 10000"/>
                <a:gd name="connsiteY53" fmla="*/ 0 h 10000"/>
                <a:gd name="connsiteX0" fmla="*/ 257 w 10000"/>
                <a:gd name="connsiteY0" fmla="*/ 0 h 10000"/>
                <a:gd name="connsiteX1" fmla="*/ 8448 w 10000"/>
                <a:gd name="connsiteY1" fmla="*/ 90 h 10000"/>
                <a:gd name="connsiteX2" fmla="*/ 8353 w 10000"/>
                <a:gd name="connsiteY2" fmla="*/ 561 h 10000"/>
                <a:gd name="connsiteX3" fmla="*/ 8682 w 10000"/>
                <a:gd name="connsiteY3" fmla="*/ 969 h 10000"/>
                <a:gd name="connsiteX4" fmla="*/ 8631 w 10000"/>
                <a:gd name="connsiteY4" fmla="*/ 1264 h 10000"/>
                <a:gd name="connsiteX5" fmla="*/ 8426 w 10000"/>
                <a:gd name="connsiteY5" fmla="*/ 1938 h 10000"/>
                <a:gd name="connsiteX6" fmla="*/ 8537 w 10000"/>
                <a:gd name="connsiteY6" fmla="*/ 2194 h 10000"/>
                <a:gd name="connsiteX7" fmla="*/ 8572 w 10000"/>
                <a:gd name="connsiteY7" fmla="*/ 2502 h 10000"/>
                <a:gd name="connsiteX8" fmla="*/ 8976 w 10000"/>
                <a:gd name="connsiteY8" fmla="*/ 3011 h 10000"/>
                <a:gd name="connsiteX9" fmla="*/ 9458 w 10000"/>
                <a:gd name="connsiteY9" fmla="*/ 3329 h 10000"/>
                <a:gd name="connsiteX10" fmla="*/ 9561 w 10000"/>
                <a:gd name="connsiteY10" fmla="*/ 3930 h 10000"/>
                <a:gd name="connsiteX11" fmla="*/ 9743 w 10000"/>
                <a:gd name="connsiteY11" fmla="*/ 4286 h 10000"/>
                <a:gd name="connsiteX12" fmla="*/ 9890 w 10000"/>
                <a:gd name="connsiteY12" fmla="*/ 4542 h 10000"/>
                <a:gd name="connsiteX13" fmla="*/ 10000 w 10000"/>
                <a:gd name="connsiteY13" fmla="*/ 5307 h 10000"/>
                <a:gd name="connsiteX14" fmla="*/ 9781 w 10000"/>
                <a:gd name="connsiteY14" fmla="*/ 5765 h 10000"/>
                <a:gd name="connsiteX15" fmla="*/ 9670 w 10000"/>
                <a:gd name="connsiteY15" fmla="*/ 6022 h 10000"/>
                <a:gd name="connsiteX16" fmla="*/ 9670 w 10000"/>
                <a:gd name="connsiteY16" fmla="*/ 6480 h 10000"/>
                <a:gd name="connsiteX17" fmla="*/ 9233 w 10000"/>
                <a:gd name="connsiteY17" fmla="*/ 6428 h 10000"/>
                <a:gd name="connsiteX18" fmla="*/ 8902 w 10000"/>
                <a:gd name="connsiteY18" fmla="*/ 6684 h 10000"/>
                <a:gd name="connsiteX19" fmla="*/ 8756 w 10000"/>
                <a:gd name="connsiteY19" fmla="*/ 6888 h 10000"/>
                <a:gd name="connsiteX20" fmla="*/ 8572 w 10000"/>
                <a:gd name="connsiteY20" fmla="*/ 7296 h 10000"/>
                <a:gd name="connsiteX21" fmla="*/ 8609 w 10000"/>
                <a:gd name="connsiteY21" fmla="*/ 7656 h 10000"/>
                <a:gd name="connsiteX22" fmla="*/ 8793 w 10000"/>
                <a:gd name="connsiteY22" fmla="*/ 8266 h 10000"/>
                <a:gd name="connsiteX23" fmla="*/ 8537 w 10000"/>
                <a:gd name="connsiteY23" fmla="*/ 8625 h 10000"/>
                <a:gd name="connsiteX24" fmla="*/ 8170 w 10000"/>
                <a:gd name="connsiteY24" fmla="*/ 9439 h 10000"/>
                <a:gd name="connsiteX25" fmla="*/ 8097 w 10000"/>
                <a:gd name="connsiteY25" fmla="*/ 9694 h 10000"/>
                <a:gd name="connsiteX26" fmla="*/ 8134 w 10000"/>
                <a:gd name="connsiteY26" fmla="*/ 9950 h 10000"/>
                <a:gd name="connsiteX27" fmla="*/ 8023 w 10000"/>
                <a:gd name="connsiteY27" fmla="*/ 10000 h 10000"/>
                <a:gd name="connsiteX28" fmla="*/ 7766 w 10000"/>
                <a:gd name="connsiteY28" fmla="*/ 9643 h 10000"/>
                <a:gd name="connsiteX29" fmla="*/ 7546 w 10000"/>
                <a:gd name="connsiteY29" fmla="*/ 9542 h 10000"/>
                <a:gd name="connsiteX30" fmla="*/ 7400 w 10000"/>
                <a:gd name="connsiteY30" fmla="*/ 9439 h 10000"/>
                <a:gd name="connsiteX31" fmla="*/ 1502 w 10000"/>
                <a:gd name="connsiteY31" fmla="*/ 9643 h 10000"/>
                <a:gd name="connsiteX32" fmla="*/ 1428 w 10000"/>
                <a:gd name="connsiteY32" fmla="*/ 9185 h 10000"/>
                <a:gd name="connsiteX33" fmla="*/ 1428 w 10000"/>
                <a:gd name="connsiteY33" fmla="*/ 9085 h 10000"/>
                <a:gd name="connsiteX34" fmla="*/ 1428 w 10000"/>
                <a:gd name="connsiteY34" fmla="*/ 8726 h 10000"/>
                <a:gd name="connsiteX35" fmla="*/ 1466 w 10000"/>
                <a:gd name="connsiteY35" fmla="*/ 8421 h 10000"/>
                <a:gd name="connsiteX36" fmla="*/ 1392 w 10000"/>
                <a:gd name="connsiteY36" fmla="*/ 7961 h 10000"/>
                <a:gd name="connsiteX37" fmla="*/ 1246 w 10000"/>
                <a:gd name="connsiteY37" fmla="*/ 7397 h 10000"/>
                <a:gd name="connsiteX38" fmla="*/ 1173 w 10000"/>
                <a:gd name="connsiteY38" fmla="*/ 6991 h 10000"/>
                <a:gd name="connsiteX39" fmla="*/ 1356 w 10000"/>
                <a:gd name="connsiteY39" fmla="*/ 6684 h 10000"/>
                <a:gd name="connsiteX40" fmla="*/ 1062 w 10000"/>
                <a:gd name="connsiteY40" fmla="*/ 6226 h 10000"/>
                <a:gd name="connsiteX41" fmla="*/ 1062 w 10000"/>
                <a:gd name="connsiteY41" fmla="*/ 6124 h 10000"/>
                <a:gd name="connsiteX42" fmla="*/ 1100 w 10000"/>
                <a:gd name="connsiteY42" fmla="*/ 5614 h 10000"/>
                <a:gd name="connsiteX43" fmla="*/ 953 w 10000"/>
                <a:gd name="connsiteY43" fmla="*/ 5204 h 10000"/>
                <a:gd name="connsiteX44" fmla="*/ 696 w 10000"/>
                <a:gd name="connsiteY44" fmla="*/ 4388 h 10000"/>
                <a:gd name="connsiteX45" fmla="*/ 623 w 10000"/>
                <a:gd name="connsiteY45" fmla="*/ 3776 h 10000"/>
                <a:gd name="connsiteX46" fmla="*/ 623 w 10000"/>
                <a:gd name="connsiteY46" fmla="*/ 3367 h 10000"/>
                <a:gd name="connsiteX47" fmla="*/ 0 w 10000"/>
                <a:gd name="connsiteY47" fmla="*/ 2553 h 10000"/>
                <a:gd name="connsiteX48" fmla="*/ 477 w 10000"/>
                <a:gd name="connsiteY48" fmla="*/ 1990 h 10000"/>
                <a:gd name="connsiteX49" fmla="*/ 477 w 10000"/>
                <a:gd name="connsiteY49" fmla="*/ 1736 h 10000"/>
                <a:gd name="connsiteX50" fmla="*/ 477 w 10000"/>
                <a:gd name="connsiteY50" fmla="*/ 969 h 10000"/>
                <a:gd name="connsiteX51" fmla="*/ 147 w 10000"/>
                <a:gd name="connsiteY51" fmla="*/ 459 h 10000"/>
                <a:gd name="connsiteX52" fmla="*/ 257 w 10000"/>
                <a:gd name="connsiteY52" fmla="*/ 0 h 10000"/>
                <a:gd name="connsiteX0" fmla="*/ 257 w 10000"/>
                <a:gd name="connsiteY0" fmla="*/ 0 h 9950"/>
                <a:gd name="connsiteX1" fmla="*/ 8448 w 10000"/>
                <a:gd name="connsiteY1" fmla="*/ 90 h 9950"/>
                <a:gd name="connsiteX2" fmla="*/ 8353 w 10000"/>
                <a:gd name="connsiteY2" fmla="*/ 561 h 9950"/>
                <a:gd name="connsiteX3" fmla="*/ 8682 w 10000"/>
                <a:gd name="connsiteY3" fmla="*/ 969 h 9950"/>
                <a:gd name="connsiteX4" fmla="*/ 8631 w 10000"/>
                <a:gd name="connsiteY4" fmla="*/ 1264 h 9950"/>
                <a:gd name="connsiteX5" fmla="*/ 8426 w 10000"/>
                <a:gd name="connsiteY5" fmla="*/ 1938 h 9950"/>
                <a:gd name="connsiteX6" fmla="*/ 8537 w 10000"/>
                <a:gd name="connsiteY6" fmla="*/ 2194 h 9950"/>
                <a:gd name="connsiteX7" fmla="*/ 8572 w 10000"/>
                <a:gd name="connsiteY7" fmla="*/ 2502 h 9950"/>
                <a:gd name="connsiteX8" fmla="*/ 8976 w 10000"/>
                <a:gd name="connsiteY8" fmla="*/ 3011 h 9950"/>
                <a:gd name="connsiteX9" fmla="*/ 9458 w 10000"/>
                <a:gd name="connsiteY9" fmla="*/ 3329 h 9950"/>
                <a:gd name="connsiteX10" fmla="*/ 9561 w 10000"/>
                <a:gd name="connsiteY10" fmla="*/ 3930 h 9950"/>
                <a:gd name="connsiteX11" fmla="*/ 9743 w 10000"/>
                <a:gd name="connsiteY11" fmla="*/ 4286 h 9950"/>
                <a:gd name="connsiteX12" fmla="*/ 9890 w 10000"/>
                <a:gd name="connsiteY12" fmla="*/ 4542 h 9950"/>
                <a:gd name="connsiteX13" fmla="*/ 10000 w 10000"/>
                <a:gd name="connsiteY13" fmla="*/ 5307 h 9950"/>
                <a:gd name="connsiteX14" fmla="*/ 9781 w 10000"/>
                <a:gd name="connsiteY14" fmla="*/ 5765 h 9950"/>
                <a:gd name="connsiteX15" fmla="*/ 9670 w 10000"/>
                <a:gd name="connsiteY15" fmla="*/ 6022 h 9950"/>
                <a:gd name="connsiteX16" fmla="*/ 9670 w 10000"/>
                <a:gd name="connsiteY16" fmla="*/ 6480 h 9950"/>
                <a:gd name="connsiteX17" fmla="*/ 9233 w 10000"/>
                <a:gd name="connsiteY17" fmla="*/ 6428 h 9950"/>
                <a:gd name="connsiteX18" fmla="*/ 8902 w 10000"/>
                <a:gd name="connsiteY18" fmla="*/ 6684 h 9950"/>
                <a:gd name="connsiteX19" fmla="*/ 8756 w 10000"/>
                <a:gd name="connsiteY19" fmla="*/ 6888 h 9950"/>
                <a:gd name="connsiteX20" fmla="*/ 8572 w 10000"/>
                <a:gd name="connsiteY20" fmla="*/ 7296 h 9950"/>
                <a:gd name="connsiteX21" fmla="*/ 8609 w 10000"/>
                <a:gd name="connsiteY21" fmla="*/ 7656 h 9950"/>
                <a:gd name="connsiteX22" fmla="*/ 8793 w 10000"/>
                <a:gd name="connsiteY22" fmla="*/ 8266 h 9950"/>
                <a:gd name="connsiteX23" fmla="*/ 8537 w 10000"/>
                <a:gd name="connsiteY23" fmla="*/ 8625 h 9950"/>
                <a:gd name="connsiteX24" fmla="*/ 8170 w 10000"/>
                <a:gd name="connsiteY24" fmla="*/ 9439 h 9950"/>
                <a:gd name="connsiteX25" fmla="*/ 8097 w 10000"/>
                <a:gd name="connsiteY25" fmla="*/ 9694 h 9950"/>
                <a:gd name="connsiteX26" fmla="*/ 8134 w 10000"/>
                <a:gd name="connsiteY26" fmla="*/ 9950 h 9950"/>
                <a:gd name="connsiteX27" fmla="*/ 7766 w 10000"/>
                <a:gd name="connsiteY27" fmla="*/ 9643 h 9950"/>
                <a:gd name="connsiteX28" fmla="*/ 7546 w 10000"/>
                <a:gd name="connsiteY28" fmla="*/ 9542 h 9950"/>
                <a:gd name="connsiteX29" fmla="*/ 7400 w 10000"/>
                <a:gd name="connsiteY29" fmla="*/ 9439 h 9950"/>
                <a:gd name="connsiteX30" fmla="*/ 1502 w 10000"/>
                <a:gd name="connsiteY30" fmla="*/ 9643 h 9950"/>
                <a:gd name="connsiteX31" fmla="*/ 1428 w 10000"/>
                <a:gd name="connsiteY31" fmla="*/ 9185 h 9950"/>
                <a:gd name="connsiteX32" fmla="*/ 1428 w 10000"/>
                <a:gd name="connsiteY32" fmla="*/ 9085 h 9950"/>
                <a:gd name="connsiteX33" fmla="*/ 1428 w 10000"/>
                <a:gd name="connsiteY33" fmla="*/ 8726 h 9950"/>
                <a:gd name="connsiteX34" fmla="*/ 1466 w 10000"/>
                <a:gd name="connsiteY34" fmla="*/ 8421 h 9950"/>
                <a:gd name="connsiteX35" fmla="*/ 1392 w 10000"/>
                <a:gd name="connsiteY35" fmla="*/ 7961 h 9950"/>
                <a:gd name="connsiteX36" fmla="*/ 1246 w 10000"/>
                <a:gd name="connsiteY36" fmla="*/ 7397 h 9950"/>
                <a:gd name="connsiteX37" fmla="*/ 1173 w 10000"/>
                <a:gd name="connsiteY37" fmla="*/ 6991 h 9950"/>
                <a:gd name="connsiteX38" fmla="*/ 1356 w 10000"/>
                <a:gd name="connsiteY38" fmla="*/ 6684 h 9950"/>
                <a:gd name="connsiteX39" fmla="*/ 1062 w 10000"/>
                <a:gd name="connsiteY39" fmla="*/ 6226 h 9950"/>
                <a:gd name="connsiteX40" fmla="*/ 1062 w 10000"/>
                <a:gd name="connsiteY40" fmla="*/ 6124 h 9950"/>
                <a:gd name="connsiteX41" fmla="*/ 1100 w 10000"/>
                <a:gd name="connsiteY41" fmla="*/ 5614 h 9950"/>
                <a:gd name="connsiteX42" fmla="*/ 953 w 10000"/>
                <a:gd name="connsiteY42" fmla="*/ 5204 h 9950"/>
                <a:gd name="connsiteX43" fmla="*/ 696 w 10000"/>
                <a:gd name="connsiteY43" fmla="*/ 4388 h 9950"/>
                <a:gd name="connsiteX44" fmla="*/ 623 w 10000"/>
                <a:gd name="connsiteY44" fmla="*/ 3776 h 9950"/>
                <a:gd name="connsiteX45" fmla="*/ 623 w 10000"/>
                <a:gd name="connsiteY45" fmla="*/ 3367 h 9950"/>
                <a:gd name="connsiteX46" fmla="*/ 0 w 10000"/>
                <a:gd name="connsiteY46" fmla="*/ 2553 h 9950"/>
                <a:gd name="connsiteX47" fmla="*/ 477 w 10000"/>
                <a:gd name="connsiteY47" fmla="*/ 1990 h 9950"/>
                <a:gd name="connsiteX48" fmla="*/ 477 w 10000"/>
                <a:gd name="connsiteY48" fmla="*/ 1736 h 9950"/>
                <a:gd name="connsiteX49" fmla="*/ 477 w 10000"/>
                <a:gd name="connsiteY49" fmla="*/ 969 h 9950"/>
                <a:gd name="connsiteX50" fmla="*/ 147 w 10000"/>
                <a:gd name="connsiteY50" fmla="*/ 459 h 9950"/>
                <a:gd name="connsiteX51" fmla="*/ 257 w 10000"/>
                <a:gd name="connsiteY51" fmla="*/ 0 h 9950"/>
                <a:gd name="connsiteX0" fmla="*/ 257 w 10000"/>
                <a:gd name="connsiteY0" fmla="*/ 0 h 9753"/>
                <a:gd name="connsiteX1" fmla="*/ 8448 w 10000"/>
                <a:gd name="connsiteY1" fmla="*/ 90 h 9753"/>
                <a:gd name="connsiteX2" fmla="*/ 8353 w 10000"/>
                <a:gd name="connsiteY2" fmla="*/ 564 h 9753"/>
                <a:gd name="connsiteX3" fmla="*/ 8682 w 10000"/>
                <a:gd name="connsiteY3" fmla="*/ 974 h 9753"/>
                <a:gd name="connsiteX4" fmla="*/ 8631 w 10000"/>
                <a:gd name="connsiteY4" fmla="*/ 1270 h 9753"/>
                <a:gd name="connsiteX5" fmla="*/ 8426 w 10000"/>
                <a:gd name="connsiteY5" fmla="*/ 1948 h 9753"/>
                <a:gd name="connsiteX6" fmla="*/ 8537 w 10000"/>
                <a:gd name="connsiteY6" fmla="*/ 2205 h 9753"/>
                <a:gd name="connsiteX7" fmla="*/ 8572 w 10000"/>
                <a:gd name="connsiteY7" fmla="*/ 2515 h 9753"/>
                <a:gd name="connsiteX8" fmla="*/ 8976 w 10000"/>
                <a:gd name="connsiteY8" fmla="*/ 3026 h 9753"/>
                <a:gd name="connsiteX9" fmla="*/ 9458 w 10000"/>
                <a:gd name="connsiteY9" fmla="*/ 3346 h 9753"/>
                <a:gd name="connsiteX10" fmla="*/ 9561 w 10000"/>
                <a:gd name="connsiteY10" fmla="*/ 3950 h 9753"/>
                <a:gd name="connsiteX11" fmla="*/ 9743 w 10000"/>
                <a:gd name="connsiteY11" fmla="*/ 4308 h 9753"/>
                <a:gd name="connsiteX12" fmla="*/ 9890 w 10000"/>
                <a:gd name="connsiteY12" fmla="*/ 4565 h 9753"/>
                <a:gd name="connsiteX13" fmla="*/ 10000 w 10000"/>
                <a:gd name="connsiteY13" fmla="*/ 5334 h 9753"/>
                <a:gd name="connsiteX14" fmla="*/ 9781 w 10000"/>
                <a:gd name="connsiteY14" fmla="*/ 5794 h 9753"/>
                <a:gd name="connsiteX15" fmla="*/ 9670 w 10000"/>
                <a:gd name="connsiteY15" fmla="*/ 6052 h 9753"/>
                <a:gd name="connsiteX16" fmla="*/ 9670 w 10000"/>
                <a:gd name="connsiteY16" fmla="*/ 6513 h 9753"/>
                <a:gd name="connsiteX17" fmla="*/ 9233 w 10000"/>
                <a:gd name="connsiteY17" fmla="*/ 6460 h 9753"/>
                <a:gd name="connsiteX18" fmla="*/ 8902 w 10000"/>
                <a:gd name="connsiteY18" fmla="*/ 6718 h 9753"/>
                <a:gd name="connsiteX19" fmla="*/ 8756 w 10000"/>
                <a:gd name="connsiteY19" fmla="*/ 6923 h 9753"/>
                <a:gd name="connsiteX20" fmla="*/ 8572 w 10000"/>
                <a:gd name="connsiteY20" fmla="*/ 7333 h 9753"/>
                <a:gd name="connsiteX21" fmla="*/ 8609 w 10000"/>
                <a:gd name="connsiteY21" fmla="*/ 7694 h 9753"/>
                <a:gd name="connsiteX22" fmla="*/ 8793 w 10000"/>
                <a:gd name="connsiteY22" fmla="*/ 8308 h 9753"/>
                <a:gd name="connsiteX23" fmla="*/ 8537 w 10000"/>
                <a:gd name="connsiteY23" fmla="*/ 8668 h 9753"/>
                <a:gd name="connsiteX24" fmla="*/ 8170 w 10000"/>
                <a:gd name="connsiteY24" fmla="*/ 9486 h 9753"/>
                <a:gd name="connsiteX25" fmla="*/ 8097 w 10000"/>
                <a:gd name="connsiteY25" fmla="*/ 9743 h 9753"/>
                <a:gd name="connsiteX26" fmla="*/ 7766 w 10000"/>
                <a:gd name="connsiteY26" fmla="*/ 9691 h 9753"/>
                <a:gd name="connsiteX27" fmla="*/ 7546 w 10000"/>
                <a:gd name="connsiteY27" fmla="*/ 9590 h 9753"/>
                <a:gd name="connsiteX28" fmla="*/ 7400 w 10000"/>
                <a:gd name="connsiteY28" fmla="*/ 9486 h 9753"/>
                <a:gd name="connsiteX29" fmla="*/ 1502 w 10000"/>
                <a:gd name="connsiteY29" fmla="*/ 9691 h 9753"/>
                <a:gd name="connsiteX30" fmla="*/ 1428 w 10000"/>
                <a:gd name="connsiteY30" fmla="*/ 9231 h 9753"/>
                <a:gd name="connsiteX31" fmla="*/ 1428 w 10000"/>
                <a:gd name="connsiteY31" fmla="*/ 9131 h 9753"/>
                <a:gd name="connsiteX32" fmla="*/ 1428 w 10000"/>
                <a:gd name="connsiteY32" fmla="*/ 8770 h 9753"/>
                <a:gd name="connsiteX33" fmla="*/ 1466 w 10000"/>
                <a:gd name="connsiteY33" fmla="*/ 8463 h 9753"/>
                <a:gd name="connsiteX34" fmla="*/ 1392 w 10000"/>
                <a:gd name="connsiteY34" fmla="*/ 8001 h 9753"/>
                <a:gd name="connsiteX35" fmla="*/ 1246 w 10000"/>
                <a:gd name="connsiteY35" fmla="*/ 7434 h 9753"/>
                <a:gd name="connsiteX36" fmla="*/ 1173 w 10000"/>
                <a:gd name="connsiteY36" fmla="*/ 7026 h 9753"/>
                <a:gd name="connsiteX37" fmla="*/ 1356 w 10000"/>
                <a:gd name="connsiteY37" fmla="*/ 6718 h 9753"/>
                <a:gd name="connsiteX38" fmla="*/ 1062 w 10000"/>
                <a:gd name="connsiteY38" fmla="*/ 6257 h 9753"/>
                <a:gd name="connsiteX39" fmla="*/ 1062 w 10000"/>
                <a:gd name="connsiteY39" fmla="*/ 6155 h 9753"/>
                <a:gd name="connsiteX40" fmla="*/ 1100 w 10000"/>
                <a:gd name="connsiteY40" fmla="*/ 5642 h 9753"/>
                <a:gd name="connsiteX41" fmla="*/ 953 w 10000"/>
                <a:gd name="connsiteY41" fmla="*/ 5230 h 9753"/>
                <a:gd name="connsiteX42" fmla="*/ 696 w 10000"/>
                <a:gd name="connsiteY42" fmla="*/ 4410 h 9753"/>
                <a:gd name="connsiteX43" fmla="*/ 623 w 10000"/>
                <a:gd name="connsiteY43" fmla="*/ 3795 h 9753"/>
                <a:gd name="connsiteX44" fmla="*/ 623 w 10000"/>
                <a:gd name="connsiteY44" fmla="*/ 3384 h 9753"/>
                <a:gd name="connsiteX45" fmla="*/ 0 w 10000"/>
                <a:gd name="connsiteY45" fmla="*/ 2566 h 9753"/>
                <a:gd name="connsiteX46" fmla="*/ 477 w 10000"/>
                <a:gd name="connsiteY46" fmla="*/ 2000 h 9753"/>
                <a:gd name="connsiteX47" fmla="*/ 477 w 10000"/>
                <a:gd name="connsiteY47" fmla="*/ 1745 h 9753"/>
                <a:gd name="connsiteX48" fmla="*/ 477 w 10000"/>
                <a:gd name="connsiteY48" fmla="*/ 974 h 9753"/>
                <a:gd name="connsiteX49" fmla="*/ 147 w 10000"/>
                <a:gd name="connsiteY49" fmla="*/ 461 h 9753"/>
                <a:gd name="connsiteX50" fmla="*/ 257 w 10000"/>
                <a:gd name="connsiteY50" fmla="*/ 0 h 9753"/>
                <a:gd name="connsiteX0" fmla="*/ 257 w 10000"/>
                <a:gd name="connsiteY0" fmla="*/ 0 h 10000"/>
                <a:gd name="connsiteX1" fmla="*/ 8448 w 10000"/>
                <a:gd name="connsiteY1" fmla="*/ 92 h 10000"/>
                <a:gd name="connsiteX2" fmla="*/ 8353 w 10000"/>
                <a:gd name="connsiteY2" fmla="*/ 578 h 10000"/>
                <a:gd name="connsiteX3" fmla="*/ 8682 w 10000"/>
                <a:gd name="connsiteY3" fmla="*/ 999 h 10000"/>
                <a:gd name="connsiteX4" fmla="*/ 8631 w 10000"/>
                <a:gd name="connsiteY4" fmla="*/ 1302 h 10000"/>
                <a:gd name="connsiteX5" fmla="*/ 8426 w 10000"/>
                <a:gd name="connsiteY5" fmla="*/ 1997 h 10000"/>
                <a:gd name="connsiteX6" fmla="*/ 8537 w 10000"/>
                <a:gd name="connsiteY6" fmla="*/ 2261 h 10000"/>
                <a:gd name="connsiteX7" fmla="*/ 8572 w 10000"/>
                <a:gd name="connsiteY7" fmla="*/ 2579 h 10000"/>
                <a:gd name="connsiteX8" fmla="*/ 8976 w 10000"/>
                <a:gd name="connsiteY8" fmla="*/ 3103 h 10000"/>
                <a:gd name="connsiteX9" fmla="*/ 9458 w 10000"/>
                <a:gd name="connsiteY9" fmla="*/ 3431 h 10000"/>
                <a:gd name="connsiteX10" fmla="*/ 9561 w 10000"/>
                <a:gd name="connsiteY10" fmla="*/ 4050 h 10000"/>
                <a:gd name="connsiteX11" fmla="*/ 9743 w 10000"/>
                <a:gd name="connsiteY11" fmla="*/ 4417 h 10000"/>
                <a:gd name="connsiteX12" fmla="*/ 9890 w 10000"/>
                <a:gd name="connsiteY12" fmla="*/ 4681 h 10000"/>
                <a:gd name="connsiteX13" fmla="*/ 10000 w 10000"/>
                <a:gd name="connsiteY13" fmla="*/ 5469 h 10000"/>
                <a:gd name="connsiteX14" fmla="*/ 9781 w 10000"/>
                <a:gd name="connsiteY14" fmla="*/ 5941 h 10000"/>
                <a:gd name="connsiteX15" fmla="*/ 9670 w 10000"/>
                <a:gd name="connsiteY15" fmla="*/ 6205 h 10000"/>
                <a:gd name="connsiteX16" fmla="*/ 9670 w 10000"/>
                <a:gd name="connsiteY16" fmla="*/ 6678 h 10000"/>
                <a:gd name="connsiteX17" fmla="*/ 9233 w 10000"/>
                <a:gd name="connsiteY17" fmla="*/ 6624 h 10000"/>
                <a:gd name="connsiteX18" fmla="*/ 8902 w 10000"/>
                <a:gd name="connsiteY18" fmla="*/ 6888 h 10000"/>
                <a:gd name="connsiteX19" fmla="*/ 8756 w 10000"/>
                <a:gd name="connsiteY19" fmla="*/ 7098 h 10000"/>
                <a:gd name="connsiteX20" fmla="*/ 8572 w 10000"/>
                <a:gd name="connsiteY20" fmla="*/ 7519 h 10000"/>
                <a:gd name="connsiteX21" fmla="*/ 8609 w 10000"/>
                <a:gd name="connsiteY21" fmla="*/ 7889 h 10000"/>
                <a:gd name="connsiteX22" fmla="*/ 8793 w 10000"/>
                <a:gd name="connsiteY22" fmla="*/ 8518 h 10000"/>
                <a:gd name="connsiteX23" fmla="*/ 8537 w 10000"/>
                <a:gd name="connsiteY23" fmla="*/ 8888 h 10000"/>
                <a:gd name="connsiteX24" fmla="*/ 8170 w 10000"/>
                <a:gd name="connsiteY24" fmla="*/ 9726 h 10000"/>
                <a:gd name="connsiteX25" fmla="*/ 8097 w 10000"/>
                <a:gd name="connsiteY25" fmla="*/ 9990 h 10000"/>
                <a:gd name="connsiteX26" fmla="*/ 7766 w 10000"/>
                <a:gd name="connsiteY26" fmla="*/ 9936 h 10000"/>
                <a:gd name="connsiteX27" fmla="*/ 7400 w 10000"/>
                <a:gd name="connsiteY27" fmla="*/ 9726 h 10000"/>
                <a:gd name="connsiteX28" fmla="*/ 1502 w 10000"/>
                <a:gd name="connsiteY28" fmla="*/ 9936 h 10000"/>
                <a:gd name="connsiteX29" fmla="*/ 1428 w 10000"/>
                <a:gd name="connsiteY29" fmla="*/ 9465 h 10000"/>
                <a:gd name="connsiteX30" fmla="*/ 1428 w 10000"/>
                <a:gd name="connsiteY30" fmla="*/ 9362 h 10000"/>
                <a:gd name="connsiteX31" fmla="*/ 1428 w 10000"/>
                <a:gd name="connsiteY31" fmla="*/ 8992 h 10000"/>
                <a:gd name="connsiteX32" fmla="*/ 1466 w 10000"/>
                <a:gd name="connsiteY32" fmla="*/ 8677 h 10000"/>
                <a:gd name="connsiteX33" fmla="*/ 1392 w 10000"/>
                <a:gd name="connsiteY33" fmla="*/ 8204 h 10000"/>
                <a:gd name="connsiteX34" fmla="*/ 1246 w 10000"/>
                <a:gd name="connsiteY34" fmla="*/ 7622 h 10000"/>
                <a:gd name="connsiteX35" fmla="*/ 1173 w 10000"/>
                <a:gd name="connsiteY35" fmla="*/ 7204 h 10000"/>
                <a:gd name="connsiteX36" fmla="*/ 1356 w 10000"/>
                <a:gd name="connsiteY36" fmla="*/ 6888 h 10000"/>
                <a:gd name="connsiteX37" fmla="*/ 1062 w 10000"/>
                <a:gd name="connsiteY37" fmla="*/ 6415 h 10000"/>
                <a:gd name="connsiteX38" fmla="*/ 1062 w 10000"/>
                <a:gd name="connsiteY38" fmla="*/ 6311 h 10000"/>
                <a:gd name="connsiteX39" fmla="*/ 1100 w 10000"/>
                <a:gd name="connsiteY39" fmla="*/ 5785 h 10000"/>
                <a:gd name="connsiteX40" fmla="*/ 953 w 10000"/>
                <a:gd name="connsiteY40" fmla="*/ 5362 h 10000"/>
                <a:gd name="connsiteX41" fmla="*/ 696 w 10000"/>
                <a:gd name="connsiteY41" fmla="*/ 4522 h 10000"/>
                <a:gd name="connsiteX42" fmla="*/ 623 w 10000"/>
                <a:gd name="connsiteY42" fmla="*/ 3891 h 10000"/>
                <a:gd name="connsiteX43" fmla="*/ 623 w 10000"/>
                <a:gd name="connsiteY43" fmla="*/ 3470 h 10000"/>
                <a:gd name="connsiteX44" fmla="*/ 0 w 10000"/>
                <a:gd name="connsiteY44" fmla="*/ 2631 h 10000"/>
                <a:gd name="connsiteX45" fmla="*/ 477 w 10000"/>
                <a:gd name="connsiteY45" fmla="*/ 2051 h 10000"/>
                <a:gd name="connsiteX46" fmla="*/ 477 w 10000"/>
                <a:gd name="connsiteY46" fmla="*/ 1789 h 10000"/>
                <a:gd name="connsiteX47" fmla="*/ 477 w 10000"/>
                <a:gd name="connsiteY47" fmla="*/ 999 h 10000"/>
                <a:gd name="connsiteX48" fmla="*/ 147 w 10000"/>
                <a:gd name="connsiteY48" fmla="*/ 473 h 10000"/>
                <a:gd name="connsiteX49" fmla="*/ 257 w 10000"/>
                <a:gd name="connsiteY49" fmla="*/ 0 h 10000"/>
                <a:gd name="connsiteX0" fmla="*/ 257 w 10000"/>
                <a:gd name="connsiteY0" fmla="*/ 0 h 10000"/>
                <a:gd name="connsiteX1" fmla="*/ 8448 w 10000"/>
                <a:gd name="connsiteY1" fmla="*/ 92 h 10000"/>
                <a:gd name="connsiteX2" fmla="*/ 8353 w 10000"/>
                <a:gd name="connsiteY2" fmla="*/ 578 h 10000"/>
                <a:gd name="connsiteX3" fmla="*/ 8682 w 10000"/>
                <a:gd name="connsiteY3" fmla="*/ 999 h 10000"/>
                <a:gd name="connsiteX4" fmla="*/ 8631 w 10000"/>
                <a:gd name="connsiteY4" fmla="*/ 1302 h 10000"/>
                <a:gd name="connsiteX5" fmla="*/ 8426 w 10000"/>
                <a:gd name="connsiteY5" fmla="*/ 1997 h 10000"/>
                <a:gd name="connsiteX6" fmla="*/ 8537 w 10000"/>
                <a:gd name="connsiteY6" fmla="*/ 2261 h 10000"/>
                <a:gd name="connsiteX7" fmla="*/ 8572 w 10000"/>
                <a:gd name="connsiteY7" fmla="*/ 2579 h 10000"/>
                <a:gd name="connsiteX8" fmla="*/ 8976 w 10000"/>
                <a:gd name="connsiteY8" fmla="*/ 3103 h 10000"/>
                <a:gd name="connsiteX9" fmla="*/ 9458 w 10000"/>
                <a:gd name="connsiteY9" fmla="*/ 3431 h 10000"/>
                <a:gd name="connsiteX10" fmla="*/ 9561 w 10000"/>
                <a:gd name="connsiteY10" fmla="*/ 4050 h 10000"/>
                <a:gd name="connsiteX11" fmla="*/ 9743 w 10000"/>
                <a:gd name="connsiteY11" fmla="*/ 4417 h 10000"/>
                <a:gd name="connsiteX12" fmla="*/ 9890 w 10000"/>
                <a:gd name="connsiteY12" fmla="*/ 4681 h 10000"/>
                <a:gd name="connsiteX13" fmla="*/ 10000 w 10000"/>
                <a:gd name="connsiteY13" fmla="*/ 5469 h 10000"/>
                <a:gd name="connsiteX14" fmla="*/ 9781 w 10000"/>
                <a:gd name="connsiteY14" fmla="*/ 5941 h 10000"/>
                <a:gd name="connsiteX15" fmla="*/ 9670 w 10000"/>
                <a:gd name="connsiteY15" fmla="*/ 6205 h 10000"/>
                <a:gd name="connsiteX16" fmla="*/ 9670 w 10000"/>
                <a:gd name="connsiteY16" fmla="*/ 6678 h 10000"/>
                <a:gd name="connsiteX17" fmla="*/ 9233 w 10000"/>
                <a:gd name="connsiteY17" fmla="*/ 6624 h 10000"/>
                <a:gd name="connsiteX18" fmla="*/ 8902 w 10000"/>
                <a:gd name="connsiteY18" fmla="*/ 6888 h 10000"/>
                <a:gd name="connsiteX19" fmla="*/ 8756 w 10000"/>
                <a:gd name="connsiteY19" fmla="*/ 7098 h 10000"/>
                <a:gd name="connsiteX20" fmla="*/ 8572 w 10000"/>
                <a:gd name="connsiteY20" fmla="*/ 7519 h 10000"/>
                <a:gd name="connsiteX21" fmla="*/ 8609 w 10000"/>
                <a:gd name="connsiteY21" fmla="*/ 7889 h 10000"/>
                <a:gd name="connsiteX22" fmla="*/ 8793 w 10000"/>
                <a:gd name="connsiteY22" fmla="*/ 8518 h 10000"/>
                <a:gd name="connsiteX23" fmla="*/ 8537 w 10000"/>
                <a:gd name="connsiteY23" fmla="*/ 8888 h 10000"/>
                <a:gd name="connsiteX24" fmla="*/ 8170 w 10000"/>
                <a:gd name="connsiteY24" fmla="*/ 9726 h 10000"/>
                <a:gd name="connsiteX25" fmla="*/ 8097 w 10000"/>
                <a:gd name="connsiteY25" fmla="*/ 9990 h 10000"/>
                <a:gd name="connsiteX26" fmla="*/ 7766 w 10000"/>
                <a:gd name="connsiteY26" fmla="*/ 9936 h 10000"/>
                <a:gd name="connsiteX27" fmla="*/ 7400 w 10000"/>
                <a:gd name="connsiteY27" fmla="*/ 9726 h 10000"/>
                <a:gd name="connsiteX28" fmla="*/ 1502 w 10000"/>
                <a:gd name="connsiteY28" fmla="*/ 9936 h 10000"/>
                <a:gd name="connsiteX29" fmla="*/ 1428 w 10000"/>
                <a:gd name="connsiteY29" fmla="*/ 9465 h 10000"/>
                <a:gd name="connsiteX30" fmla="*/ 1223 w 10000"/>
                <a:gd name="connsiteY30" fmla="*/ 9322 h 10000"/>
                <a:gd name="connsiteX31" fmla="*/ 1428 w 10000"/>
                <a:gd name="connsiteY31" fmla="*/ 8992 h 10000"/>
                <a:gd name="connsiteX32" fmla="*/ 1466 w 10000"/>
                <a:gd name="connsiteY32" fmla="*/ 8677 h 10000"/>
                <a:gd name="connsiteX33" fmla="*/ 1392 w 10000"/>
                <a:gd name="connsiteY33" fmla="*/ 8204 h 10000"/>
                <a:gd name="connsiteX34" fmla="*/ 1246 w 10000"/>
                <a:gd name="connsiteY34" fmla="*/ 7622 h 10000"/>
                <a:gd name="connsiteX35" fmla="*/ 1173 w 10000"/>
                <a:gd name="connsiteY35" fmla="*/ 7204 h 10000"/>
                <a:gd name="connsiteX36" fmla="*/ 1356 w 10000"/>
                <a:gd name="connsiteY36" fmla="*/ 6888 h 10000"/>
                <a:gd name="connsiteX37" fmla="*/ 1062 w 10000"/>
                <a:gd name="connsiteY37" fmla="*/ 6415 h 10000"/>
                <a:gd name="connsiteX38" fmla="*/ 1062 w 10000"/>
                <a:gd name="connsiteY38" fmla="*/ 6311 h 10000"/>
                <a:gd name="connsiteX39" fmla="*/ 1100 w 10000"/>
                <a:gd name="connsiteY39" fmla="*/ 5785 h 10000"/>
                <a:gd name="connsiteX40" fmla="*/ 953 w 10000"/>
                <a:gd name="connsiteY40" fmla="*/ 5362 h 10000"/>
                <a:gd name="connsiteX41" fmla="*/ 696 w 10000"/>
                <a:gd name="connsiteY41" fmla="*/ 4522 h 10000"/>
                <a:gd name="connsiteX42" fmla="*/ 623 w 10000"/>
                <a:gd name="connsiteY42" fmla="*/ 3891 h 10000"/>
                <a:gd name="connsiteX43" fmla="*/ 623 w 10000"/>
                <a:gd name="connsiteY43" fmla="*/ 3470 h 10000"/>
                <a:gd name="connsiteX44" fmla="*/ 0 w 10000"/>
                <a:gd name="connsiteY44" fmla="*/ 2631 h 10000"/>
                <a:gd name="connsiteX45" fmla="*/ 477 w 10000"/>
                <a:gd name="connsiteY45" fmla="*/ 2051 h 10000"/>
                <a:gd name="connsiteX46" fmla="*/ 477 w 10000"/>
                <a:gd name="connsiteY46" fmla="*/ 1789 h 10000"/>
                <a:gd name="connsiteX47" fmla="*/ 477 w 10000"/>
                <a:gd name="connsiteY47" fmla="*/ 999 h 10000"/>
                <a:gd name="connsiteX48" fmla="*/ 147 w 10000"/>
                <a:gd name="connsiteY48" fmla="*/ 473 h 10000"/>
                <a:gd name="connsiteX49" fmla="*/ 257 w 10000"/>
                <a:gd name="connsiteY49" fmla="*/ 0 h 10000"/>
                <a:gd name="connsiteX0" fmla="*/ 257 w 10000"/>
                <a:gd name="connsiteY0" fmla="*/ 0 h 10000"/>
                <a:gd name="connsiteX1" fmla="*/ 8448 w 10000"/>
                <a:gd name="connsiteY1" fmla="*/ 92 h 10000"/>
                <a:gd name="connsiteX2" fmla="*/ 8353 w 10000"/>
                <a:gd name="connsiteY2" fmla="*/ 578 h 10000"/>
                <a:gd name="connsiteX3" fmla="*/ 8682 w 10000"/>
                <a:gd name="connsiteY3" fmla="*/ 999 h 10000"/>
                <a:gd name="connsiteX4" fmla="*/ 8631 w 10000"/>
                <a:gd name="connsiteY4" fmla="*/ 1302 h 10000"/>
                <a:gd name="connsiteX5" fmla="*/ 8426 w 10000"/>
                <a:gd name="connsiteY5" fmla="*/ 1997 h 10000"/>
                <a:gd name="connsiteX6" fmla="*/ 8537 w 10000"/>
                <a:gd name="connsiteY6" fmla="*/ 2261 h 10000"/>
                <a:gd name="connsiteX7" fmla="*/ 8572 w 10000"/>
                <a:gd name="connsiteY7" fmla="*/ 2579 h 10000"/>
                <a:gd name="connsiteX8" fmla="*/ 8976 w 10000"/>
                <a:gd name="connsiteY8" fmla="*/ 3103 h 10000"/>
                <a:gd name="connsiteX9" fmla="*/ 9458 w 10000"/>
                <a:gd name="connsiteY9" fmla="*/ 3431 h 10000"/>
                <a:gd name="connsiteX10" fmla="*/ 9561 w 10000"/>
                <a:gd name="connsiteY10" fmla="*/ 4050 h 10000"/>
                <a:gd name="connsiteX11" fmla="*/ 9743 w 10000"/>
                <a:gd name="connsiteY11" fmla="*/ 4417 h 10000"/>
                <a:gd name="connsiteX12" fmla="*/ 9890 w 10000"/>
                <a:gd name="connsiteY12" fmla="*/ 4681 h 10000"/>
                <a:gd name="connsiteX13" fmla="*/ 10000 w 10000"/>
                <a:gd name="connsiteY13" fmla="*/ 5469 h 10000"/>
                <a:gd name="connsiteX14" fmla="*/ 9781 w 10000"/>
                <a:gd name="connsiteY14" fmla="*/ 5941 h 10000"/>
                <a:gd name="connsiteX15" fmla="*/ 9670 w 10000"/>
                <a:gd name="connsiteY15" fmla="*/ 6205 h 10000"/>
                <a:gd name="connsiteX16" fmla="*/ 9670 w 10000"/>
                <a:gd name="connsiteY16" fmla="*/ 6678 h 10000"/>
                <a:gd name="connsiteX17" fmla="*/ 9233 w 10000"/>
                <a:gd name="connsiteY17" fmla="*/ 6624 h 10000"/>
                <a:gd name="connsiteX18" fmla="*/ 8902 w 10000"/>
                <a:gd name="connsiteY18" fmla="*/ 6888 h 10000"/>
                <a:gd name="connsiteX19" fmla="*/ 8756 w 10000"/>
                <a:gd name="connsiteY19" fmla="*/ 7098 h 10000"/>
                <a:gd name="connsiteX20" fmla="*/ 8572 w 10000"/>
                <a:gd name="connsiteY20" fmla="*/ 7519 h 10000"/>
                <a:gd name="connsiteX21" fmla="*/ 8609 w 10000"/>
                <a:gd name="connsiteY21" fmla="*/ 7889 h 10000"/>
                <a:gd name="connsiteX22" fmla="*/ 8793 w 10000"/>
                <a:gd name="connsiteY22" fmla="*/ 8518 h 10000"/>
                <a:gd name="connsiteX23" fmla="*/ 8537 w 10000"/>
                <a:gd name="connsiteY23" fmla="*/ 8888 h 10000"/>
                <a:gd name="connsiteX24" fmla="*/ 8170 w 10000"/>
                <a:gd name="connsiteY24" fmla="*/ 9726 h 10000"/>
                <a:gd name="connsiteX25" fmla="*/ 8097 w 10000"/>
                <a:gd name="connsiteY25" fmla="*/ 9990 h 10000"/>
                <a:gd name="connsiteX26" fmla="*/ 7766 w 10000"/>
                <a:gd name="connsiteY26" fmla="*/ 9936 h 10000"/>
                <a:gd name="connsiteX27" fmla="*/ 7400 w 10000"/>
                <a:gd name="connsiteY27" fmla="*/ 9726 h 10000"/>
                <a:gd name="connsiteX28" fmla="*/ 1502 w 10000"/>
                <a:gd name="connsiteY28" fmla="*/ 9936 h 10000"/>
                <a:gd name="connsiteX29" fmla="*/ 1428 w 10000"/>
                <a:gd name="connsiteY29" fmla="*/ 9465 h 10000"/>
                <a:gd name="connsiteX30" fmla="*/ 1223 w 10000"/>
                <a:gd name="connsiteY30" fmla="*/ 9322 h 10000"/>
                <a:gd name="connsiteX31" fmla="*/ 1120 w 10000"/>
                <a:gd name="connsiteY31" fmla="*/ 8931 h 10000"/>
                <a:gd name="connsiteX32" fmla="*/ 1466 w 10000"/>
                <a:gd name="connsiteY32" fmla="*/ 8677 h 10000"/>
                <a:gd name="connsiteX33" fmla="*/ 1392 w 10000"/>
                <a:gd name="connsiteY33" fmla="*/ 8204 h 10000"/>
                <a:gd name="connsiteX34" fmla="*/ 1246 w 10000"/>
                <a:gd name="connsiteY34" fmla="*/ 7622 h 10000"/>
                <a:gd name="connsiteX35" fmla="*/ 1173 w 10000"/>
                <a:gd name="connsiteY35" fmla="*/ 7204 h 10000"/>
                <a:gd name="connsiteX36" fmla="*/ 1356 w 10000"/>
                <a:gd name="connsiteY36" fmla="*/ 6888 h 10000"/>
                <a:gd name="connsiteX37" fmla="*/ 1062 w 10000"/>
                <a:gd name="connsiteY37" fmla="*/ 6415 h 10000"/>
                <a:gd name="connsiteX38" fmla="*/ 1062 w 10000"/>
                <a:gd name="connsiteY38" fmla="*/ 6311 h 10000"/>
                <a:gd name="connsiteX39" fmla="*/ 1100 w 10000"/>
                <a:gd name="connsiteY39" fmla="*/ 5785 h 10000"/>
                <a:gd name="connsiteX40" fmla="*/ 953 w 10000"/>
                <a:gd name="connsiteY40" fmla="*/ 5362 h 10000"/>
                <a:gd name="connsiteX41" fmla="*/ 696 w 10000"/>
                <a:gd name="connsiteY41" fmla="*/ 4522 h 10000"/>
                <a:gd name="connsiteX42" fmla="*/ 623 w 10000"/>
                <a:gd name="connsiteY42" fmla="*/ 3891 h 10000"/>
                <a:gd name="connsiteX43" fmla="*/ 623 w 10000"/>
                <a:gd name="connsiteY43" fmla="*/ 3470 h 10000"/>
                <a:gd name="connsiteX44" fmla="*/ 0 w 10000"/>
                <a:gd name="connsiteY44" fmla="*/ 2631 h 10000"/>
                <a:gd name="connsiteX45" fmla="*/ 477 w 10000"/>
                <a:gd name="connsiteY45" fmla="*/ 2051 h 10000"/>
                <a:gd name="connsiteX46" fmla="*/ 477 w 10000"/>
                <a:gd name="connsiteY46" fmla="*/ 1789 h 10000"/>
                <a:gd name="connsiteX47" fmla="*/ 477 w 10000"/>
                <a:gd name="connsiteY47" fmla="*/ 999 h 10000"/>
                <a:gd name="connsiteX48" fmla="*/ 147 w 10000"/>
                <a:gd name="connsiteY48" fmla="*/ 473 h 10000"/>
                <a:gd name="connsiteX49" fmla="*/ 257 w 10000"/>
                <a:gd name="connsiteY49" fmla="*/ 0 h 10000"/>
                <a:gd name="connsiteX0" fmla="*/ 257 w 10000"/>
                <a:gd name="connsiteY0" fmla="*/ 0 h 10000"/>
                <a:gd name="connsiteX1" fmla="*/ 8448 w 10000"/>
                <a:gd name="connsiteY1" fmla="*/ 92 h 10000"/>
                <a:gd name="connsiteX2" fmla="*/ 8353 w 10000"/>
                <a:gd name="connsiteY2" fmla="*/ 578 h 10000"/>
                <a:gd name="connsiteX3" fmla="*/ 8682 w 10000"/>
                <a:gd name="connsiteY3" fmla="*/ 999 h 10000"/>
                <a:gd name="connsiteX4" fmla="*/ 8631 w 10000"/>
                <a:gd name="connsiteY4" fmla="*/ 1302 h 10000"/>
                <a:gd name="connsiteX5" fmla="*/ 8426 w 10000"/>
                <a:gd name="connsiteY5" fmla="*/ 1997 h 10000"/>
                <a:gd name="connsiteX6" fmla="*/ 8537 w 10000"/>
                <a:gd name="connsiteY6" fmla="*/ 2261 h 10000"/>
                <a:gd name="connsiteX7" fmla="*/ 8572 w 10000"/>
                <a:gd name="connsiteY7" fmla="*/ 2579 h 10000"/>
                <a:gd name="connsiteX8" fmla="*/ 8976 w 10000"/>
                <a:gd name="connsiteY8" fmla="*/ 3103 h 10000"/>
                <a:gd name="connsiteX9" fmla="*/ 9458 w 10000"/>
                <a:gd name="connsiteY9" fmla="*/ 3431 h 10000"/>
                <a:gd name="connsiteX10" fmla="*/ 9561 w 10000"/>
                <a:gd name="connsiteY10" fmla="*/ 4050 h 10000"/>
                <a:gd name="connsiteX11" fmla="*/ 9743 w 10000"/>
                <a:gd name="connsiteY11" fmla="*/ 4417 h 10000"/>
                <a:gd name="connsiteX12" fmla="*/ 9890 w 10000"/>
                <a:gd name="connsiteY12" fmla="*/ 4681 h 10000"/>
                <a:gd name="connsiteX13" fmla="*/ 10000 w 10000"/>
                <a:gd name="connsiteY13" fmla="*/ 5469 h 10000"/>
                <a:gd name="connsiteX14" fmla="*/ 9781 w 10000"/>
                <a:gd name="connsiteY14" fmla="*/ 5941 h 10000"/>
                <a:gd name="connsiteX15" fmla="*/ 9670 w 10000"/>
                <a:gd name="connsiteY15" fmla="*/ 6205 h 10000"/>
                <a:gd name="connsiteX16" fmla="*/ 9670 w 10000"/>
                <a:gd name="connsiteY16" fmla="*/ 6678 h 10000"/>
                <a:gd name="connsiteX17" fmla="*/ 9233 w 10000"/>
                <a:gd name="connsiteY17" fmla="*/ 6624 h 10000"/>
                <a:gd name="connsiteX18" fmla="*/ 8902 w 10000"/>
                <a:gd name="connsiteY18" fmla="*/ 6888 h 10000"/>
                <a:gd name="connsiteX19" fmla="*/ 8756 w 10000"/>
                <a:gd name="connsiteY19" fmla="*/ 7098 h 10000"/>
                <a:gd name="connsiteX20" fmla="*/ 8572 w 10000"/>
                <a:gd name="connsiteY20" fmla="*/ 7519 h 10000"/>
                <a:gd name="connsiteX21" fmla="*/ 8609 w 10000"/>
                <a:gd name="connsiteY21" fmla="*/ 7889 h 10000"/>
                <a:gd name="connsiteX22" fmla="*/ 8793 w 10000"/>
                <a:gd name="connsiteY22" fmla="*/ 8518 h 10000"/>
                <a:gd name="connsiteX23" fmla="*/ 8537 w 10000"/>
                <a:gd name="connsiteY23" fmla="*/ 8888 h 10000"/>
                <a:gd name="connsiteX24" fmla="*/ 8170 w 10000"/>
                <a:gd name="connsiteY24" fmla="*/ 9726 h 10000"/>
                <a:gd name="connsiteX25" fmla="*/ 8097 w 10000"/>
                <a:gd name="connsiteY25" fmla="*/ 9990 h 10000"/>
                <a:gd name="connsiteX26" fmla="*/ 7766 w 10000"/>
                <a:gd name="connsiteY26" fmla="*/ 9936 h 10000"/>
                <a:gd name="connsiteX27" fmla="*/ 7400 w 10000"/>
                <a:gd name="connsiteY27" fmla="*/ 9726 h 10000"/>
                <a:gd name="connsiteX28" fmla="*/ 1502 w 10000"/>
                <a:gd name="connsiteY28" fmla="*/ 9936 h 10000"/>
                <a:gd name="connsiteX29" fmla="*/ 1428 w 10000"/>
                <a:gd name="connsiteY29" fmla="*/ 9465 h 10000"/>
                <a:gd name="connsiteX30" fmla="*/ 1223 w 10000"/>
                <a:gd name="connsiteY30" fmla="*/ 9322 h 10000"/>
                <a:gd name="connsiteX31" fmla="*/ 1120 w 10000"/>
                <a:gd name="connsiteY31" fmla="*/ 8931 h 10000"/>
                <a:gd name="connsiteX32" fmla="*/ 1145 w 10000"/>
                <a:gd name="connsiteY32" fmla="*/ 8453 h 10000"/>
                <a:gd name="connsiteX33" fmla="*/ 1392 w 10000"/>
                <a:gd name="connsiteY33" fmla="*/ 8204 h 10000"/>
                <a:gd name="connsiteX34" fmla="*/ 1246 w 10000"/>
                <a:gd name="connsiteY34" fmla="*/ 7622 h 10000"/>
                <a:gd name="connsiteX35" fmla="*/ 1173 w 10000"/>
                <a:gd name="connsiteY35" fmla="*/ 7204 h 10000"/>
                <a:gd name="connsiteX36" fmla="*/ 1356 w 10000"/>
                <a:gd name="connsiteY36" fmla="*/ 6888 h 10000"/>
                <a:gd name="connsiteX37" fmla="*/ 1062 w 10000"/>
                <a:gd name="connsiteY37" fmla="*/ 6415 h 10000"/>
                <a:gd name="connsiteX38" fmla="*/ 1062 w 10000"/>
                <a:gd name="connsiteY38" fmla="*/ 6311 h 10000"/>
                <a:gd name="connsiteX39" fmla="*/ 1100 w 10000"/>
                <a:gd name="connsiteY39" fmla="*/ 5785 h 10000"/>
                <a:gd name="connsiteX40" fmla="*/ 953 w 10000"/>
                <a:gd name="connsiteY40" fmla="*/ 5362 h 10000"/>
                <a:gd name="connsiteX41" fmla="*/ 696 w 10000"/>
                <a:gd name="connsiteY41" fmla="*/ 4522 h 10000"/>
                <a:gd name="connsiteX42" fmla="*/ 623 w 10000"/>
                <a:gd name="connsiteY42" fmla="*/ 3891 h 10000"/>
                <a:gd name="connsiteX43" fmla="*/ 623 w 10000"/>
                <a:gd name="connsiteY43" fmla="*/ 3470 h 10000"/>
                <a:gd name="connsiteX44" fmla="*/ 0 w 10000"/>
                <a:gd name="connsiteY44" fmla="*/ 2631 h 10000"/>
                <a:gd name="connsiteX45" fmla="*/ 477 w 10000"/>
                <a:gd name="connsiteY45" fmla="*/ 2051 h 10000"/>
                <a:gd name="connsiteX46" fmla="*/ 477 w 10000"/>
                <a:gd name="connsiteY46" fmla="*/ 1789 h 10000"/>
                <a:gd name="connsiteX47" fmla="*/ 477 w 10000"/>
                <a:gd name="connsiteY47" fmla="*/ 999 h 10000"/>
                <a:gd name="connsiteX48" fmla="*/ 147 w 10000"/>
                <a:gd name="connsiteY48" fmla="*/ 473 h 10000"/>
                <a:gd name="connsiteX49" fmla="*/ 257 w 10000"/>
                <a:gd name="connsiteY49" fmla="*/ 0 h 10000"/>
                <a:gd name="connsiteX0" fmla="*/ 257 w 10000"/>
                <a:gd name="connsiteY0" fmla="*/ 0 h 10000"/>
                <a:gd name="connsiteX1" fmla="*/ 8448 w 10000"/>
                <a:gd name="connsiteY1" fmla="*/ 92 h 10000"/>
                <a:gd name="connsiteX2" fmla="*/ 8353 w 10000"/>
                <a:gd name="connsiteY2" fmla="*/ 578 h 10000"/>
                <a:gd name="connsiteX3" fmla="*/ 8682 w 10000"/>
                <a:gd name="connsiteY3" fmla="*/ 999 h 10000"/>
                <a:gd name="connsiteX4" fmla="*/ 8631 w 10000"/>
                <a:gd name="connsiteY4" fmla="*/ 1302 h 10000"/>
                <a:gd name="connsiteX5" fmla="*/ 8426 w 10000"/>
                <a:gd name="connsiteY5" fmla="*/ 1997 h 10000"/>
                <a:gd name="connsiteX6" fmla="*/ 8537 w 10000"/>
                <a:gd name="connsiteY6" fmla="*/ 2261 h 10000"/>
                <a:gd name="connsiteX7" fmla="*/ 8572 w 10000"/>
                <a:gd name="connsiteY7" fmla="*/ 2579 h 10000"/>
                <a:gd name="connsiteX8" fmla="*/ 8976 w 10000"/>
                <a:gd name="connsiteY8" fmla="*/ 3103 h 10000"/>
                <a:gd name="connsiteX9" fmla="*/ 9458 w 10000"/>
                <a:gd name="connsiteY9" fmla="*/ 3431 h 10000"/>
                <a:gd name="connsiteX10" fmla="*/ 9561 w 10000"/>
                <a:gd name="connsiteY10" fmla="*/ 4050 h 10000"/>
                <a:gd name="connsiteX11" fmla="*/ 9743 w 10000"/>
                <a:gd name="connsiteY11" fmla="*/ 4417 h 10000"/>
                <a:gd name="connsiteX12" fmla="*/ 9890 w 10000"/>
                <a:gd name="connsiteY12" fmla="*/ 4681 h 10000"/>
                <a:gd name="connsiteX13" fmla="*/ 10000 w 10000"/>
                <a:gd name="connsiteY13" fmla="*/ 5469 h 10000"/>
                <a:gd name="connsiteX14" fmla="*/ 9781 w 10000"/>
                <a:gd name="connsiteY14" fmla="*/ 5941 h 10000"/>
                <a:gd name="connsiteX15" fmla="*/ 9670 w 10000"/>
                <a:gd name="connsiteY15" fmla="*/ 6205 h 10000"/>
                <a:gd name="connsiteX16" fmla="*/ 9670 w 10000"/>
                <a:gd name="connsiteY16" fmla="*/ 6678 h 10000"/>
                <a:gd name="connsiteX17" fmla="*/ 9233 w 10000"/>
                <a:gd name="connsiteY17" fmla="*/ 6624 h 10000"/>
                <a:gd name="connsiteX18" fmla="*/ 8902 w 10000"/>
                <a:gd name="connsiteY18" fmla="*/ 6888 h 10000"/>
                <a:gd name="connsiteX19" fmla="*/ 8756 w 10000"/>
                <a:gd name="connsiteY19" fmla="*/ 7098 h 10000"/>
                <a:gd name="connsiteX20" fmla="*/ 8572 w 10000"/>
                <a:gd name="connsiteY20" fmla="*/ 7519 h 10000"/>
                <a:gd name="connsiteX21" fmla="*/ 8609 w 10000"/>
                <a:gd name="connsiteY21" fmla="*/ 7889 h 10000"/>
                <a:gd name="connsiteX22" fmla="*/ 8793 w 10000"/>
                <a:gd name="connsiteY22" fmla="*/ 8518 h 10000"/>
                <a:gd name="connsiteX23" fmla="*/ 8537 w 10000"/>
                <a:gd name="connsiteY23" fmla="*/ 8888 h 10000"/>
                <a:gd name="connsiteX24" fmla="*/ 8170 w 10000"/>
                <a:gd name="connsiteY24" fmla="*/ 9726 h 10000"/>
                <a:gd name="connsiteX25" fmla="*/ 8097 w 10000"/>
                <a:gd name="connsiteY25" fmla="*/ 9990 h 10000"/>
                <a:gd name="connsiteX26" fmla="*/ 7766 w 10000"/>
                <a:gd name="connsiteY26" fmla="*/ 9936 h 10000"/>
                <a:gd name="connsiteX27" fmla="*/ 7400 w 10000"/>
                <a:gd name="connsiteY27" fmla="*/ 9726 h 10000"/>
                <a:gd name="connsiteX28" fmla="*/ 1502 w 10000"/>
                <a:gd name="connsiteY28" fmla="*/ 9936 h 10000"/>
                <a:gd name="connsiteX29" fmla="*/ 1428 w 10000"/>
                <a:gd name="connsiteY29" fmla="*/ 9465 h 10000"/>
                <a:gd name="connsiteX30" fmla="*/ 1223 w 10000"/>
                <a:gd name="connsiteY30" fmla="*/ 9322 h 10000"/>
                <a:gd name="connsiteX31" fmla="*/ 1120 w 10000"/>
                <a:gd name="connsiteY31" fmla="*/ 8931 h 10000"/>
                <a:gd name="connsiteX32" fmla="*/ 1145 w 10000"/>
                <a:gd name="connsiteY32" fmla="*/ 8453 h 10000"/>
                <a:gd name="connsiteX33" fmla="*/ 1167 w 10000"/>
                <a:gd name="connsiteY33" fmla="*/ 8079 h 10000"/>
                <a:gd name="connsiteX34" fmla="*/ 1246 w 10000"/>
                <a:gd name="connsiteY34" fmla="*/ 7622 h 10000"/>
                <a:gd name="connsiteX35" fmla="*/ 1173 w 10000"/>
                <a:gd name="connsiteY35" fmla="*/ 7204 h 10000"/>
                <a:gd name="connsiteX36" fmla="*/ 1356 w 10000"/>
                <a:gd name="connsiteY36" fmla="*/ 6888 h 10000"/>
                <a:gd name="connsiteX37" fmla="*/ 1062 w 10000"/>
                <a:gd name="connsiteY37" fmla="*/ 6415 h 10000"/>
                <a:gd name="connsiteX38" fmla="*/ 1062 w 10000"/>
                <a:gd name="connsiteY38" fmla="*/ 6311 h 10000"/>
                <a:gd name="connsiteX39" fmla="*/ 1100 w 10000"/>
                <a:gd name="connsiteY39" fmla="*/ 5785 h 10000"/>
                <a:gd name="connsiteX40" fmla="*/ 953 w 10000"/>
                <a:gd name="connsiteY40" fmla="*/ 5362 h 10000"/>
                <a:gd name="connsiteX41" fmla="*/ 696 w 10000"/>
                <a:gd name="connsiteY41" fmla="*/ 4522 h 10000"/>
                <a:gd name="connsiteX42" fmla="*/ 623 w 10000"/>
                <a:gd name="connsiteY42" fmla="*/ 3891 h 10000"/>
                <a:gd name="connsiteX43" fmla="*/ 623 w 10000"/>
                <a:gd name="connsiteY43" fmla="*/ 3470 h 10000"/>
                <a:gd name="connsiteX44" fmla="*/ 0 w 10000"/>
                <a:gd name="connsiteY44" fmla="*/ 2631 h 10000"/>
                <a:gd name="connsiteX45" fmla="*/ 477 w 10000"/>
                <a:gd name="connsiteY45" fmla="*/ 2051 h 10000"/>
                <a:gd name="connsiteX46" fmla="*/ 477 w 10000"/>
                <a:gd name="connsiteY46" fmla="*/ 1789 h 10000"/>
                <a:gd name="connsiteX47" fmla="*/ 477 w 10000"/>
                <a:gd name="connsiteY47" fmla="*/ 999 h 10000"/>
                <a:gd name="connsiteX48" fmla="*/ 147 w 10000"/>
                <a:gd name="connsiteY48" fmla="*/ 473 h 10000"/>
                <a:gd name="connsiteX49" fmla="*/ 257 w 10000"/>
                <a:gd name="connsiteY49" fmla="*/ 0 h 10000"/>
                <a:gd name="connsiteX0" fmla="*/ 257 w 10000"/>
                <a:gd name="connsiteY0" fmla="*/ 0 h 10000"/>
                <a:gd name="connsiteX1" fmla="*/ 8448 w 10000"/>
                <a:gd name="connsiteY1" fmla="*/ 92 h 10000"/>
                <a:gd name="connsiteX2" fmla="*/ 8353 w 10000"/>
                <a:gd name="connsiteY2" fmla="*/ 578 h 10000"/>
                <a:gd name="connsiteX3" fmla="*/ 8682 w 10000"/>
                <a:gd name="connsiteY3" fmla="*/ 999 h 10000"/>
                <a:gd name="connsiteX4" fmla="*/ 8631 w 10000"/>
                <a:gd name="connsiteY4" fmla="*/ 1302 h 10000"/>
                <a:gd name="connsiteX5" fmla="*/ 8426 w 10000"/>
                <a:gd name="connsiteY5" fmla="*/ 1997 h 10000"/>
                <a:gd name="connsiteX6" fmla="*/ 8537 w 10000"/>
                <a:gd name="connsiteY6" fmla="*/ 2261 h 10000"/>
                <a:gd name="connsiteX7" fmla="*/ 8572 w 10000"/>
                <a:gd name="connsiteY7" fmla="*/ 2579 h 10000"/>
                <a:gd name="connsiteX8" fmla="*/ 8976 w 10000"/>
                <a:gd name="connsiteY8" fmla="*/ 3103 h 10000"/>
                <a:gd name="connsiteX9" fmla="*/ 9458 w 10000"/>
                <a:gd name="connsiteY9" fmla="*/ 3431 h 10000"/>
                <a:gd name="connsiteX10" fmla="*/ 9561 w 10000"/>
                <a:gd name="connsiteY10" fmla="*/ 4050 h 10000"/>
                <a:gd name="connsiteX11" fmla="*/ 9743 w 10000"/>
                <a:gd name="connsiteY11" fmla="*/ 4417 h 10000"/>
                <a:gd name="connsiteX12" fmla="*/ 9890 w 10000"/>
                <a:gd name="connsiteY12" fmla="*/ 4681 h 10000"/>
                <a:gd name="connsiteX13" fmla="*/ 10000 w 10000"/>
                <a:gd name="connsiteY13" fmla="*/ 5469 h 10000"/>
                <a:gd name="connsiteX14" fmla="*/ 9781 w 10000"/>
                <a:gd name="connsiteY14" fmla="*/ 5941 h 10000"/>
                <a:gd name="connsiteX15" fmla="*/ 9670 w 10000"/>
                <a:gd name="connsiteY15" fmla="*/ 6205 h 10000"/>
                <a:gd name="connsiteX16" fmla="*/ 9670 w 10000"/>
                <a:gd name="connsiteY16" fmla="*/ 6678 h 10000"/>
                <a:gd name="connsiteX17" fmla="*/ 9233 w 10000"/>
                <a:gd name="connsiteY17" fmla="*/ 6624 h 10000"/>
                <a:gd name="connsiteX18" fmla="*/ 8902 w 10000"/>
                <a:gd name="connsiteY18" fmla="*/ 6888 h 10000"/>
                <a:gd name="connsiteX19" fmla="*/ 8756 w 10000"/>
                <a:gd name="connsiteY19" fmla="*/ 7098 h 10000"/>
                <a:gd name="connsiteX20" fmla="*/ 8572 w 10000"/>
                <a:gd name="connsiteY20" fmla="*/ 7519 h 10000"/>
                <a:gd name="connsiteX21" fmla="*/ 8609 w 10000"/>
                <a:gd name="connsiteY21" fmla="*/ 7889 h 10000"/>
                <a:gd name="connsiteX22" fmla="*/ 8793 w 10000"/>
                <a:gd name="connsiteY22" fmla="*/ 8518 h 10000"/>
                <a:gd name="connsiteX23" fmla="*/ 8537 w 10000"/>
                <a:gd name="connsiteY23" fmla="*/ 8888 h 10000"/>
                <a:gd name="connsiteX24" fmla="*/ 8170 w 10000"/>
                <a:gd name="connsiteY24" fmla="*/ 9726 h 10000"/>
                <a:gd name="connsiteX25" fmla="*/ 8097 w 10000"/>
                <a:gd name="connsiteY25" fmla="*/ 9990 h 10000"/>
                <a:gd name="connsiteX26" fmla="*/ 7766 w 10000"/>
                <a:gd name="connsiteY26" fmla="*/ 9936 h 10000"/>
                <a:gd name="connsiteX27" fmla="*/ 7400 w 10000"/>
                <a:gd name="connsiteY27" fmla="*/ 9726 h 10000"/>
                <a:gd name="connsiteX28" fmla="*/ 1502 w 10000"/>
                <a:gd name="connsiteY28" fmla="*/ 9936 h 10000"/>
                <a:gd name="connsiteX29" fmla="*/ 1428 w 10000"/>
                <a:gd name="connsiteY29" fmla="*/ 9465 h 10000"/>
                <a:gd name="connsiteX30" fmla="*/ 1223 w 10000"/>
                <a:gd name="connsiteY30" fmla="*/ 9322 h 10000"/>
                <a:gd name="connsiteX31" fmla="*/ 1120 w 10000"/>
                <a:gd name="connsiteY31" fmla="*/ 8931 h 10000"/>
                <a:gd name="connsiteX32" fmla="*/ 1145 w 10000"/>
                <a:gd name="connsiteY32" fmla="*/ 8453 h 10000"/>
                <a:gd name="connsiteX33" fmla="*/ 1167 w 10000"/>
                <a:gd name="connsiteY33" fmla="*/ 8079 h 10000"/>
                <a:gd name="connsiteX34" fmla="*/ 1246 w 10000"/>
                <a:gd name="connsiteY34" fmla="*/ 7622 h 10000"/>
                <a:gd name="connsiteX35" fmla="*/ 1173 w 10000"/>
                <a:gd name="connsiteY35" fmla="*/ 7204 h 10000"/>
                <a:gd name="connsiteX36" fmla="*/ 1051 w 10000"/>
                <a:gd name="connsiteY36" fmla="*/ 6788 h 10000"/>
                <a:gd name="connsiteX37" fmla="*/ 1062 w 10000"/>
                <a:gd name="connsiteY37" fmla="*/ 6415 h 10000"/>
                <a:gd name="connsiteX38" fmla="*/ 1062 w 10000"/>
                <a:gd name="connsiteY38" fmla="*/ 6311 h 10000"/>
                <a:gd name="connsiteX39" fmla="*/ 1100 w 10000"/>
                <a:gd name="connsiteY39" fmla="*/ 5785 h 10000"/>
                <a:gd name="connsiteX40" fmla="*/ 953 w 10000"/>
                <a:gd name="connsiteY40" fmla="*/ 5362 h 10000"/>
                <a:gd name="connsiteX41" fmla="*/ 696 w 10000"/>
                <a:gd name="connsiteY41" fmla="*/ 4522 h 10000"/>
                <a:gd name="connsiteX42" fmla="*/ 623 w 10000"/>
                <a:gd name="connsiteY42" fmla="*/ 3891 h 10000"/>
                <a:gd name="connsiteX43" fmla="*/ 623 w 10000"/>
                <a:gd name="connsiteY43" fmla="*/ 3470 h 10000"/>
                <a:gd name="connsiteX44" fmla="*/ 0 w 10000"/>
                <a:gd name="connsiteY44" fmla="*/ 2631 h 10000"/>
                <a:gd name="connsiteX45" fmla="*/ 477 w 10000"/>
                <a:gd name="connsiteY45" fmla="*/ 2051 h 10000"/>
                <a:gd name="connsiteX46" fmla="*/ 477 w 10000"/>
                <a:gd name="connsiteY46" fmla="*/ 1789 h 10000"/>
                <a:gd name="connsiteX47" fmla="*/ 477 w 10000"/>
                <a:gd name="connsiteY47" fmla="*/ 999 h 10000"/>
                <a:gd name="connsiteX48" fmla="*/ 147 w 10000"/>
                <a:gd name="connsiteY48" fmla="*/ 473 h 10000"/>
                <a:gd name="connsiteX49" fmla="*/ 257 w 10000"/>
                <a:gd name="connsiteY49" fmla="*/ 0 h 10000"/>
                <a:gd name="connsiteX0" fmla="*/ 257 w 10000"/>
                <a:gd name="connsiteY0" fmla="*/ 0 h 10000"/>
                <a:gd name="connsiteX1" fmla="*/ 8448 w 10000"/>
                <a:gd name="connsiteY1" fmla="*/ 92 h 10000"/>
                <a:gd name="connsiteX2" fmla="*/ 8353 w 10000"/>
                <a:gd name="connsiteY2" fmla="*/ 578 h 10000"/>
                <a:gd name="connsiteX3" fmla="*/ 8682 w 10000"/>
                <a:gd name="connsiteY3" fmla="*/ 999 h 10000"/>
                <a:gd name="connsiteX4" fmla="*/ 8631 w 10000"/>
                <a:gd name="connsiteY4" fmla="*/ 1302 h 10000"/>
                <a:gd name="connsiteX5" fmla="*/ 8426 w 10000"/>
                <a:gd name="connsiteY5" fmla="*/ 1997 h 10000"/>
                <a:gd name="connsiteX6" fmla="*/ 8537 w 10000"/>
                <a:gd name="connsiteY6" fmla="*/ 2261 h 10000"/>
                <a:gd name="connsiteX7" fmla="*/ 8572 w 10000"/>
                <a:gd name="connsiteY7" fmla="*/ 2579 h 10000"/>
                <a:gd name="connsiteX8" fmla="*/ 8976 w 10000"/>
                <a:gd name="connsiteY8" fmla="*/ 3103 h 10000"/>
                <a:gd name="connsiteX9" fmla="*/ 9458 w 10000"/>
                <a:gd name="connsiteY9" fmla="*/ 3431 h 10000"/>
                <a:gd name="connsiteX10" fmla="*/ 9561 w 10000"/>
                <a:gd name="connsiteY10" fmla="*/ 4050 h 10000"/>
                <a:gd name="connsiteX11" fmla="*/ 9743 w 10000"/>
                <a:gd name="connsiteY11" fmla="*/ 4417 h 10000"/>
                <a:gd name="connsiteX12" fmla="*/ 9890 w 10000"/>
                <a:gd name="connsiteY12" fmla="*/ 4681 h 10000"/>
                <a:gd name="connsiteX13" fmla="*/ 10000 w 10000"/>
                <a:gd name="connsiteY13" fmla="*/ 5469 h 10000"/>
                <a:gd name="connsiteX14" fmla="*/ 9781 w 10000"/>
                <a:gd name="connsiteY14" fmla="*/ 5941 h 10000"/>
                <a:gd name="connsiteX15" fmla="*/ 9670 w 10000"/>
                <a:gd name="connsiteY15" fmla="*/ 6205 h 10000"/>
                <a:gd name="connsiteX16" fmla="*/ 9670 w 10000"/>
                <a:gd name="connsiteY16" fmla="*/ 6678 h 10000"/>
                <a:gd name="connsiteX17" fmla="*/ 9233 w 10000"/>
                <a:gd name="connsiteY17" fmla="*/ 6624 h 10000"/>
                <a:gd name="connsiteX18" fmla="*/ 8902 w 10000"/>
                <a:gd name="connsiteY18" fmla="*/ 6888 h 10000"/>
                <a:gd name="connsiteX19" fmla="*/ 8756 w 10000"/>
                <a:gd name="connsiteY19" fmla="*/ 7098 h 10000"/>
                <a:gd name="connsiteX20" fmla="*/ 8572 w 10000"/>
                <a:gd name="connsiteY20" fmla="*/ 7519 h 10000"/>
                <a:gd name="connsiteX21" fmla="*/ 8609 w 10000"/>
                <a:gd name="connsiteY21" fmla="*/ 7889 h 10000"/>
                <a:gd name="connsiteX22" fmla="*/ 8793 w 10000"/>
                <a:gd name="connsiteY22" fmla="*/ 8518 h 10000"/>
                <a:gd name="connsiteX23" fmla="*/ 8537 w 10000"/>
                <a:gd name="connsiteY23" fmla="*/ 8888 h 10000"/>
                <a:gd name="connsiteX24" fmla="*/ 8170 w 10000"/>
                <a:gd name="connsiteY24" fmla="*/ 9726 h 10000"/>
                <a:gd name="connsiteX25" fmla="*/ 8097 w 10000"/>
                <a:gd name="connsiteY25" fmla="*/ 9990 h 10000"/>
                <a:gd name="connsiteX26" fmla="*/ 7766 w 10000"/>
                <a:gd name="connsiteY26" fmla="*/ 9936 h 10000"/>
                <a:gd name="connsiteX27" fmla="*/ 7400 w 10000"/>
                <a:gd name="connsiteY27" fmla="*/ 9726 h 10000"/>
                <a:gd name="connsiteX28" fmla="*/ 1502 w 10000"/>
                <a:gd name="connsiteY28" fmla="*/ 9936 h 10000"/>
                <a:gd name="connsiteX29" fmla="*/ 1428 w 10000"/>
                <a:gd name="connsiteY29" fmla="*/ 9465 h 10000"/>
                <a:gd name="connsiteX30" fmla="*/ 1223 w 10000"/>
                <a:gd name="connsiteY30" fmla="*/ 9322 h 10000"/>
                <a:gd name="connsiteX31" fmla="*/ 1120 w 10000"/>
                <a:gd name="connsiteY31" fmla="*/ 8931 h 10000"/>
                <a:gd name="connsiteX32" fmla="*/ 1145 w 10000"/>
                <a:gd name="connsiteY32" fmla="*/ 8453 h 10000"/>
                <a:gd name="connsiteX33" fmla="*/ 1167 w 10000"/>
                <a:gd name="connsiteY33" fmla="*/ 8079 h 10000"/>
                <a:gd name="connsiteX34" fmla="*/ 1246 w 10000"/>
                <a:gd name="connsiteY34" fmla="*/ 7622 h 10000"/>
                <a:gd name="connsiteX35" fmla="*/ 1173 w 10000"/>
                <a:gd name="connsiteY35" fmla="*/ 7204 h 10000"/>
                <a:gd name="connsiteX36" fmla="*/ 1051 w 10000"/>
                <a:gd name="connsiteY36" fmla="*/ 6788 h 10000"/>
                <a:gd name="connsiteX37" fmla="*/ 1062 w 10000"/>
                <a:gd name="connsiteY37" fmla="*/ 6415 h 10000"/>
                <a:gd name="connsiteX38" fmla="*/ 1062 w 10000"/>
                <a:gd name="connsiteY38" fmla="*/ 6311 h 10000"/>
                <a:gd name="connsiteX39" fmla="*/ 1100 w 10000"/>
                <a:gd name="connsiteY39" fmla="*/ 5785 h 10000"/>
                <a:gd name="connsiteX40" fmla="*/ 953 w 10000"/>
                <a:gd name="connsiteY40" fmla="*/ 5362 h 10000"/>
                <a:gd name="connsiteX41" fmla="*/ 696 w 10000"/>
                <a:gd name="connsiteY41" fmla="*/ 4522 h 10000"/>
                <a:gd name="connsiteX42" fmla="*/ 623 w 10000"/>
                <a:gd name="connsiteY42" fmla="*/ 3891 h 10000"/>
                <a:gd name="connsiteX43" fmla="*/ 623 w 10000"/>
                <a:gd name="connsiteY43" fmla="*/ 3470 h 10000"/>
                <a:gd name="connsiteX44" fmla="*/ 0 w 10000"/>
                <a:gd name="connsiteY44" fmla="*/ 2631 h 10000"/>
                <a:gd name="connsiteX45" fmla="*/ 477 w 10000"/>
                <a:gd name="connsiteY45" fmla="*/ 2051 h 10000"/>
                <a:gd name="connsiteX46" fmla="*/ 477 w 10000"/>
                <a:gd name="connsiteY46" fmla="*/ 1789 h 10000"/>
                <a:gd name="connsiteX47" fmla="*/ 477 w 10000"/>
                <a:gd name="connsiteY47" fmla="*/ 999 h 10000"/>
                <a:gd name="connsiteX48" fmla="*/ 532 w 10000"/>
                <a:gd name="connsiteY48" fmla="*/ 549 h 10000"/>
                <a:gd name="connsiteX49" fmla="*/ 257 w 10000"/>
                <a:gd name="connsiteY49" fmla="*/ 0 h 10000"/>
                <a:gd name="connsiteX0" fmla="*/ 257 w 10000"/>
                <a:gd name="connsiteY0" fmla="*/ 0 h 10000"/>
                <a:gd name="connsiteX1" fmla="*/ 8448 w 10000"/>
                <a:gd name="connsiteY1" fmla="*/ 92 h 10000"/>
                <a:gd name="connsiteX2" fmla="*/ 8353 w 10000"/>
                <a:gd name="connsiteY2" fmla="*/ 578 h 10000"/>
                <a:gd name="connsiteX3" fmla="*/ 8682 w 10000"/>
                <a:gd name="connsiteY3" fmla="*/ 999 h 10000"/>
                <a:gd name="connsiteX4" fmla="*/ 8631 w 10000"/>
                <a:gd name="connsiteY4" fmla="*/ 1302 h 10000"/>
                <a:gd name="connsiteX5" fmla="*/ 8426 w 10000"/>
                <a:gd name="connsiteY5" fmla="*/ 1997 h 10000"/>
                <a:gd name="connsiteX6" fmla="*/ 8537 w 10000"/>
                <a:gd name="connsiteY6" fmla="*/ 2261 h 10000"/>
                <a:gd name="connsiteX7" fmla="*/ 8572 w 10000"/>
                <a:gd name="connsiteY7" fmla="*/ 2579 h 10000"/>
                <a:gd name="connsiteX8" fmla="*/ 8976 w 10000"/>
                <a:gd name="connsiteY8" fmla="*/ 3103 h 10000"/>
                <a:gd name="connsiteX9" fmla="*/ 9458 w 10000"/>
                <a:gd name="connsiteY9" fmla="*/ 3431 h 10000"/>
                <a:gd name="connsiteX10" fmla="*/ 9561 w 10000"/>
                <a:gd name="connsiteY10" fmla="*/ 4050 h 10000"/>
                <a:gd name="connsiteX11" fmla="*/ 9743 w 10000"/>
                <a:gd name="connsiteY11" fmla="*/ 4417 h 10000"/>
                <a:gd name="connsiteX12" fmla="*/ 9890 w 10000"/>
                <a:gd name="connsiteY12" fmla="*/ 4681 h 10000"/>
                <a:gd name="connsiteX13" fmla="*/ 10000 w 10000"/>
                <a:gd name="connsiteY13" fmla="*/ 5469 h 10000"/>
                <a:gd name="connsiteX14" fmla="*/ 9781 w 10000"/>
                <a:gd name="connsiteY14" fmla="*/ 5941 h 10000"/>
                <a:gd name="connsiteX15" fmla="*/ 9670 w 10000"/>
                <a:gd name="connsiteY15" fmla="*/ 6205 h 10000"/>
                <a:gd name="connsiteX16" fmla="*/ 9670 w 10000"/>
                <a:gd name="connsiteY16" fmla="*/ 6678 h 10000"/>
                <a:gd name="connsiteX17" fmla="*/ 9233 w 10000"/>
                <a:gd name="connsiteY17" fmla="*/ 6624 h 10000"/>
                <a:gd name="connsiteX18" fmla="*/ 8902 w 10000"/>
                <a:gd name="connsiteY18" fmla="*/ 6888 h 10000"/>
                <a:gd name="connsiteX19" fmla="*/ 8756 w 10000"/>
                <a:gd name="connsiteY19" fmla="*/ 7098 h 10000"/>
                <a:gd name="connsiteX20" fmla="*/ 8572 w 10000"/>
                <a:gd name="connsiteY20" fmla="*/ 7519 h 10000"/>
                <a:gd name="connsiteX21" fmla="*/ 8609 w 10000"/>
                <a:gd name="connsiteY21" fmla="*/ 7889 h 10000"/>
                <a:gd name="connsiteX22" fmla="*/ 8793 w 10000"/>
                <a:gd name="connsiteY22" fmla="*/ 8518 h 10000"/>
                <a:gd name="connsiteX23" fmla="*/ 8537 w 10000"/>
                <a:gd name="connsiteY23" fmla="*/ 8888 h 10000"/>
                <a:gd name="connsiteX24" fmla="*/ 8170 w 10000"/>
                <a:gd name="connsiteY24" fmla="*/ 9726 h 10000"/>
                <a:gd name="connsiteX25" fmla="*/ 8097 w 10000"/>
                <a:gd name="connsiteY25" fmla="*/ 9990 h 10000"/>
                <a:gd name="connsiteX26" fmla="*/ 7766 w 10000"/>
                <a:gd name="connsiteY26" fmla="*/ 9936 h 10000"/>
                <a:gd name="connsiteX27" fmla="*/ 7400 w 10000"/>
                <a:gd name="connsiteY27" fmla="*/ 9726 h 10000"/>
                <a:gd name="connsiteX28" fmla="*/ 1502 w 10000"/>
                <a:gd name="connsiteY28" fmla="*/ 9936 h 10000"/>
                <a:gd name="connsiteX29" fmla="*/ 1428 w 10000"/>
                <a:gd name="connsiteY29" fmla="*/ 9465 h 10000"/>
                <a:gd name="connsiteX30" fmla="*/ 1223 w 10000"/>
                <a:gd name="connsiteY30" fmla="*/ 9322 h 10000"/>
                <a:gd name="connsiteX31" fmla="*/ 1120 w 10000"/>
                <a:gd name="connsiteY31" fmla="*/ 8931 h 10000"/>
                <a:gd name="connsiteX32" fmla="*/ 1145 w 10000"/>
                <a:gd name="connsiteY32" fmla="*/ 8453 h 10000"/>
                <a:gd name="connsiteX33" fmla="*/ 1167 w 10000"/>
                <a:gd name="connsiteY33" fmla="*/ 8079 h 10000"/>
                <a:gd name="connsiteX34" fmla="*/ 1246 w 10000"/>
                <a:gd name="connsiteY34" fmla="*/ 7622 h 10000"/>
                <a:gd name="connsiteX35" fmla="*/ 1173 w 10000"/>
                <a:gd name="connsiteY35" fmla="*/ 7204 h 10000"/>
                <a:gd name="connsiteX36" fmla="*/ 1051 w 10000"/>
                <a:gd name="connsiteY36" fmla="*/ 6788 h 10000"/>
                <a:gd name="connsiteX37" fmla="*/ 1062 w 10000"/>
                <a:gd name="connsiteY37" fmla="*/ 6415 h 10000"/>
                <a:gd name="connsiteX38" fmla="*/ 1062 w 10000"/>
                <a:gd name="connsiteY38" fmla="*/ 6311 h 10000"/>
                <a:gd name="connsiteX39" fmla="*/ 1100 w 10000"/>
                <a:gd name="connsiteY39" fmla="*/ 5785 h 10000"/>
                <a:gd name="connsiteX40" fmla="*/ 953 w 10000"/>
                <a:gd name="connsiteY40" fmla="*/ 5362 h 10000"/>
                <a:gd name="connsiteX41" fmla="*/ 696 w 10000"/>
                <a:gd name="connsiteY41" fmla="*/ 4522 h 10000"/>
                <a:gd name="connsiteX42" fmla="*/ 623 w 10000"/>
                <a:gd name="connsiteY42" fmla="*/ 3891 h 10000"/>
                <a:gd name="connsiteX43" fmla="*/ 623 w 10000"/>
                <a:gd name="connsiteY43" fmla="*/ 3470 h 10000"/>
                <a:gd name="connsiteX44" fmla="*/ 0 w 10000"/>
                <a:gd name="connsiteY44" fmla="*/ 2631 h 10000"/>
                <a:gd name="connsiteX45" fmla="*/ 477 w 10000"/>
                <a:gd name="connsiteY45" fmla="*/ 2051 h 10000"/>
                <a:gd name="connsiteX46" fmla="*/ 477 w 10000"/>
                <a:gd name="connsiteY46" fmla="*/ 1789 h 10000"/>
                <a:gd name="connsiteX47" fmla="*/ 477 w 10000"/>
                <a:gd name="connsiteY47" fmla="*/ 999 h 10000"/>
                <a:gd name="connsiteX48" fmla="*/ 532 w 10000"/>
                <a:gd name="connsiteY48" fmla="*/ 549 h 10000"/>
                <a:gd name="connsiteX49" fmla="*/ 4732 w 10000"/>
                <a:gd name="connsiteY49" fmla="*/ 478 h 10000"/>
                <a:gd name="connsiteX0" fmla="*/ 8448 w 10000"/>
                <a:gd name="connsiteY0" fmla="*/ 0 h 9908"/>
                <a:gd name="connsiteX1" fmla="*/ 8353 w 10000"/>
                <a:gd name="connsiteY1" fmla="*/ 486 h 9908"/>
                <a:gd name="connsiteX2" fmla="*/ 8682 w 10000"/>
                <a:gd name="connsiteY2" fmla="*/ 907 h 9908"/>
                <a:gd name="connsiteX3" fmla="*/ 8631 w 10000"/>
                <a:gd name="connsiteY3" fmla="*/ 1210 h 9908"/>
                <a:gd name="connsiteX4" fmla="*/ 8426 w 10000"/>
                <a:gd name="connsiteY4" fmla="*/ 1905 h 9908"/>
                <a:gd name="connsiteX5" fmla="*/ 8537 w 10000"/>
                <a:gd name="connsiteY5" fmla="*/ 2169 h 9908"/>
                <a:gd name="connsiteX6" fmla="*/ 8572 w 10000"/>
                <a:gd name="connsiteY6" fmla="*/ 2487 h 9908"/>
                <a:gd name="connsiteX7" fmla="*/ 8976 w 10000"/>
                <a:gd name="connsiteY7" fmla="*/ 3011 h 9908"/>
                <a:gd name="connsiteX8" fmla="*/ 9458 w 10000"/>
                <a:gd name="connsiteY8" fmla="*/ 3339 h 9908"/>
                <a:gd name="connsiteX9" fmla="*/ 9561 w 10000"/>
                <a:gd name="connsiteY9" fmla="*/ 3958 h 9908"/>
                <a:gd name="connsiteX10" fmla="*/ 9743 w 10000"/>
                <a:gd name="connsiteY10" fmla="*/ 4325 h 9908"/>
                <a:gd name="connsiteX11" fmla="*/ 9890 w 10000"/>
                <a:gd name="connsiteY11" fmla="*/ 4589 h 9908"/>
                <a:gd name="connsiteX12" fmla="*/ 10000 w 10000"/>
                <a:gd name="connsiteY12" fmla="*/ 5377 h 9908"/>
                <a:gd name="connsiteX13" fmla="*/ 9781 w 10000"/>
                <a:gd name="connsiteY13" fmla="*/ 5849 h 9908"/>
                <a:gd name="connsiteX14" fmla="*/ 9670 w 10000"/>
                <a:gd name="connsiteY14" fmla="*/ 6113 h 9908"/>
                <a:gd name="connsiteX15" fmla="*/ 9670 w 10000"/>
                <a:gd name="connsiteY15" fmla="*/ 6586 h 9908"/>
                <a:gd name="connsiteX16" fmla="*/ 9233 w 10000"/>
                <a:gd name="connsiteY16" fmla="*/ 6532 h 9908"/>
                <a:gd name="connsiteX17" fmla="*/ 8902 w 10000"/>
                <a:gd name="connsiteY17" fmla="*/ 6796 h 9908"/>
                <a:gd name="connsiteX18" fmla="*/ 8756 w 10000"/>
                <a:gd name="connsiteY18" fmla="*/ 7006 h 9908"/>
                <a:gd name="connsiteX19" fmla="*/ 8572 w 10000"/>
                <a:gd name="connsiteY19" fmla="*/ 7427 h 9908"/>
                <a:gd name="connsiteX20" fmla="*/ 8609 w 10000"/>
                <a:gd name="connsiteY20" fmla="*/ 7797 h 9908"/>
                <a:gd name="connsiteX21" fmla="*/ 8793 w 10000"/>
                <a:gd name="connsiteY21" fmla="*/ 8426 h 9908"/>
                <a:gd name="connsiteX22" fmla="*/ 8537 w 10000"/>
                <a:gd name="connsiteY22" fmla="*/ 8796 h 9908"/>
                <a:gd name="connsiteX23" fmla="*/ 8170 w 10000"/>
                <a:gd name="connsiteY23" fmla="*/ 9634 h 9908"/>
                <a:gd name="connsiteX24" fmla="*/ 8097 w 10000"/>
                <a:gd name="connsiteY24" fmla="*/ 9898 h 9908"/>
                <a:gd name="connsiteX25" fmla="*/ 7766 w 10000"/>
                <a:gd name="connsiteY25" fmla="*/ 9844 h 9908"/>
                <a:gd name="connsiteX26" fmla="*/ 7400 w 10000"/>
                <a:gd name="connsiteY26" fmla="*/ 9634 h 9908"/>
                <a:gd name="connsiteX27" fmla="*/ 1502 w 10000"/>
                <a:gd name="connsiteY27" fmla="*/ 9844 h 9908"/>
                <a:gd name="connsiteX28" fmla="*/ 1428 w 10000"/>
                <a:gd name="connsiteY28" fmla="*/ 9373 h 9908"/>
                <a:gd name="connsiteX29" fmla="*/ 1223 w 10000"/>
                <a:gd name="connsiteY29" fmla="*/ 9230 h 9908"/>
                <a:gd name="connsiteX30" fmla="*/ 1120 w 10000"/>
                <a:gd name="connsiteY30" fmla="*/ 8839 h 9908"/>
                <a:gd name="connsiteX31" fmla="*/ 1145 w 10000"/>
                <a:gd name="connsiteY31" fmla="*/ 8361 h 9908"/>
                <a:gd name="connsiteX32" fmla="*/ 1167 w 10000"/>
                <a:gd name="connsiteY32" fmla="*/ 7987 h 9908"/>
                <a:gd name="connsiteX33" fmla="*/ 1246 w 10000"/>
                <a:gd name="connsiteY33" fmla="*/ 7530 h 9908"/>
                <a:gd name="connsiteX34" fmla="*/ 1173 w 10000"/>
                <a:gd name="connsiteY34" fmla="*/ 7112 h 9908"/>
                <a:gd name="connsiteX35" fmla="*/ 1051 w 10000"/>
                <a:gd name="connsiteY35" fmla="*/ 6696 h 9908"/>
                <a:gd name="connsiteX36" fmla="*/ 1062 w 10000"/>
                <a:gd name="connsiteY36" fmla="*/ 6323 h 9908"/>
                <a:gd name="connsiteX37" fmla="*/ 1062 w 10000"/>
                <a:gd name="connsiteY37" fmla="*/ 6219 h 9908"/>
                <a:gd name="connsiteX38" fmla="*/ 1100 w 10000"/>
                <a:gd name="connsiteY38" fmla="*/ 5693 h 9908"/>
                <a:gd name="connsiteX39" fmla="*/ 953 w 10000"/>
                <a:gd name="connsiteY39" fmla="*/ 5270 h 9908"/>
                <a:gd name="connsiteX40" fmla="*/ 696 w 10000"/>
                <a:gd name="connsiteY40" fmla="*/ 4430 h 9908"/>
                <a:gd name="connsiteX41" fmla="*/ 623 w 10000"/>
                <a:gd name="connsiteY41" fmla="*/ 3799 h 9908"/>
                <a:gd name="connsiteX42" fmla="*/ 623 w 10000"/>
                <a:gd name="connsiteY42" fmla="*/ 3378 h 9908"/>
                <a:gd name="connsiteX43" fmla="*/ 0 w 10000"/>
                <a:gd name="connsiteY43" fmla="*/ 2539 h 9908"/>
                <a:gd name="connsiteX44" fmla="*/ 477 w 10000"/>
                <a:gd name="connsiteY44" fmla="*/ 1959 h 9908"/>
                <a:gd name="connsiteX45" fmla="*/ 477 w 10000"/>
                <a:gd name="connsiteY45" fmla="*/ 1697 h 9908"/>
                <a:gd name="connsiteX46" fmla="*/ 477 w 10000"/>
                <a:gd name="connsiteY46" fmla="*/ 907 h 9908"/>
                <a:gd name="connsiteX47" fmla="*/ 532 w 10000"/>
                <a:gd name="connsiteY47" fmla="*/ 457 h 9908"/>
                <a:gd name="connsiteX48" fmla="*/ 4732 w 10000"/>
                <a:gd name="connsiteY48" fmla="*/ 386 h 9908"/>
                <a:gd name="connsiteX0" fmla="*/ 8448 w 10000"/>
                <a:gd name="connsiteY0" fmla="*/ 79 h 10079"/>
                <a:gd name="connsiteX1" fmla="*/ 8353 w 10000"/>
                <a:gd name="connsiteY1" fmla="*/ 570 h 10079"/>
                <a:gd name="connsiteX2" fmla="*/ 8682 w 10000"/>
                <a:gd name="connsiteY2" fmla="*/ 994 h 10079"/>
                <a:gd name="connsiteX3" fmla="*/ 8631 w 10000"/>
                <a:gd name="connsiteY3" fmla="*/ 1300 h 10079"/>
                <a:gd name="connsiteX4" fmla="*/ 8426 w 10000"/>
                <a:gd name="connsiteY4" fmla="*/ 2002 h 10079"/>
                <a:gd name="connsiteX5" fmla="*/ 8537 w 10000"/>
                <a:gd name="connsiteY5" fmla="*/ 2268 h 10079"/>
                <a:gd name="connsiteX6" fmla="*/ 8572 w 10000"/>
                <a:gd name="connsiteY6" fmla="*/ 2589 h 10079"/>
                <a:gd name="connsiteX7" fmla="*/ 8976 w 10000"/>
                <a:gd name="connsiteY7" fmla="*/ 3118 h 10079"/>
                <a:gd name="connsiteX8" fmla="*/ 9458 w 10000"/>
                <a:gd name="connsiteY8" fmla="*/ 3449 h 10079"/>
                <a:gd name="connsiteX9" fmla="*/ 9561 w 10000"/>
                <a:gd name="connsiteY9" fmla="*/ 4074 h 10079"/>
                <a:gd name="connsiteX10" fmla="*/ 9743 w 10000"/>
                <a:gd name="connsiteY10" fmla="*/ 4444 h 10079"/>
                <a:gd name="connsiteX11" fmla="*/ 9890 w 10000"/>
                <a:gd name="connsiteY11" fmla="*/ 4711 h 10079"/>
                <a:gd name="connsiteX12" fmla="*/ 10000 w 10000"/>
                <a:gd name="connsiteY12" fmla="*/ 5506 h 10079"/>
                <a:gd name="connsiteX13" fmla="*/ 9781 w 10000"/>
                <a:gd name="connsiteY13" fmla="*/ 5982 h 10079"/>
                <a:gd name="connsiteX14" fmla="*/ 9670 w 10000"/>
                <a:gd name="connsiteY14" fmla="*/ 6249 h 10079"/>
                <a:gd name="connsiteX15" fmla="*/ 9670 w 10000"/>
                <a:gd name="connsiteY15" fmla="*/ 6726 h 10079"/>
                <a:gd name="connsiteX16" fmla="*/ 9233 w 10000"/>
                <a:gd name="connsiteY16" fmla="*/ 6672 h 10079"/>
                <a:gd name="connsiteX17" fmla="*/ 8902 w 10000"/>
                <a:gd name="connsiteY17" fmla="*/ 6938 h 10079"/>
                <a:gd name="connsiteX18" fmla="*/ 8756 w 10000"/>
                <a:gd name="connsiteY18" fmla="*/ 7150 h 10079"/>
                <a:gd name="connsiteX19" fmla="*/ 8572 w 10000"/>
                <a:gd name="connsiteY19" fmla="*/ 7575 h 10079"/>
                <a:gd name="connsiteX20" fmla="*/ 8609 w 10000"/>
                <a:gd name="connsiteY20" fmla="*/ 7948 h 10079"/>
                <a:gd name="connsiteX21" fmla="*/ 8793 w 10000"/>
                <a:gd name="connsiteY21" fmla="*/ 8583 h 10079"/>
                <a:gd name="connsiteX22" fmla="*/ 8537 w 10000"/>
                <a:gd name="connsiteY22" fmla="*/ 8957 h 10079"/>
                <a:gd name="connsiteX23" fmla="*/ 8170 w 10000"/>
                <a:gd name="connsiteY23" fmla="*/ 9802 h 10079"/>
                <a:gd name="connsiteX24" fmla="*/ 8097 w 10000"/>
                <a:gd name="connsiteY24" fmla="*/ 10069 h 10079"/>
                <a:gd name="connsiteX25" fmla="*/ 7766 w 10000"/>
                <a:gd name="connsiteY25" fmla="*/ 10014 h 10079"/>
                <a:gd name="connsiteX26" fmla="*/ 7400 w 10000"/>
                <a:gd name="connsiteY26" fmla="*/ 9802 h 10079"/>
                <a:gd name="connsiteX27" fmla="*/ 1502 w 10000"/>
                <a:gd name="connsiteY27" fmla="*/ 10014 h 10079"/>
                <a:gd name="connsiteX28" fmla="*/ 1428 w 10000"/>
                <a:gd name="connsiteY28" fmla="*/ 9539 h 10079"/>
                <a:gd name="connsiteX29" fmla="*/ 1223 w 10000"/>
                <a:gd name="connsiteY29" fmla="*/ 9395 h 10079"/>
                <a:gd name="connsiteX30" fmla="*/ 1120 w 10000"/>
                <a:gd name="connsiteY30" fmla="*/ 9000 h 10079"/>
                <a:gd name="connsiteX31" fmla="*/ 1145 w 10000"/>
                <a:gd name="connsiteY31" fmla="*/ 8518 h 10079"/>
                <a:gd name="connsiteX32" fmla="*/ 1167 w 10000"/>
                <a:gd name="connsiteY32" fmla="*/ 8140 h 10079"/>
                <a:gd name="connsiteX33" fmla="*/ 1246 w 10000"/>
                <a:gd name="connsiteY33" fmla="*/ 7679 h 10079"/>
                <a:gd name="connsiteX34" fmla="*/ 1173 w 10000"/>
                <a:gd name="connsiteY34" fmla="*/ 7257 h 10079"/>
                <a:gd name="connsiteX35" fmla="*/ 1051 w 10000"/>
                <a:gd name="connsiteY35" fmla="*/ 6837 h 10079"/>
                <a:gd name="connsiteX36" fmla="*/ 1062 w 10000"/>
                <a:gd name="connsiteY36" fmla="*/ 6461 h 10079"/>
                <a:gd name="connsiteX37" fmla="*/ 1062 w 10000"/>
                <a:gd name="connsiteY37" fmla="*/ 6356 h 10079"/>
                <a:gd name="connsiteX38" fmla="*/ 1100 w 10000"/>
                <a:gd name="connsiteY38" fmla="*/ 5825 h 10079"/>
                <a:gd name="connsiteX39" fmla="*/ 953 w 10000"/>
                <a:gd name="connsiteY39" fmla="*/ 5398 h 10079"/>
                <a:gd name="connsiteX40" fmla="*/ 696 w 10000"/>
                <a:gd name="connsiteY40" fmla="*/ 4550 h 10079"/>
                <a:gd name="connsiteX41" fmla="*/ 623 w 10000"/>
                <a:gd name="connsiteY41" fmla="*/ 3913 h 10079"/>
                <a:gd name="connsiteX42" fmla="*/ 623 w 10000"/>
                <a:gd name="connsiteY42" fmla="*/ 3488 h 10079"/>
                <a:gd name="connsiteX43" fmla="*/ 0 w 10000"/>
                <a:gd name="connsiteY43" fmla="*/ 2642 h 10079"/>
                <a:gd name="connsiteX44" fmla="*/ 477 w 10000"/>
                <a:gd name="connsiteY44" fmla="*/ 2056 h 10079"/>
                <a:gd name="connsiteX45" fmla="*/ 477 w 10000"/>
                <a:gd name="connsiteY45" fmla="*/ 1792 h 10079"/>
                <a:gd name="connsiteX46" fmla="*/ 477 w 10000"/>
                <a:gd name="connsiteY46" fmla="*/ 994 h 10079"/>
                <a:gd name="connsiteX47" fmla="*/ 575 w 10000"/>
                <a:gd name="connsiteY47" fmla="*/ 21 h 10079"/>
                <a:gd name="connsiteX48" fmla="*/ 4732 w 10000"/>
                <a:gd name="connsiteY48" fmla="*/ 469 h 10079"/>
                <a:gd name="connsiteX0" fmla="*/ 8448 w 10000"/>
                <a:gd name="connsiteY0" fmla="*/ 87 h 10087"/>
                <a:gd name="connsiteX1" fmla="*/ 8353 w 10000"/>
                <a:gd name="connsiteY1" fmla="*/ 578 h 10087"/>
                <a:gd name="connsiteX2" fmla="*/ 8682 w 10000"/>
                <a:gd name="connsiteY2" fmla="*/ 1002 h 10087"/>
                <a:gd name="connsiteX3" fmla="*/ 8631 w 10000"/>
                <a:gd name="connsiteY3" fmla="*/ 1308 h 10087"/>
                <a:gd name="connsiteX4" fmla="*/ 8426 w 10000"/>
                <a:gd name="connsiteY4" fmla="*/ 2010 h 10087"/>
                <a:gd name="connsiteX5" fmla="*/ 8537 w 10000"/>
                <a:gd name="connsiteY5" fmla="*/ 2276 h 10087"/>
                <a:gd name="connsiteX6" fmla="*/ 8572 w 10000"/>
                <a:gd name="connsiteY6" fmla="*/ 2597 h 10087"/>
                <a:gd name="connsiteX7" fmla="*/ 8976 w 10000"/>
                <a:gd name="connsiteY7" fmla="*/ 3126 h 10087"/>
                <a:gd name="connsiteX8" fmla="*/ 9458 w 10000"/>
                <a:gd name="connsiteY8" fmla="*/ 3457 h 10087"/>
                <a:gd name="connsiteX9" fmla="*/ 9561 w 10000"/>
                <a:gd name="connsiteY9" fmla="*/ 4082 h 10087"/>
                <a:gd name="connsiteX10" fmla="*/ 9743 w 10000"/>
                <a:gd name="connsiteY10" fmla="*/ 4452 h 10087"/>
                <a:gd name="connsiteX11" fmla="*/ 9890 w 10000"/>
                <a:gd name="connsiteY11" fmla="*/ 4719 h 10087"/>
                <a:gd name="connsiteX12" fmla="*/ 10000 w 10000"/>
                <a:gd name="connsiteY12" fmla="*/ 5514 h 10087"/>
                <a:gd name="connsiteX13" fmla="*/ 9781 w 10000"/>
                <a:gd name="connsiteY13" fmla="*/ 5990 h 10087"/>
                <a:gd name="connsiteX14" fmla="*/ 9670 w 10000"/>
                <a:gd name="connsiteY14" fmla="*/ 6257 h 10087"/>
                <a:gd name="connsiteX15" fmla="*/ 9670 w 10000"/>
                <a:gd name="connsiteY15" fmla="*/ 6734 h 10087"/>
                <a:gd name="connsiteX16" fmla="*/ 9233 w 10000"/>
                <a:gd name="connsiteY16" fmla="*/ 6680 h 10087"/>
                <a:gd name="connsiteX17" fmla="*/ 8902 w 10000"/>
                <a:gd name="connsiteY17" fmla="*/ 6946 h 10087"/>
                <a:gd name="connsiteX18" fmla="*/ 8756 w 10000"/>
                <a:gd name="connsiteY18" fmla="*/ 7158 h 10087"/>
                <a:gd name="connsiteX19" fmla="*/ 8572 w 10000"/>
                <a:gd name="connsiteY19" fmla="*/ 7583 h 10087"/>
                <a:gd name="connsiteX20" fmla="*/ 8609 w 10000"/>
                <a:gd name="connsiteY20" fmla="*/ 7956 h 10087"/>
                <a:gd name="connsiteX21" fmla="*/ 8793 w 10000"/>
                <a:gd name="connsiteY21" fmla="*/ 8591 h 10087"/>
                <a:gd name="connsiteX22" fmla="*/ 8537 w 10000"/>
                <a:gd name="connsiteY22" fmla="*/ 8965 h 10087"/>
                <a:gd name="connsiteX23" fmla="*/ 8170 w 10000"/>
                <a:gd name="connsiteY23" fmla="*/ 9810 h 10087"/>
                <a:gd name="connsiteX24" fmla="*/ 8097 w 10000"/>
                <a:gd name="connsiteY24" fmla="*/ 10077 h 10087"/>
                <a:gd name="connsiteX25" fmla="*/ 7766 w 10000"/>
                <a:gd name="connsiteY25" fmla="*/ 10022 h 10087"/>
                <a:gd name="connsiteX26" fmla="*/ 7400 w 10000"/>
                <a:gd name="connsiteY26" fmla="*/ 9810 h 10087"/>
                <a:gd name="connsiteX27" fmla="*/ 1502 w 10000"/>
                <a:gd name="connsiteY27" fmla="*/ 10022 h 10087"/>
                <a:gd name="connsiteX28" fmla="*/ 1428 w 10000"/>
                <a:gd name="connsiteY28" fmla="*/ 9547 h 10087"/>
                <a:gd name="connsiteX29" fmla="*/ 1223 w 10000"/>
                <a:gd name="connsiteY29" fmla="*/ 9403 h 10087"/>
                <a:gd name="connsiteX30" fmla="*/ 1120 w 10000"/>
                <a:gd name="connsiteY30" fmla="*/ 9008 h 10087"/>
                <a:gd name="connsiteX31" fmla="*/ 1145 w 10000"/>
                <a:gd name="connsiteY31" fmla="*/ 8526 h 10087"/>
                <a:gd name="connsiteX32" fmla="*/ 1167 w 10000"/>
                <a:gd name="connsiteY32" fmla="*/ 8148 h 10087"/>
                <a:gd name="connsiteX33" fmla="*/ 1246 w 10000"/>
                <a:gd name="connsiteY33" fmla="*/ 7687 h 10087"/>
                <a:gd name="connsiteX34" fmla="*/ 1173 w 10000"/>
                <a:gd name="connsiteY34" fmla="*/ 7265 h 10087"/>
                <a:gd name="connsiteX35" fmla="*/ 1051 w 10000"/>
                <a:gd name="connsiteY35" fmla="*/ 6845 h 10087"/>
                <a:gd name="connsiteX36" fmla="*/ 1062 w 10000"/>
                <a:gd name="connsiteY36" fmla="*/ 6469 h 10087"/>
                <a:gd name="connsiteX37" fmla="*/ 1062 w 10000"/>
                <a:gd name="connsiteY37" fmla="*/ 6364 h 10087"/>
                <a:gd name="connsiteX38" fmla="*/ 1100 w 10000"/>
                <a:gd name="connsiteY38" fmla="*/ 5833 h 10087"/>
                <a:gd name="connsiteX39" fmla="*/ 953 w 10000"/>
                <a:gd name="connsiteY39" fmla="*/ 5406 h 10087"/>
                <a:gd name="connsiteX40" fmla="*/ 696 w 10000"/>
                <a:gd name="connsiteY40" fmla="*/ 4558 h 10087"/>
                <a:gd name="connsiteX41" fmla="*/ 623 w 10000"/>
                <a:gd name="connsiteY41" fmla="*/ 3921 h 10087"/>
                <a:gd name="connsiteX42" fmla="*/ 623 w 10000"/>
                <a:gd name="connsiteY42" fmla="*/ 3496 h 10087"/>
                <a:gd name="connsiteX43" fmla="*/ 0 w 10000"/>
                <a:gd name="connsiteY43" fmla="*/ 2650 h 10087"/>
                <a:gd name="connsiteX44" fmla="*/ 477 w 10000"/>
                <a:gd name="connsiteY44" fmla="*/ 2064 h 10087"/>
                <a:gd name="connsiteX45" fmla="*/ 477 w 10000"/>
                <a:gd name="connsiteY45" fmla="*/ 1800 h 10087"/>
                <a:gd name="connsiteX46" fmla="*/ 477 w 10000"/>
                <a:gd name="connsiteY46" fmla="*/ 1002 h 10087"/>
                <a:gd name="connsiteX47" fmla="*/ 575 w 10000"/>
                <a:gd name="connsiteY47" fmla="*/ 29 h 10087"/>
                <a:gd name="connsiteX48" fmla="*/ 4777 w 10000"/>
                <a:gd name="connsiteY48" fmla="*/ 249 h 10087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756 w 10000"/>
                <a:gd name="connsiteY18" fmla="*/ 7071 h 10000"/>
                <a:gd name="connsiteX19" fmla="*/ 8572 w 10000"/>
                <a:gd name="connsiteY19" fmla="*/ 7496 h 10000"/>
                <a:gd name="connsiteX20" fmla="*/ 8609 w 10000"/>
                <a:gd name="connsiteY20" fmla="*/ 7869 h 10000"/>
                <a:gd name="connsiteX21" fmla="*/ 8793 w 10000"/>
                <a:gd name="connsiteY21" fmla="*/ 8504 h 10000"/>
                <a:gd name="connsiteX22" fmla="*/ 8537 w 10000"/>
                <a:gd name="connsiteY22" fmla="*/ 8878 h 10000"/>
                <a:gd name="connsiteX23" fmla="*/ 8170 w 10000"/>
                <a:gd name="connsiteY23" fmla="*/ 9723 h 10000"/>
                <a:gd name="connsiteX24" fmla="*/ 8097 w 10000"/>
                <a:gd name="connsiteY24" fmla="*/ 9990 h 10000"/>
                <a:gd name="connsiteX25" fmla="*/ 7766 w 10000"/>
                <a:gd name="connsiteY25" fmla="*/ 9935 h 10000"/>
                <a:gd name="connsiteX26" fmla="*/ 7400 w 10000"/>
                <a:gd name="connsiteY26" fmla="*/ 9723 h 10000"/>
                <a:gd name="connsiteX27" fmla="*/ 1502 w 10000"/>
                <a:gd name="connsiteY27" fmla="*/ 9935 h 10000"/>
                <a:gd name="connsiteX28" fmla="*/ 1428 w 10000"/>
                <a:gd name="connsiteY28" fmla="*/ 9460 h 10000"/>
                <a:gd name="connsiteX29" fmla="*/ 1223 w 10000"/>
                <a:gd name="connsiteY29" fmla="*/ 9316 h 10000"/>
                <a:gd name="connsiteX30" fmla="*/ 1120 w 10000"/>
                <a:gd name="connsiteY30" fmla="*/ 8921 h 10000"/>
                <a:gd name="connsiteX31" fmla="*/ 1145 w 10000"/>
                <a:gd name="connsiteY31" fmla="*/ 8439 h 10000"/>
                <a:gd name="connsiteX32" fmla="*/ 1167 w 10000"/>
                <a:gd name="connsiteY32" fmla="*/ 8061 h 10000"/>
                <a:gd name="connsiteX33" fmla="*/ 1246 w 10000"/>
                <a:gd name="connsiteY33" fmla="*/ 7600 h 10000"/>
                <a:gd name="connsiteX34" fmla="*/ 1173 w 10000"/>
                <a:gd name="connsiteY34" fmla="*/ 7178 h 10000"/>
                <a:gd name="connsiteX35" fmla="*/ 1051 w 10000"/>
                <a:gd name="connsiteY35" fmla="*/ 6758 h 10000"/>
                <a:gd name="connsiteX36" fmla="*/ 1062 w 10000"/>
                <a:gd name="connsiteY36" fmla="*/ 6382 h 10000"/>
                <a:gd name="connsiteX37" fmla="*/ 1062 w 10000"/>
                <a:gd name="connsiteY37" fmla="*/ 6277 h 10000"/>
                <a:gd name="connsiteX38" fmla="*/ 1100 w 10000"/>
                <a:gd name="connsiteY38" fmla="*/ 5746 h 10000"/>
                <a:gd name="connsiteX39" fmla="*/ 953 w 10000"/>
                <a:gd name="connsiteY39" fmla="*/ 5319 h 10000"/>
                <a:gd name="connsiteX40" fmla="*/ 696 w 10000"/>
                <a:gd name="connsiteY40" fmla="*/ 4471 h 10000"/>
                <a:gd name="connsiteX41" fmla="*/ 623 w 10000"/>
                <a:gd name="connsiteY41" fmla="*/ 3834 h 10000"/>
                <a:gd name="connsiteX42" fmla="*/ 623 w 10000"/>
                <a:gd name="connsiteY42" fmla="*/ 3409 h 10000"/>
                <a:gd name="connsiteX43" fmla="*/ 0 w 10000"/>
                <a:gd name="connsiteY43" fmla="*/ 2563 h 10000"/>
                <a:gd name="connsiteX44" fmla="*/ 477 w 10000"/>
                <a:gd name="connsiteY44" fmla="*/ 1977 h 10000"/>
                <a:gd name="connsiteX45" fmla="*/ 477 w 10000"/>
                <a:gd name="connsiteY45" fmla="*/ 1713 h 10000"/>
                <a:gd name="connsiteX46" fmla="*/ 477 w 10000"/>
                <a:gd name="connsiteY46" fmla="*/ 915 h 10000"/>
                <a:gd name="connsiteX47" fmla="*/ 715 w 10000"/>
                <a:gd name="connsiteY47" fmla="*/ 127 h 10000"/>
                <a:gd name="connsiteX48" fmla="*/ 4777 w 10000"/>
                <a:gd name="connsiteY48" fmla="*/ 162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756 w 10000"/>
                <a:gd name="connsiteY18" fmla="*/ 7071 h 10000"/>
                <a:gd name="connsiteX19" fmla="*/ 8572 w 10000"/>
                <a:gd name="connsiteY19" fmla="*/ 7496 h 10000"/>
                <a:gd name="connsiteX20" fmla="*/ 8609 w 10000"/>
                <a:gd name="connsiteY20" fmla="*/ 7869 h 10000"/>
                <a:gd name="connsiteX21" fmla="*/ 8793 w 10000"/>
                <a:gd name="connsiteY21" fmla="*/ 8504 h 10000"/>
                <a:gd name="connsiteX22" fmla="*/ 8537 w 10000"/>
                <a:gd name="connsiteY22" fmla="*/ 8878 h 10000"/>
                <a:gd name="connsiteX23" fmla="*/ 8170 w 10000"/>
                <a:gd name="connsiteY23" fmla="*/ 9723 h 10000"/>
                <a:gd name="connsiteX24" fmla="*/ 8097 w 10000"/>
                <a:gd name="connsiteY24" fmla="*/ 9990 h 10000"/>
                <a:gd name="connsiteX25" fmla="*/ 7766 w 10000"/>
                <a:gd name="connsiteY25" fmla="*/ 9935 h 10000"/>
                <a:gd name="connsiteX26" fmla="*/ 7400 w 10000"/>
                <a:gd name="connsiteY26" fmla="*/ 9723 h 10000"/>
                <a:gd name="connsiteX27" fmla="*/ 1502 w 10000"/>
                <a:gd name="connsiteY27" fmla="*/ 9935 h 10000"/>
                <a:gd name="connsiteX28" fmla="*/ 1428 w 10000"/>
                <a:gd name="connsiteY28" fmla="*/ 9460 h 10000"/>
                <a:gd name="connsiteX29" fmla="*/ 1223 w 10000"/>
                <a:gd name="connsiteY29" fmla="*/ 9316 h 10000"/>
                <a:gd name="connsiteX30" fmla="*/ 1120 w 10000"/>
                <a:gd name="connsiteY30" fmla="*/ 8921 h 10000"/>
                <a:gd name="connsiteX31" fmla="*/ 1145 w 10000"/>
                <a:gd name="connsiteY31" fmla="*/ 8439 h 10000"/>
                <a:gd name="connsiteX32" fmla="*/ 1167 w 10000"/>
                <a:gd name="connsiteY32" fmla="*/ 8061 h 10000"/>
                <a:gd name="connsiteX33" fmla="*/ 1246 w 10000"/>
                <a:gd name="connsiteY33" fmla="*/ 7600 h 10000"/>
                <a:gd name="connsiteX34" fmla="*/ 1173 w 10000"/>
                <a:gd name="connsiteY34" fmla="*/ 7178 h 10000"/>
                <a:gd name="connsiteX35" fmla="*/ 1051 w 10000"/>
                <a:gd name="connsiteY35" fmla="*/ 6758 h 10000"/>
                <a:gd name="connsiteX36" fmla="*/ 1062 w 10000"/>
                <a:gd name="connsiteY36" fmla="*/ 6382 h 10000"/>
                <a:gd name="connsiteX37" fmla="*/ 1062 w 10000"/>
                <a:gd name="connsiteY37" fmla="*/ 6277 h 10000"/>
                <a:gd name="connsiteX38" fmla="*/ 1100 w 10000"/>
                <a:gd name="connsiteY38" fmla="*/ 5746 h 10000"/>
                <a:gd name="connsiteX39" fmla="*/ 953 w 10000"/>
                <a:gd name="connsiteY39" fmla="*/ 5319 h 10000"/>
                <a:gd name="connsiteX40" fmla="*/ 696 w 10000"/>
                <a:gd name="connsiteY40" fmla="*/ 4471 h 10000"/>
                <a:gd name="connsiteX41" fmla="*/ 623 w 10000"/>
                <a:gd name="connsiteY41" fmla="*/ 3834 h 10000"/>
                <a:gd name="connsiteX42" fmla="*/ 521 w 10000"/>
                <a:gd name="connsiteY42" fmla="*/ 3389 h 10000"/>
                <a:gd name="connsiteX43" fmla="*/ 0 w 10000"/>
                <a:gd name="connsiteY43" fmla="*/ 2563 h 10000"/>
                <a:gd name="connsiteX44" fmla="*/ 477 w 10000"/>
                <a:gd name="connsiteY44" fmla="*/ 1977 h 10000"/>
                <a:gd name="connsiteX45" fmla="*/ 477 w 10000"/>
                <a:gd name="connsiteY45" fmla="*/ 1713 h 10000"/>
                <a:gd name="connsiteX46" fmla="*/ 477 w 10000"/>
                <a:gd name="connsiteY46" fmla="*/ 915 h 10000"/>
                <a:gd name="connsiteX47" fmla="*/ 715 w 10000"/>
                <a:gd name="connsiteY47" fmla="*/ 127 h 10000"/>
                <a:gd name="connsiteX48" fmla="*/ 4777 w 10000"/>
                <a:gd name="connsiteY48" fmla="*/ 162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756 w 10000"/>
                <a:gd name="connsiteY18" fmla="*/ 7071 h 10000"/>
                <a:gd name="connsiteX19" fmla="*/ 8572 w 10000"/>
                <a:gd name="connsiteY19" fmla="*/ 7496 h 10000"/>
                <a:gd name="connsiteX20" fmla="*/ 8609 w 10000"/>
                <a:gd name="connsiteY20" fmla="*/ 7869 h 10000"/>
                <a:gd name="connsiteX21" fmla="*/ 8793 w 10000"/>
                <a:gd name="connsiteY21" fmla="*/ 8504 h 10000"/>
                <a:gd name="connsiteX22" fmla="*/ 8537 w 10000"/>
                <a:gd name="connsiteY22" fmla="*/ 8878 h 10000"/>
                <a:gd name="connsiteX23" fmla="*/ 8170 w 10000"/>
                <a:gd name="connsiteY23" fmla="*/ 9723 h 10000"/>
                <a:gd name="connsiteX24" fmla="*/ 8097 w 10000"/>
                <a:gd name="connsiteY24" fmla="*/ 9990 h 10000"/>
                <a:gd name="connsiteX25" fmla="*/ 7766 w 10000"/>
                <a:gd name="connsiteY25" fmla="*/ 9935 h 10000"/>
                <a:gd name="connsiteX26" fmla="*/ 7400 w 10000"/>
                <a:gd name="connsiteY26" fmla="*/ 9723 h 10000"/>
                <a:gd name="connsiteX27" fmla="*/ 1502 w 10000"/>
                <a:gd name="connsiteY27" fmla="*/ 9935 h 10000"/>
                <a:gd name="connsiteX28" fmla="*/ 1428 w 10000"/>
                <a:gd name="connsiteY28" fmla="*/ 9460 h 10000"/>
                <a:gd name="connsiteX29" fmla="*/ 1223 w 10000"/>
                <a:gd name="connsiteY29" fmla="*/ 9316 h 10000"/>
                <a:gd name="connsiteX30" fmla="*/ 1120 w 10000"/>
                <a:gd name="connsiteY30" fmla="*/ 8921 h 10000"/>
                <a:gd name="connsiteX31" fmla="*/ 1145 w 10000"/>
                <a:gd name="connsiteY31" fmla="*/ 8439 h 10000"/>
                <a:gd name="connsiteX32" fmla="*/ 1167 w 10000"/>
                <a:gd name="connsiteY32" fmla="*/ 8061 h 10000"/>
                <a:gd name="connsiteX33" fmla="*/ 1246 w 10000"/>
                <a:gd name="connsiteY33" fmla="*/ 7600 h 10000"/>
                <a:gd name="connsiteX34" fmla="*/ 1173 w 10000"/>
                <a:gd name="connsiteY34" fmla="*/ 7178 h 10000"/>
                <a:gd name="connsiteX35" fmla="*/ 1051 w 10000"/>
                <a:gd name="connsiteY35" fmla="*/ 6758 h 10000"/>
                <a:gd name="connsiteX36" fmla="*/ 1062 w 10000"/>
                <a:gd name="connsiteY36" fmla="*/ 6382 h 10000"/>
                <a:gd name="connsiteX37" fmla="*/ 1062 w 10000"/>
                <a:gd name="connsiteY37" fmla="*/ 6277 h 10000"/>
                <a:gd name="connsiteX38" fmla="*/ 1100 w 10000"/>
                <a:gd name="connsiteY38" fmla="*/ 5746 h 10000"/>
                <a:gd name="connsiteX39" fmla="*/ 953 w 10000"/>
                <a:gd name="connsiteY39" fmla="*/ 5319 h 10000"/>
                <a:gd name="connsiteX40" fmla="*/ 696 w 10000"/>
                <a:gd name="connsiteY40" fmla="*/ 4471 h 10000"/>
                <a:gd name="connsiteX41" fmla="*/ 543 w 10000"/>
                <a:gd name="connsiteY41" fmla="*/ 3858 h 10000"/>
                <a:gd name="connsiteX42" fmla="*/ 521 w 10000"/>
                <a:gd name="connsiteY42" fmla="*/ 3389 h 10000"/>
                <a:gd name="connsiteX43" fmla="*/ 0 w 10000"/>
                <a:gd name="connsiteY43" fmla="*/ 2563 h 10000"/>
                <a:gd name="connsiteX44" fmla="*/ 477 w 10000"/>
                <a:gd name="connsiteY44" fmla="*/ 1977 h 10000"/>
                <a:gd name="connsiteX45" fmla="*/ 477 w 10000"/>
                <a:gd name="connsiteY45" fmla="*/ 1713 h 10000"/>
                <a:gd name="connsiteX46" fmla="*/ 477 w 10000"/>
                <a:gd name="connsiteY46" fmla="*/ 915 h 10000"/>
                <a:gd name="connsiteX47" fmla="*/ 715 w 10000"/>
                <a:gd name="connsiteY47" fmla="*/ 127 h 10000"/>
                <a:gd name="connsiteX48" fmla="*/ 4777 w 10000"/>
                <a:gd name="connsiteY48" fmla="*/ 162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756 w 10000"/>
                <a:gd name="connsiteY18" fmla="*/ 7071 h 10000"/>
                <a:gd name="connsiteX19" fmla="*/ 8572 w 10000"/>
                <a:gd name="connsiteY19" fmla="*/ 7496 h 10000"/>
                <a:gd name="connsiteX20" fmla="*/ 8609 w 10000"/>
                <a:gd name="connsiteY20" fmla="*/ 7869 h 10000"/>
                <a:gd name="connsiteX21" fmla="*/ 8793 w 10000"/>
                <a:gd name="connsiteY21" fmla="*/ 8504 h 10000"/>
                <a:gd name="connsiteX22" fmla="*/ 8537 w 10000"/>
                <a:gd name="connsiteY22" fmla="*/ 8878 h 10000"/>
                <a:gd name="connsiteX23" fmla="*/ 8170 w 10000"/>
                <a:gd name="connsiteY23" fmla="*/ 9723 h 10000"/>
                <a:gd name="connsiteX24" fmla="*/ 8097 w 10000"/>
                <a:gd name="connsiteY24" fmla="*/ 9990 h 10000"/>
                <a:gd name="connsiteX25" fmla="*/ 7766 w 10000"/>
                <a:gd name="connsiteY25" fmla="*/ 9935 h 10000"/>
                <a:gd name="connsiteX26" fmla="*/ 7400 w 10000"/>
                <a:gd name="connsiteY26" fmla="*/ 9723 h 10000"/>
                <a:gd name="connsiteX27" fmla="*/ 1502 w 10000"/>
                <a:gd name="connsiteY27" fmla="*/ 9935 h 10000"/>
                <a:gd name="connsiteX28" fmla="*/ 1428 w 10000"/>
                <a:gd name="connsiteY28" fmla="*/ 9460 h 10000"/>
                <a:gd name="connsiteX29" fmla="*/ 1223 w 10000"/>
                <a:gd name="connsiteY29" fmla="*/ 9316 h 10000"/>
                <a:gd name="connsiteX30" fmla="*/ 1120 w 10000"/>
                <a:gd name="connsiteY30" fmla="*/ 8921 h 10000"/>
                <a:gd name="connsiteX31" fmla="*/ 1145 w 10000"/>
                <a:gd name="connsiteY31" fmla="*/ 8439 h 10000"/>
                <a:gd name="connsiteX32" fmla="*/ 1167 w 10000"/>
                <a:gd name="connsiteY32" fmla="*/ 8061 h 10000"/>
                <a:gd name="connsiteX33" fmla="*/ 1246 w 10000"/>
                <a:gd name="connsiteY33" fmla="*/ 7600 h 10000"/>
                <a:gd name="connsiteX34" fmla="*/ 1173 w 10000"/>
                <a:gd name="connsiteY34" fmla="*/ 7178 h 10000"/>
                <a:gd name="connsiteX35" fmla="*/ 1051 w 10000"/>
                <a:gd name="connsiteY35" fmla="*/ 6758 h 10000"/>
                <a:gd name="connsiteX36" fmla="*/ 1062 w 10000"/>
                <a:gd name="connsiteY36" fmla="*/ 6382 h 10000"/>
                <a:gd name="connsiteX37" fmla="*/ 1062 w 10000"/>
                <a:gd name="connsiteY37" fmla="*/ 6277 h 10000"/>
                <a:gd name="connsiteX38" fmla="*/ 953 w 10000"/>
                <a:gd name="connsiteY38" fmla="*/ 5319 h 10000"/>
                <a:gd name="connsiteX39" fmla="*/ 696 w 10000"/>
                <a:gd name="connsiteY39" fmla="*/ 4471 h 10000"/>
                <a:gd name="connsiteX40" fmla="*/ 543 w 10000"/>
                <a:gd name="connsiteY40" fmla="*/ 3858 h 10000"/>
                <a:gd name="connsiteX41" fmla="*/ 521 w 10000"/>
                <a:gd name="connsiteY41" fmla="*/ 3389 h 10000"/>
                <a:gd name="connsiteX42" fmla="*/ 0 w 10000"/>
                <a:gd name="connsiteY42" fmla="*/ 2563 h 10000"/>
                <a:gd name="connsiteX43" fmla="*/ 477 w 10000"/>
                <a:gd name="connsiteY43" fmla="*/ 1977 h 10000"/>
                <a:gd name="connsiteX44" fmla="*/ 477 w 10000"/>
                <a:gd name="connsiteY44" fmla="*/ 1713 h 10000"/>
                <a:gd name="connsiteX45" fmla="*/ 477 w 10000"/>
                <a:gd name="connsiteY45" fmla="*/ 915 h 10000"/>
                <a:gd name="connsiteX46" fmla="*/ 715 w 10000"/>
                <a:gd name="connsiteY46" fmla="*/ 127 h 10000"/>
                <a:gd name="connsiteX47" fmla="*/ 4777 w 10000"/>
                <a:gd name="connsiteY47" fmla="*/ 162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756 w 10000"/>
                <a:gd name="connsiteY18" fmla="*/ 7071 h 10000"/>
                <a:gd name="connsiteX19" fmla="*/ 8572 w 10000"/>
                <a:gd name="connsiteY19" fmla="*/ 7496 h 10000"/>
                <a:gd name="connsiteX20" fmla="*/ 8609 w 10000"/>
                <a:gd name="connsiteY20" fmla="*/ 7869 h 10000"/>
                <a:gd name="connsiteX21" fmla="*/ 8793 w 10000"/>
                <a:gd name="connsiteY21" fmla="*/ 8504 h 10000"/>
                <a:gd name="connsiteX22" fmla="*/ 8537 w 10000"/>
                <a:gd name="connsiteY22" fmla="*/ 8878 h 10000"/>
                <a:gd name="connsiteX23" fmla="*/ 8170 w 10000"/>
                <a:gd name="connsiteY23" fmla="*/ 9723 h 10000"/>
                <a:gd name="connsiteX24" fmla="*/ 8097 w 10000"/>
                <a:gd name="connsiteY24" fmla="*/ 9990 h 10000"/>
                <a:gd name="connsiteX25" fmla="*/ 7766 w 10000"/>
                <a:gd name="connsiteY25" fmla="*/ 9935 h 10000"/>
                <a:gd name="connsiteX26" fmla="*/ 7400 w 10000"/>
                <a:gd name="connsiteY26" fmla="*/ 9723 h 10000"/>
                <a:gd name="connsiteX27" fmla="*/ 1502 w 10000"/>
                <a:gd name="connsiteY27" fmla="*/ 9935 h 10000"/>
                <a:gd name="connsiteX28" fmla="*/ 1428 w 10000"/>
                <a:gd name="connsiteY28" fmla="*/ 9460 h 10000"/>
                <a:gd name="connsiteX29" fmla="*/ 1223 w 10000"/>
                <a:gd name="connsiteY29" fmla="*/ 9316 h 10000"/>
                <a:gd name="connsiteX30" fmla="*/ 1120 w 10000"/>
                <a:gd name="connsiteY30" fmla="*/ 8921 h 10000"/>
                <a:gd name="connsiteX31" fmla="*/ 1145 w 10000"/>
                <a:gd name="connsiteY31" fmla="*/ 8439 h 10000"/>
                <a:gd name="connsiteX32" fmla="*/ 1167 w 10000"/>
                <a:gd name="connsiteY32" fmla="*/ 8061 h 10000"/>
                <a:gd name="connsiteX33" fmla="*/ 1246 w 10000"/>
                <a:gd name="connsiteY33" fmla="*/ 7600 h 10000"/>
                <a:gd name="connsiteX34" fmla="*/ 1173 w 10000"/>
                <a:gd name="connsiteY34" fmla="*/ 7178 h 10000"/>
                <a:gd name="connsiteX35" fmla="*/ 1051 w 10000"/>
                <a:gd name="connsiteY35" fmla="*/ 6758 h 10000"/>
                <a:gd name="connsiteX36" fmla="*/ 1062 w 10000"/>
                <a:gd name="connsiteY36" fmla="*/ 6382 h 10000"/>
                <a:gd name="connsiteX37" fmla="*/ 1062 w 10000"/>
                <a:gd name="connsiteY37" fmla="*/ 6277 h 10000"/>
                <a:gd name="connsiteX38" fmla="*/ 838 w 10000"/>
                <a:gd name="connsiteY38" fmla="*/ 5455 h 10000"/>
                <a:gd name="connsiteX39" fmla="*/ 696 w 10000"/>
                <a:gd name="connsiteY39" fmla="*/ 4471 h 10000"/>
                <a:gd name="connsiteX40" fmla="*/ 543 w 10000"/>
                <a:gd name="connsiteY40" fmla="*/ 3858 h 10000"/>
                <a:gd name="connsiteX41" fmla="*/ 521 w 10000"/>
                <a:gd name="connsiteY41" fmla="*/ 3389 h 10000"/>
                <a:gd name="connsiteX42" fmla="*/ 0 w 10000"/>
                <a:gd name="connsiteY42" fmla="*/ 2563 h 10000"/>
                <a:gd name="connsiteX43" fmla="*/ 477 w 10000"/>
                <a:gd name="connsiteY43" fmla="*/ 1977 h 10000"/>
                <a:gd name="connsiteX44" fmla="*/ 477 w 10000"/>
                <a:gd name="connsiteY44" fmla="*/ 1713 h 10000"/>
                <a:gd name="connsiteX45" fmla="*/ 477 w 10000"/>
                <a:gd name="connsiteY45" fmla="*/ 915 h 10000"/>
                <a:gd name="connsiteX46" fmla="*/ 715 w 10000"/>
                <a:gd name="connsiteY46" fmla="*/ 127 h 10000"/>
                <a:gd name="connsiteX47" fmla="*/ 4777 w 10000"/>
                <a:gd name="connsiteY47" fmla="*/ 162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572 w 10000"/>
                <a:gd name="connsiteY19" fmla="*/ 7496 h 10000"/>
                <a:gd name="connsiteX20" fmla="*/ 8609 w 10000"/>
                <a:gd name="connsiteY20" fmla="*/ 7869 h 10000"/>
                <a:gd name="connsiteX21" fmla="*/ 8793 w 10000"/>
                <a:gd name="connsiteY21" fmla="*/ 8504 h 10000"/>
                <a:gd name="connsiteX22" fmla="*/ 8537 w 10000"/>
                <a:gd name="connsiteY22" fmla="*/ 8878 h 10000"/>
                <a:gd name="connsiteX23" fmla="*/ 8170 w 10000"/>
                <a:gd name="connsiteY23" fmla="*/ 9723 h 10000"/>
                <a:gd name="connsiteX24" fmla="*/ 8097 w 10000"/>
                <a:gd name="connsiteY24" fmla="*/ 9990 h 10000"/>
                <a:gd name="connsiteX25" fmla="*/ 7766 w 10000"/>
                <a:gd name="connsiteY25" fmla="*/ 9935 h 10000"/>
                <a:gd name="connsiteX26" fmla="*/ 7400 w 10000"/>
                <a:gd name="connsiteY26" fmla="*/ 9723 h 10000"/>
                <a:gd name="connsiteX27" fmla="*/ 1502 w 10000"/>
                <a:gd name="connsiteY27" fmla="*/ 9935 h 10000"/>
                <a:gd name="connsiteX28" fmla="*/ 1428 w 10000"/>
                <a:gd name="connsiteY28" fmla="*/ 9460 h 10000"/>
                <a:gd name="connsiteX29" fmla="*/ 1223 w 10000"/>
                <a:gd name="connsiteY29" fmla="*/ 9316 h 10000"/>
                <a:gd name="connsiteX30" fmla="*/ 1120 w 10000"/>
                <a:gd name="connsiteY30" fmla="*/ 8921 h 10000"/>
                <a:gd name="connsiteX31" fmla="*/ 1145 w 10000"/>
                <a:gd name="connsiteY31" fmla="*/ 8439 h 10000"/>
                <a:gd name="connsiteX32" fmla="*/ 1167 w 10000"/>
                <a:gd name="connsiteY32" fmla="*/ 8061 h 10000"/>
                <a:gd name="connsiteX33" fmla="*/ 1246 w 10000"/>
                <a:gd name="connsiteY33" fmla="*/ 7600 h 10000"/>
                <a:gd name="connsiteX34" fmla="*/ 1173 w 10000"/>
                <a:gd name="connsiteY34" fmla="*/ 7178 h 10000"/>
                <a:gd name="connsiteX35" fmla="*/ 1051 w 10000"/>
                <a:gd name="connsiteY35" fmla="*/ 6758 h 10000"/>
                <a:gd name="connsiteX36" fmla="*/ 1062 w 10000"/>
                <a:gd name="connsiteY36" fmla="*/ 6382 h 10000"/>
                <a:gd name="connsiteX37" fmla="*/ 1062 w 10000"/>
                <a:gd name="connsiteY37" fmla="*/ 6277 h 10000"/>
                <a:gd name="connsiteX38" fmla="*/ 838 w 10000"/>
                <a:gd name="connsiteY38" fmla="*/ 5455 h 10000"/>
                <a:gd name="connsiteX39" fmla="*/ 696 w 10000"/>
                <a:gd name="connsiteY39" fmla="*/ 4471 h 10000"/>
                <a:gd name="connsiteX40" fmla="*/ 543 w 10000"/>
                <a:gd name="connsiteY40" fmla="*/ 3858 h 10000"/>
                <a:gd name="connsiteX41" fmla="*/ 521 w 10000"/>
                <a:gd name="connsiteY41" fmla="*/ 3389 h 10000"/>
                <a:gd name="connsiteX42" fmla="*/ 0 w 10000"/>
                <a:gd name="connsiteY42" fmla="*/ 2563 h 10000"/>
                <a:gd name="connsiteX43" fmla="*/ 477 w 10000"/>
                <a:gd name="connsiteY43" fmla="*/ 1977 h 10000"/>
                <a:gd name="connsiteX44" fmla="*/ 477 w 10000"/>
                <a:gd name="connsiteY44" fmla="*/ 1713 h 10000"/>
                <a:gd name="connsiteX45" fmla="*/ 477 w 10000"/>
                <a:gd name="connsiteY45" fmla="*/ 915 h 10000"/>
                <a:gd name="connsiteX46" fmla="*/ 715 w 10000"/>
                <a:gd name="connsiteY46" fmla="*/ 127 h 10000"/>
                <a:gd name="connsiteX47" fmla="*/ 4777 w 10000"/>
                <a:gd name="connsiteY47" fmla="*/ 162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572 w 10000"/>
                <a:gd name="connsiteY19" fmla="*/ 7496 h 10000"/>
                <a:gd name="connsiteX20" fmla="*/ 8609 w 10000"/>
                <a:gd name="connsiteY20" fmla="*/ 7869 h 10000"/>
                <a:gd name="connsiteX21" fmla="*/ 8621 w 10000"/>
                <a:gd name="connsiteY21" fmla="*/ 8392 h 10000"/>
                <a:gd name="connsiteX22" fmla="*/ 8537 w 10000"/>
                <a:gd name="connsiteY22" fmla="*/ 8878 h 10000"/>
                <a:gd name="connsiteX23" fmla="*/ 8170 w 10000"/>
                <a:gd name="connsiteY23" fmla="*/ 9723 h 10000"/>
                <a:gd name="connsiteX24" fmla="*/ 8097 w 10000"/>
                <a:gd name="connsiteY24" fmla="*/ 9990 h 10000"/>
                <a:gd name="connsiteX25" fmla="*/ 7766 w 10000"/>
                <a:gd name="connsiteY25" fmla="*/ 9935 h 10000"/>
                <a:gd name="connsiteX26" fmla="*/ 7400 w 10000"/>
                <a:gd name="connsiteY26" fmla="*/ 9723 h 10000"/>
                <a:gd name="connsiteX27" fmla="*/ 1502 w 10000"/>
                <a:gd name="connsiteY27" fmla="*/ 9935 h 10000"/>
                <a:gd name="connsiteX28" fmla="*/ 1428 w 10000"/>
                <a:gd name="connsiteY28" fmla="*/ 9460 h 10000"/>
                <a:gd name="connsiteX29" fmla="*/ 1223 w 10000"/>
                <a:gd name="connsiteY29" fmla="*/ 9316 h 10000"/>
                <a:gd name="connsiteX30" fmla="*/ 1120 w 10000"/>
                <a:gd name="connsiteY30" fmla="*/ 8921 h 10000"/>
                <a:gd name="connsiteX31" fmla="*/ 1145 w 10000"/>
                <a:gd name="connsiteY31" fmla="*/ 8439 h 10000"/>
                <a:gd name="connsiteX32" fmla="*/ 1167 w 10000"/>
                <a:gd name="connsiteY32" fmla="*/ 8061 h 10000"/>
                <a:gd name="connsiteX33" fmla="*/ 1246 w 10000"/>
                <a:gd name="connsiteY33" fmla="*/ 7600 h 10000"/>
                <a:gd name="connsiteX34" fmla="*/ 1173 w 10000"/>
                <a:gd name="connsiteY34" fmla="*/ 7178 h 10000"/>
                <a:gd name="connsiteX35" fmla="*/ 1051 w 10000"/>
                <a:gd name="connsiteY35" fmla="*/ 6758 h 10000"/>
                <a:gd name="connsiteX36" fmla="*/ 1062 w 10000"/>
                <a:gd name="connsiteY36" fmla="*/ 6382 h 10000"/>
                <a:gd name="connsiteX37" fmla="*/ 1062 w 10000"/>
                <a:gd name="connsiteY37" fmla="*/ 6277 h 10000"/>
                <a:gd name="connsiteX38" fmla="*/ 838 w 10000"/>
                <a:gd name="connsiteY38" fmla="*/ 5455 h 10000"/>
                <a:gd name="connsiteX39" fmla="*/ 696 w 10000"/>
                <a:gd name="connsiteY39" fmla="*/ 4471 h 10000"/>
                <a:gd name="connsiteX40" fmla="*/ 543 w 10000"/>
                <a:gd name="connsiteY40" fmla="*/ 3858 h 10000"/>
                <a:gd name="connsiteX41" fmla="*/ 521 w 10000"/>
                <a:gd name="connsiteY41" fmla="*/ 3389 h 10000"/>
                <a:gd name="connsiteX42" fmla="*/ 0 w 10000"/>
                <a:gd name="connsiteY42" fmla="*/ 2563 h 10000"/>
                <a:gd name="connsiteX43" fmla="*/ 477 w 10000"/>
                <a:gd name="connsiteY43" fmla="*/ 1977 h 10000"/>
                <a:gd name="connsiteX44" fmla="*/ 477 w 10000"/>
                <a:gd name="connsiteY44" fmla="*/ 1713 h 10000"/>
                <a:gd name="connsiteX45" fmla="*/ 477 w 10000"/>
                <a:gd name="connsiteY45" fmla="*/ 915 h 10000"/>
                <a:gd name="connsiteX46" fmla="*/ 715 w 10000"/>
                <a:gd name="connsiteY46" fmla="*/ 127 h 10000"/>
                <a:gd name="connsiteX47" fmla="*/ 4777 w 10000"/>
                <a:gd name="connsiteY47" fmla="*/ 162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572 w 10000"/>
                <a:gd name="connsiteY19" fmla="*/ 7496 h 10000"/>
                <a:gd name="connsiteX20" fmla="*/ 8609 w 10000"/>
                <a:gd name="connsiteY20" fmla="*/ 7869 h 10000"/>
                <a:gd name="connsiteX21" fmla="*/ 8621 w 10000"/>
                <a:gd name="connsiteY21" fmla="*/ 8392 h 10000"/>
                <a:gd name="connsiteX22" fmla="*/ 8537 w 10000"/>
                <a:gd name="connsiteY22" fmla="*/ 8878 h 10000"/>
                <a:gd name="connsiteX23" fmla="*/ 8170 w 10000"/>
                <a:gd name="connsiteY23" fmla="*/ 9723 h 10000"/>
                <a:gd name="connsiteX24" fmla="*/ 8097 w 10000"/>
                <a:gd name="connsiteY24" fmla="*/ 9990 h 10000"/>
                <a:gd name="connsiteX25" fmla="*/ 7766 w 10000"/>
                <a:gd name="connsiteY25" fmla="*/ 9935 h 10000"/>
                <a:gd name="connsiteX26" fmla="*/ 7400 w 10000"/>
                <a:gd name="connsiteY26" fmla="*/ 9723 h 10000"/>
                <a:gd name="connsiteX27" fmla="*/ 1502 w 10000"/>
                <a:gd name="connsiteY27" fmla="*/ 9935 h 10000"/>
                <a:gd name="connsiteX28" fmla="*/ 1428 w 10000"/>
                <a:gd name="connsiteY28" fmla="*/ 9460 h 10000"/>
                <a:gd name="connsiteX29" fmla="*/ 1223 w 10000"/>
                <a:gd name="connsiteY29" fmla="*/ 9316 h 10000"/>
                <a:gd name="connsiteX30" fmla="*/ 1120 w 10000"/>
                <a:gd name="connsiteY30" fmla="*/ 8921 h 10000"/>
                <a:gd name="connsiteX31" fmla="*/ 1145 w 10000"/>
                <a:gd name="connsiteY31" fmla="*/ 8439 h 10000"/>
                <a:gd name="connsiteX32" fmla="*/ 1167 w 10000"/>
                <a:gd name="connsiteY32" fmla="*/ 8061 h 10000"/>
                <a:gd name="connsiteX33" fmla="*/ 1246 w 10000"/>
                <a:gd name="connsiteY33" fmla="*/ 7600 h 10000"/>
                <a:gd name="connsiteX34" fmla="*/ 1173 w 10000"/>
                <a:gd name="connsiteY34" fmla="*/ 7178 h 10000"/>
                <a:gd name="connsiteX35" fmla="*/ 1051 w 10000"/>
                <a:gd name="connsiteY35" fmla="*/ 6758 h 10000"/>
                <a:gd name="connsiteX36" fmla="*/ 1062 w 10000"/>
                <a:gd name="connsiteY36" fmla="*/ 6382 h 10000"/>
                <a:gd name="connsiteX37" fmla="*/ 1062 w 10000"/>
                <a:gd name="connsiteY37" fmla="*/ 6277 h 10000"/>
                <a:gd name="connsiteX38" fmla="*/ 838 w 10000"/>
                <a:gd name="connsiteY38" fmla="*/ 5455 h 10000"/>
                <a:gd name="connsiteX39" fmla="*/ 696 w 10000"/>
                <a:gd name="connsiteY39" fmla="*/ 4471 h 10000"/>
                <a:gd name="connsiteX40" fmla="*/ 543 w 10000"/>
                <a:gd name="connsiteY40" fmla="*/ 3858 h 10000"/>
                <a:gd name="connsiteX41" fmla="*/ 521 w 10000"/>
                <a:gd name="connsiteY41" fmla="*/ 3389 h 10000"/>
                <a:gd name="connsiteX42" fmla="*/ 0 w 10000"/>
                <a:gd name="connsiteY42" fmla="*/ 2563 h 10000"/>
                <a:gd name="connsiteX43" fmla="*/ 477 w 10000"/>
                <a:gd name="connsiteY43" fmla="*/ 1977 h 10000"/>
                <a:gd name="connsiteX44" fmla="*/ 477 w 10000"/>
                <a:gd name="connsiteY44" fmla="*/ 1713 h 10000"/>
                <a:gd name="connsiteX45" fmla="*/ 477 w 10000"/>
                <a:gd name="connsiteY45" fmla="*/ 915 h 10000"/>
                <a:gd name="connsiteX46" fmla="*/ 715 w 10000"/>
                <a:gd name="connsiteY46" fmla="*/ 127 h 10000"/>
                <a:gd name="connsiteX47" fmla="*/ 4777 w 10000"/>
                <a:gd name="connsiteY47" fmla="*/ 162 h 10000"/>
                <a:gd name="connsiteX48" fmla="*/ 8448 w 10000"/>
                <a:gd name="connsiteY48" fmla="*/ 0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572 w 10000"/>
                <a:gd name="connsiteY19" fmla="*/ 7496 h 10000"/>
                <a:gd name="connsiteX20" fmla="*/ 8754 w 10000"/>
                <a:gd name="connsiteY20" fmla="*/ 7424 h 10000"/>
                <a:gd name="connsiteX21" fmla="*/ 8609 w 10000"/>
                <a:gd name="connsiteY21" fmla="*/ 7869 h 10000"/>
                <a:gd name="connsiteX22" fmla="*/ 8621 w 10000"/>
                <a:gd name="connsiteY22" fmla="*/ 8392 h 10000"/>
                <a:gd name="connsiteX23" fmla="*/ 8537 w 10000"/>
                <a:gd name="connsiteY23" fmla="*/ 8878 h 10000"/>
                <a:gd name="connsiteX24" fmla="*/ 8170 w 10000"/>
                <a:gd name="connsiteY24" fmla="*/ 9723 h 10000"/>
                <a:gd name="connsiteX25" fmla="*/ 8097 w 10000"/>
                <a:gd name="connsiteY25" fmla="*/ 9990 h 10000"/>
                <a:gd name="connsiteX26" fmla="*/ 7766 w 10000"/>
                <a:gd name="connsiteY26" fmla="*/ 9935 h 10000"/>
                <a:gd name="connsiteX27" fmla="*/ 7400 w 10000"/>
                <a:gd name="connsiteY27" fmla="*/ 9723 h 10000"/>
                <a:gd name="connsiteX28" fmla="*/ 1502 w 10000"/>
                <a:gd name="connsiteY28" fmla="*/ 9935 h 10000"/>
                <a:gd name="connsiteX29" fmla="*/ 1428 w 10000"/>
                <a:gd name="connsiteY29" fmla="*/ 9460 h 10000"/>
                <a:gd name="connsiteX30" fmla="*/ 1223 w 10000"/>
                <a:gd name="connsiteY30" fmla="*/ 9316 h 10000"/>
                <a:gd name="connsiteX31" fmla="*/ 1120 w 10000"/>
                <a:gd name="connsiteY31" fmla="*/ 8921 h 10000"/>
                <a:gd name="connsiteX32" fmla="*/ 1145 w 10000"/>
                <a:gd name="connsiteY32" fmla="*/ 8439 h 10000"/>
                <a:gd name="connsiteX33" fmla="*/ 1167 w 10000"/>
                <a:gd name="connsiteY33" fmla="*/ 8061 h 10000"/>
                <a:gd name="connsiteX34" fmla="*/ 1246 w 10000"/>
                <a:gd name="connsiteY34" fmla="*/ 7600 h 10000"/>
                <a:gd name="connsiteX35" fmla="*/ 1173 w 10000"/>
                <a:gd name="connsiteY35" fmla="*/ 7178 h 10000"/>
                <a:gd name="connsiteX36" fmla="*/ 1051 w 10000"/>
                <a:gd name="connsiteY36" fmla="*/ 6758 h 10000"/>
                <a:gd name="connsiteX37" fmla="*/ 1062 w 10000"/>
                <a:gd name="connsiteY37" fmla="*/ 6382 h 10000"/>
                <a:gd name="connsiteX38" fmla="*/ 1062 w 10000"/>
                <a:gd name="connsiteY38" fmla="*/ 6277 h 10000"/>
                <a:gd name="connsiteX39" fmla="*/ 838 w 10000"/>
                <a:gd name="connsiteY39" fmla="*/ 5455 h 10000"/>
                <a:gd name="connsiteX40" fmla="*/ 696 w 10000"/>
                <a:gd name="connsiteY40" fmla="*/ 4471 h 10000"/>
                <a:gd name="connsiteX41" fmla="*/ 543 w 10000"/>
                <a:gd name="connsiteY41" fmla="*/ 3858 h 10000"/>
                <a:gd name="connsiteX42" fmla="*/ 521 w 10000"/>
                <a:gd name="connsiteY42" fmla="*/ 3389 h 10000"/>
                <a:gd name="connsiteX43" fmla="*/ 0 w 10000"/>
                <a:gd name="connsiteY43" fmla="*/ 2563 h 10000"/>
                <a:gd name="connsiteX44" fmla="*/ 477 w 10000"/>
                <a:gd name="connsiteY44" fmla="*/ 1977 h 10000"/>
                <a:gd name="connsiteX45" fmla="*/ 477 w 10000"/>
                <a:gd name="connsiteY45" fmla="*/ 1713 h 10000"/>
                <a:gd name="connsiteX46" fmla="*/ 477 w 10000"/>
                <a:gd name="connsiteY46" fmla="*/ 915 h 10000"/>
                <a:gd name="connsiteX47" fmla="*/ 715 w 10000"/>
                <a:gd name="connsiteY47" fmla="*/ 127 h 10000"/>
                <a:gd name="connsiteX48" fmla="*/ 4777 w 10000"/>
                <a:gd name="connsiteY48" fmla="*/ 162 h 10000"/>
                <a:gd name="connsiteX49" fmla="*/ 8448 w 10000"/>
                <a:gd name="connsiteY49" fmla="*/ 0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572 w 10000"/>
                <a:gd name="connsiteY19" fmla="*/ 7496 h 10000"/>
                <a:gd name="connsiteX20" fmla="*/ 8609 w 10000"/>
                <a:gd name="connsiteY20" fmla="*/ 7869 h 10000"/>
                <a:gd name="connsiteX21" fmla="*/ 8621 w 10000"/>
                <a:gd name="connsiteY21" fmla="*/ 8392 h 10000"/>
                <a:gd name="connsiteX22" fmla="*/ 8537 w 10000"/>
                <a:gd name="connsiteY22" fmla="*/ 8878 h 10000"/>
                <a:gd name="connsiteX23" fmla="*/ 8170 w 10000"/>
                <a:gd name="connsiteY23" fmla="*/ 9723 h 10000"/>
                <a:gd name="connsiteX24" fmla="*/ 8097 w 10000"/>
                <a:gd name="connsiteY24" fmla="*/ 9990 h 10000"/>
                <a:gd name="connsiteX25" fmla="*/ 7766 w 10000"/>
                <a:gd name="connsiteY25" fmla="*/ 9935 h 10000"/>
                <a:gd name="connsiteX26" fmla="*/ 7400 w 10000"/>
                <a:gd name="connsiteY26" fmla="*/ 9723 h 10000"/>
                <a:gd name="connsiteX27" fmla="*/ 1502 w 10000"/>
                <a:gd name="connsiteY27" fmla="*/ 9935 h 10000"/>
                <a:gd name="connsiteX28" fmla="*/ 1428 w 10000"/>
                <a:gd name="connsiteY28" fmla="*/ 9460 h 10000"/>
                <a:gd name="connsiteX29" fmla="*/ 1223 w 10000"/>
                <a:gd name="connsiteY29" fmla="*/ 9316 h 10000"/>
                <a:gd name="connsiteX30" fmla="*/ 1120 w 10000"/>
                <a:gd name="connsiteY30" fmla="*/ 8921 h 10000"/>
                <a:gd name="connsiteX31" fmla="*/ 1145 w 10000"/>
                <a:gd name="connsiteY31" fmla="*/ 8439 h 10000"/>
                <a:gd name="connsiteX32" fmla="*/ 1167 w 10000"/>
                <a:gd name="connsiteY32" fmla="*/ 8061 h 10000"/>
                <a:gd name="connsiteX33" fmla="*/ 1246 w 10000"/>
                <a:gd name="connsiteY33" fmla="*/ 7600 h 10000"/>
                <a:gd name="connsiteX34" fmla="*/ 1173 w 10000"/>
                <a:gd name="connsiteY34" fmla="*/ 7178 h 10000"/>
                <a:gd name="connsiteX35" fmla="*/ 1051 w 10000"/>
                <a:gd name="connsiteY35" fmla="*/ 6758 h 10000"/>
                <a:gd name="connsiteX36" fmla="*/ 1062 w 10000"/>
                <a:gd name="connsiteY36" fmla="*/ 6382 h 10000"/>
                <a:gd name="connsiteX37" fmla="*/ 1062 w 10000"/>
                <a:gd name="connsiteY37" fmla="*/ 6277 h 10000"/>
                <a:gd name="connsiteX38" fmla="*/ 838 w 10000"/>
                <a:gd name="connsiteY38" fmla="*/ 5455 h 10000"/>
                <a:gd name="connsiteX39" fmla="*/ 696 w 10000"/>
                <a:gd name="connsiteY39" fmla="*/ 4471 h 10000"/>
                <a:gd name="connsiteX40" fmla="*/ 543 w 10000"/>
                <a:gd name="connsiteY40" fmla="*/ 3858 h 10000"/>
                <a:gd name="connsiteX41" fmla="*/ 521 w 10000"/>
                <a:gd name="connsiteY41" fmla="*/ 3389 h 10000"/>
                <a:gd name="connsiteX42" fmla="*/ 0 w 10000"/>
                <a:gd name="connsiteY42" fmla="*/ 2563 h 10000"/>
                <a:gd name="connsiteX43" fmla="*/ 477 w 10000"/>
                <a:gd name="connsiteY43" fmla="*/ 1977 h 10000"/>
                <a:gd name="connsiteX44" fmla="*/ 477 w 10000"/>
                <a:gd name="connsiteY44" fmla="*/ 1713 h 10000"/>
                <a:gd name="connsiteX45" fmla="*/ 477 w 10000"/>
                <a:gd name="connsiteY45" fmla="*/ 915 h 10000"/>
                <a:gd name="connsiteX46" fmla="*/ 715 w 10000"/>
                <a:gd name="connsiteY46" fmla="*/ 127 h 10000"/>
                <a:gd name="connsiteX47" fmla="*/ 4777 w 10000"/>
                <a:gd name="connsiteY47" fmla="*/ 162 h 10000"/>
                <a:gd name="connsiteX48" fmla="*/ 8448 w 10000"/>
                <a:gd name="connsiteY48" fmla="*/ 0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609 w 10000"/>
                <a:gd name="connsiteY19" fmla="*/ 7869 h 10000"/>
                <a:gd name="connsiteX20" fmla="*/ 8621 w 10000"/>
                <a:gd name="connsiteY20" fmla="*/ 8392 h 10000"/>
                <a:gd name="connsiteX21" fmla="*/ 8537 w 10000"/>
                <a:gd name="connsiteY21" fmla="*/ 8878 h 10000"/>
                <a:gd name="connsiteX22" fmla="*/ 8170 w 10000"/>
                <a:gd name="connsiteY22" fmla="*/ 9723 h 10000"/>
                <a:gd name="connsiteX23" fmla="*/ 8097 w 10000"/>
                <a:gd name="connsiteY23" fmla="*/ 9990 h 10000"/>
                <a:gd name="connsiteX24" fmla="*/ 7766 w 10000"/>
                <a:gd name="connsiteY24" fmla="*/ 9935 h 10000"/>
                <a:gd name="connsiteX25" fmla="*/ 7400 w 10000"/>
                <a:gd name="connsiteY25" fmla="*/ 9723 h 10000"/>
                <a:gd name="connsiteX26" fmla="*/ 1502 w 10000"/>
                <a:gd name="connsiteY26" fmla="*/ 9935 h 10000"/>
                <a:gd name="connsiteX27" fmla="*/ 1428 w 10000"/>
                <a:gd name="connsiteY27" fmla="*/ 9460 h 10000"/>
                <a:gd name="connsiteX28" fmla="*/ 1223 w 10000"/>
                <a:gd name="connsiteY28" fmla="*/ 9316 h 10000"/>
                <a:gd name="connsiteX29" fmla="*/ 1120 w 10000"/>
                <a:gd name="connsiteY29" fmla="*/ 8921 h 10000"/>
                <a:gd name="connsiteX30" fmla="*/ 1145 w 10000"/>
                <a:gd name="connsiteY30" fmla="*/ 8439 h 10000"/>
                <a:gd name="connsiteX31" fmla="*/ 1167 w 10000"/>
                <a:gd name="connsiteY31" fmla="*/ 8061 h 10000"/>
                <a:gd name="connsiteX32" fmla="*/ 1246 w 10000"/>
                <a:gd name="connsiteY32" fmla="*/ 7600 h 10000"/>
                <a:gd name="connsiteX33" fmla="*/ 1173 w 10000"/>
                <a:gd name="connsiteY33" fmla="*/ 7178 h 10000"/>
                <a:gd name="connsiteX34" fmla="*/ 1051 w 10000"/>
                <a:gd name="connsiteY34" fmla="*/ 6758 h 10000"/>
                <a:gd name="connsiteX35" fmla="*/ 1062 w 10000"/>
                <a:gd name="connsiteY35" fmla="*/ 6382 h 10000"/>
                <a:gd name="connsiteX36" fmla="*/ 1062 w 10000"/>
                <a:gd name="connsiteY36" fmla="*/ 6277 h 10000"/>
                <a:gd name="connsiteX37" fmla="*/ 838 w 10000"/>
                <a:gd name="connsiteY37" fmla="*/ 5455 h 10000"/>
                <a:gd name="connsiteX38" fmla="*/ 696 w 10000"/>
                <a:gd name="connsiteY38" fmla="*/ 4471 h 10000"/>
                <a:gd name="connsiteX39" fmla="*/ 543 w 10000"/>
                <a:gd name="connsiteY39" fmla="*/ 3858 h 10000"/>
                <a:gd name="connsiteX40" fmla="*/ 521 w 10000"/>
                <a:gd name="connsiteY40" fmla="*/ 3389 h 10000"/>
                <a:gd name="connsiteX41" fmla="*/ 0 w 10000"/>
                <a:gd name="connsiteY41" fmla="*/ 2563 h 10000"/>
                <a:gd name="connsiteX42" fmla="*/ 477 w 10000"/>
                <a:gd name="connsiteY42" fmla="*/ 1977 h 10000"/>
                <a:gd name="connsiteX43" fmla="*/ 477 w 10000"/>
                <a:gd name="connsiteY43" fmla="*/ 1713 h 10000"/>
                <a:gd name="connsiteX44" fmla="*/ 477 w 10000"/>
                <a:gd name="connsiteY44" fmla="*/ 915 h 10000"/>
                <a:gd name="connsiteX45" fmla="*/ 715 w 10000"/>
                <a:gd name="connsiteY45" fmla="*/ 127 h 10000"/>
                <a:gd name="connsiteX46" fmla="*/ 4777 w 10000"/>
                <a:gd name="connsiteY46" fmla="*/ 162 h 10000"/>
                <a:gd name="connsiteX47" fmla="*/ 8448 w 10000"/>
                <a:gd name="connsiteY47" fmla="*/ 0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813 w 10000"/>
                <a:gd name="connsiteY19" fmla="*/ 7909 h 10000"/>
                <a:gd name="connsiteX20" fmla="*/ 8621 w 10000"/>
                <a:gd name="connsiteY20" fmla="*/ 8392 h 10000"/>
                <a:gd name="connsiteX21" fmla="*/ 8537 w 10000"/>
                <a:gd name="connsiteY21" fmla="*/ 8878 h 10000"/>
                <a:gd name="connsiteX22" fmla="*/ 8170 w 10000"/>
                <a:gd name="connsiteY22" fmla="*/ 9723 h 10000"/>
                <a:gd name="connsiteX23" fmla="*/ 8097 w 10000"/>
                <a:gd name="connsiteY23" fmla="*/ 9990 h 10000"/>
                <a:gd name="connsiteX24" fmla="*/ 7766 w 10000"/>
                <a:gd name="connsiteY24" fmla="*/ 9935 h 10000"/>
                <a:gd name="connsiteX25" fmla="*/ 7400 w 10000"/>
                <a:gd name="connsiteY25" fmla="*/ 9723 h 10000"/>
                <a:gd name="connsiteX26" fmla="*/ 1502 w 10000"/>
                <a:gd name="connsiteY26" fmla="*/ 9935 h 10000"/>
                <a:gd name="connsiteX27" fmla="*/ 1428 w 10000"/>
                <a:gd name="connsiteY27" fmla="*/ 9460 h 10000"/>
                <a:gd name="connsiteX28" fmla="*/ 1223 w 10000"/>
                <a:gd name="connsiteY28" fmla="*/ 9316 h 10000"/>
                <a:gd name="connsiteX29" fmla="*/ 1120 w 10000"/>
                <a:gd name="connsiteY29" fmla="*/ 8921 h 10000"/>
                <a:gd name="connsiteX30" fmla="*/ 1145 w 10000"/>
                <a:gd name="connsiteY30" fmla="*/ 8439 h 10000"/>
                <a:gd name="connsiteX31" fmla="*/ 1167 w 10000"/>
                <a:gd name="connsiteY31" fmla="*/ 8061 h 10000"/>
                <a:gd name="connsiteX32" fmla="*/ 1246 w 10000"/>
                <a:gd name="connsiteY32" fmla="*/ 7600 h 10000"/>
                <a:gd name="connsiteX33" fmla="*/ 1173 w 10000"/>
                <a:gd name="connsiteY33" fmla="*/ 7178 h 10000"/>
                <a:gd name="connsiteX34" fmla="*/ 1051 w 10000"/>
                <a:gd name="connsiteY34" fmla="*/ 6758 h 10000"/>
                <a:gd name="connsiteX35" fmla="*/ 1062 w 10000"/>
                <a:gd name="connsiteY35" fmla="*/ 6382 h 10000"/>
                <a:gd name="connsiteX36" fmla="*/ 1062 w 10000"/>
                <a:gd name="connsiteY36" fmla="*/ 6277 h 10000"/>
                <a:gd name="connsiteX37" fmla="*/ 838 w 10000"/>
                <a:gd name="connsiteY37" fmla="*/ 5455 h 10000"/>
                <a:gd name="connsiteX38" fmla="*/ 696 w 10000"/>
                <a:gd name="connsiteY38" fmla="*/ 4471 h 10000"/>
                <a:gd name="connsiteX39" fmla="*/ 543 w 10000"/>
                <a:gd name="connsiteY39" fmla="*/ 3858 h 10000"/>
                <a:gd name="connsiteX40" fmla="*/ 521 w 10000"/>
                <a:gd name="connsiteY40" fmla="*/ 3389 h 10000"/>
                <a:gd name="connsiteX41" fmla="*/ 0 w 10000"/>
                <a:gd name="connsiteY41" fmla="*/ 2563 h 10000"/>
                <a:gd name="connsiteX42" fmla="*/ 477 w 10000"/>
                <a:gd name="connsiteY42" fmla="*/ 1977 h 10000"/>
                <a:gd name="connsiteX43" fmla="*/ 477 w 10000"/>
                <a:gd name="connsiteY43" fmla="*/ 1713 h 10000"/>
                <a:gd name="connsiteX44" fmla="*/ 477 w 10000"/>
                <a:gd name="connsiteY44" fmla="*/ 915 h 10000"/>
                <a:gd name="connsiteX45" fmla="*/ 715 w 10000"/>
                <a:gd name="connsiteY45" fmla="*/ 127 h 10000"/>
                <a:gd name="connsiteX46" fmla="*/ 4777 w 10000"/>
                <a:gd name="connsiteY46" fmla="*/ 162 h 10000"/>
                <a:gd name="connsiteX47" fmla="*/ 8448 w 10000"/>
                <a:gd name="connsiteY47" fmla="*/ 0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813 w 10000"/>
                <a:gd name="connsiteY19" fmla="*/ 7909 h 10000"/>
                <a:gd name="connsiteX20" fmla="*/ 8537 w 10000"/>
                <a:gd name="connsiteY20" fmla="*/ 8878 h 10000"/>
                <a:gd name="connsiteX21" fmla="*/ 8170 w 10000"/>
                <a:gd name="connsiteY21" fmla="*/ 9723 h 10000"/>
                <a:gd name="connsiteX22" fmla="*/ 8097 w 10000"/>
                <a:gd name="connsiteY22" fmla="*/ 9990 h 10000"/>
                <a:gd name="connsiteX23" fmla="*/ 7766 w 10000"/>
                <a:gd name="connsiteY23" fmla="*/ 9935 h 10000"/>
                <a:gd name="connsiteX24" fmla="*/ 7400 w 10000"/>
                <a:gd name="connsiteY24" fmla="*/ 9723 h 10000"/>
                <a:gd name="connsiteX25" fmla="*/ 1502 w 10000"/>
                <a:gd name="connsiteY25" fmla="*/ 9935 h 10000"/>
                <a:gd name="connsiteX26" fmla="*/ 1428 w 10000"/>
                <a:gd name="connsiteY26" fmla="*/ 9460 h 10000"/>
                <a:gd name="connsiteX27" fmla="*/ 1223 w 10000"/>
                <a:gd name="connsiteY27" fmla="*/ 9316 h 10000"/>
                <a:gd name="connsiteX28" fmla="*/ 1120 w 10000"/>
                <a:gd name="connsiteY28" fmla="*/ 8921 h 10000"/>
                <a:gd name="connsiteX29" fmla="*/ 1145 w 10000"/>
                <a:gd name="connsiteY29" fmla="*/ 8439 h 10000"/>
                <a:gd name="connsiteX30" fmla="*/ 1167 w 10000"/>
                <a:gd name="connsiteY30" fmla="*/ 8061 h 10000"/>
                <a:gd name="connsiteX31" fmla="*/ 1246 w 10000"/>
                <a:gd name="connsiteY31" fmla="*/ 7600 h 10000"/>
                <a:gd name="connsiteX32" fmla="*/ 1173 w 10000"/>
                <a:gd name="connsiteY32" fmla="*/ 7178 h 10000"/>
                <a:gd name="connsiteX33" fmla="*/ 1051 w 10000"/>
                <a:gd name="connsiteY33" fmla="*/ 6758 h 10000"/>
                <a:gd name="connsiteX34" fmla="*/ 1062 w 10000"/>
                <a:gd name="connsiteY34" fmla="*/ 6382 h 10000"/>
                <a:gd name="connsiteX35" fmla="*/ 1062 w 10000"/>
                <a:gd name="connsiteY35" fmla="*/ 6277 h 10000"/>
                <a:gd name="connsiteX36" fmla="*/ 838 w 10000"/>
                <a:gd name="connsiteY36" fmla="*/ 5455 h 10000"/>
                <a:gd name="connsiteX37" fmla="*/ 696 w 10000"/>
                <a:gd name="connsiteY37" fmla="*/ 4471 h 10000"/>
                <a:gd name="connsiteX38" fmla="*/ 543 w 10000"/>
                <a:gd name="connsiteY38" fmla="*/ 3858 h 10000"/>
                <a:gd name="connsiteX39" fmla="*/ 521 w 10000"/>
                <a:gd name="connsiteY39" fmla="*/ 3389 h 10000"/>
                <a:gd name="connsiteX40" fmla="*/ 0 w 10000"/>
                <a:gd name="connsiteY40" fmla="*/ 2563 h 10000"/>
                <a:gd name="connsiteX41" fmla="*/ 477 w 10000"/>
                <a:gd name="connsiteY41" fmla="*/ 1977 h 10000"/>
                <a:gd name="connsiteX42" fmla="*/ 477 w 10000"/>
                <a:gd name="connsiteY42" fmla="*/ 1713 h 10000"/>
                <a:gd name="connsiteX43" fmla="*/ 477 w 10000"/>
                <a:gd name="connsiteY43" fmla="*/ 915 h 10000"/>
                <a:gd name="connsiteX44" fmla="*/ 715 w 10000"/>
                <a:gd name="connsiteY44" fmla="*/ 127 h 10000"/>
                <a:gd name="connsiteX45" fmla="*/ 4777 w 10000"/>
                <a:gd name="connsiteY45" fmla="*/ 162 h 10000"/>
                <a:gd name="connsiteX46" fmla="*/ 8448 w 10000"/>
                <a:gd name="connsiteY46" fmla="*/ 0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813 w 10000"/>
                <a:gd name="connsiteY19" fmla="*/ 7909 h 10000"/>
                <a:gd name="connsiteX20" fmla="*/ 8218 w 10000"/>
                <a:gd name="connsiteY20" fmla="*/ 8974 h 10000"/>
                <a:gd name="connsiteX21" fmla="*/ 8170 w 10000"/>
                <a:gd name="connsiteY21" fmla="*/ 9723 h 10000"/>
                <a:gd name="connsiteX22" fmla="*/ 8097 w 10000"/>
                <a:gd name="connsiteY22" fmla="*/ 9990 h 10000"/>
                <a:gd name="connsiteX23" fmla="*/ 7766 w 10000"/>
                <a:gd name="connsiteY23" fmla="*/ 9935 h 10000"/>
                <a:gd name="connsiteX24" fmla="*/ 7400 w 10000"/>
                <a:gd name="connsiteY24" fmla="*/ 9723 h 10000"/>
                <a:gd name="connsiteX25" fmla="*/ 1502 w 10000"/>
                <a:gd name="connsiteY25" fmla="*/ 9935 h 10000"/>
                <a:gd name="connsiteX26" fmla="*/ 1428 w 10000"/>
                <a:gd name="connsiteY26" fmla="*/ 9460 h 10000"/>
                <a:gd name="connsiteX27" fmla="*/ 1223 w 10000"/>
                <a:gd name="connsiteY27" fmla="*/ 9316 h 10000"/>
                <a:gd name="connsiteX28" fmla="*/ 1120 w 10000"/>
                <a:gd name="connsiteY28" fmla="*/ 8921 h 10000"/>
                <a:gd name="connsiteX29" fmla="*/ 1145 w 10000"/>
                <a:gd name="connsiteY29" fmla="*/ 8439 h 10000"/>
                <a:gd name="connsiteX30" fmla="*/ 1167 w 10000"/>
                <a:gd name="connsiteY30" fmla="*/ 8061 h 10000"/>
                <a:gd name="connsiteX31" fmla="*/ 1246 w 10000"/>
                <a:gd name="connsiteY31" fmla="*/ 7600 h 10000"/>
                <a:gd name="connsiteX32" fmla="*/ 1173 w 10000"/>
                <a:gd name="connsiteY32" fmla="*/ 7178 h 10000"/>
                <a:gd name="connsiteX33" fmla="*/ 1051 w 10000"/>
                <a:gd name="connsiteY33" fmla="*/ 6758 h 10000"/>
                <a:gd name="connsiteX34" fmla="*/ 1062 w 10000"/>
                <a:gd name="connsiteY34" fmla="*/ 6382 h 10000"/>
                <a:gd name="connsiteX35" fmla="*/ 1062 w 10000"/>
                <a:gd name="connsiteY35" fmla="*/ 6277 h 10000"/>
                <a:gd name="connsiteX36" fmla="*/ 838 w 10000"/>
                <a:gd name="connsiteY36" fmla="*/ 5455 h 10000"/>
                <a:gd name="connsiteX37" fmla="*/ 696 w 10000"/>
                <a:gd name="connsiteY37" fmla="*/ 4471 h 10000"/>
                <a:gd name="connsiteX38" fmla="*/ 543 w 10000"/>
                <a:gd name="connsiteY38" fmla="*/ 3858 h 10000"/>
                <a:gd name="connsiteX39" fmla="*/ 521 w 10000"/>
                <a:gd name="connsiteY39" fmla="*/ 3389 h 10000"/>
                <a:gd name="connsiteX40" fmla="*/ 0 w 10000"/>
                <a:gd name="connsiteY40" fmla="*/ 2563 h 10000"/>
                <a:gd name="connsiteX41" fmla="*/ 477 w 10000"/>
                <a:gd name="connsiteY41" fmla="*/ 1977 h 10000"/>
                <a:gd name="connsiteX42" fmla="*/ 477 w 10000"/>
                <a:gd name="connsiteY42" fmla="*/ 1713 h 10000"/>
                <a:gd name="connsiteX43" fmla="*/ 477 w 10000"/>
                <a:gd name="connsiteY43" fmla="*/ 915 h 10000"/>
                <a:gd name="connsiteX44" fmla="*/ 715 w 10000"/>
                <a:gd name="connsiteY44" fmla="*/ 127 h 10000"/>
                <a:gd name="connsiteX45" fmla="*/ 4777 w 10000"/>
                <a:gd name="connsiteY45" fmla="*/ 162 h 10000"/>
                <a:gd name="connsiteX46" fmla="*/ 8448 w 10000"/>
                <a:gd name="connsiteY46" fmla="*/ 0 h 10000"/>
                <a:gd name="connsiteX0" fmla="*/ 8448 w 10000"/>
                <a:gd name="connsiteY0" fmla="*/ 0 h 10000"/>
                <a:gd name="connsiteX1" fmla="*/ 8353 w 10000"/>
                <a:gd name="connsiteY1" fmla="*/ 491 h 10000"/>
                <a:gd name="connsiteX2" fmla="*/ 8682 w 10000"/>
                <a:gd name="connsiteY2" fmla="*/ 915 h 10000"/>
                <a:gd name="connsiteX3" fmla="*/ 8631 w 10000"/>
                <a:gd name="connsiteY3" fmla="*/ 1221 h 10000"/>
                <a:gd name="connsiteX4" fmla="*/ 8426 w 10000"/>
                <a:gd name="connsiteY4" fmla="*/ 1923 h 10000"/>
                <a:gd name="connsiteX5" fmla="*/ 8537 w 10000"/>
                <a:gd name="connsiteY5" fmla="*/ 2189 h 10000"/>
                <a:gd name="connsiteX6" fmla="*/ 8572 w 10000"/>
                <a:gd name="connsiteY6" fmla="*/ 2510 h 10000"/>
                <a:gd name="connsiteX7" fmla="*/ 8976 w 10000"/>
                <a:gd name="connsiteY7" fmla="*/ 3039 h 10000"/>
                <a:gd name="connsiteX8" fmla="*/ 9458 w 10000"/>
                <a:gd name="connsiteY8" fmla="*/ 3370 h 10000"/>
                <a:gd name="connsiteX9" fmla="*/ 9561 w 10000"/>
                <a:gd name="connsiteY9" fmla="*/ 3995 h 10000"/>
                <a:gd name="connsiteX10" fmla="*/ 9743 w 10000"/>
                <a:gd name="connsiteY10" fmla="*/ 4365 h 10000"/>
                <a:gd name="connsiteX11" fmla="*/ 9890 w 10000"/>
                <a:gd name="connsiteY11" fmla="*/ 4632 h 10000"/>
                <a:gd name="connsiteX12" fmla="*/ 10000 w 10000"/>
                <a:gd name="connsiteY12" fmla="*/ 5427 h 10000"/>
                <a:gd name="connsiteX13" fmla="*/ 9781 w 10000"/>
                <a:gd name="connsiteY13" fmla="*/ 5903 h 10000"/>
                <a:gd name="connsiteX14" fmla="*/ 9670 w 10000"/>
                <a:gd name="connsiteY14" fmla="*/ 6170 h 10000"/>
                <a:gd name="connsiteX15" fmla="*/ 9670 w 10000"/>
                <a:gd name="connsiteY15" fmla="*/ 6647 h 10000"/>
                <a:gd name="connsiteX16" fmla="*/ 9233 w 10000"/>
                <a:gd name="connsiteY16" fmla="*/ 6593 h 10000"/>
                <a:gd name="connsiteX17" fmla="*/ 8902 w 10000"/>
                <a:gd name="connsiteY17" fmla="*/ 6859 h 10000"/>
                <a:gd name="connsiteX18" fmla="*/ 8667 w 10000"/>
                <a:gd name="connsiteY18" fmla="*/ 6896 h 10000"/>
                <a:gd name="connsiteX19" fmla="*/ 8813 w 10000"/>
                <a:gd name="connsiteY19" fmla="*/ 7909 h 10000"/>
                <a:gd name="connsiteX20" fmla="*/ 8218 w 10000"/>
                <a:gd name="connsiteY20" fmla="*/ 8974 h 10000"/>
                <a:gd name="connsiteX21" fmla="*/ 8097 w 10000"/>
                <a:gd name="connsiteY21" fmla="*/ 9990 h 10000"/>
                <a:gd name="connsiteX22" fmla="*/ 7766 w 10000"/>
                <a:gd name="connsiteY22" fmla="*/ 9935 h 10000"/>
                <a:gd name="connsiteX23" fmla="*/ 7400 w 10000"/>
                <a:gd name="connsiteY23" fmla="*/ 9723 h 10000"/>
                <a:gd name="connsiteX24" fmla="*/ 1502 w 10000"/>
                <a:gd name="connsiteY24" fmla="*/ 9935 h 10000"/>
                <a:gd name="connsiteX25" fmla="*/ 1428 w 10000"/>
                <a:gd name="connsiteY25" fmla="*/ 9460 h 10000"/>
                <a:gd name="connsiteX26" fmla="*/ 1223 w 10000"/>
                <a:gd name="connsiteY26" fmla="*/ 9316 h 10000"/>
                <a:gd name="connsiteX27" fmla="*/ 1120 w 10000"/>
                <a:gd name="connsiteY27" fmla="*/ 8921 h 10000"/>
                <a:gd name="connsiteX28" fmla="*/ 1145 w 10000"/>
                <a:gd name="connsiteY28" fmla="*/ 8439 h 10000"/>
                <a:gd name="connsiteX29" fmla="*/ 1167 w 10000"/>
                <a:gd name="connsiteY29" fmla="*/ 8061 h 10000"/>
                <a:gd name="connsiteX30" fmla="*/ 1246 w 10000"/>
                <a:gd name="connsiteY30" fmla="*/ 7600 h 10000"/>
                <a:gd name="connsiteX31" fmla="*/ 1173 w 10000"/>
                <a:gd name="connsiteY31" fmla="*/ 7178 h 10000"/>
                <a:gd name="connsiteX32" fmla="*/ 1051 w 10000"/>
                <a:gd name="connsiteY32" fmla="*/ 6758 h 10000"/>
                <a:gd name="connsiteX33" fmla="*/ 1062 w 10000"/>
                <a:gd name="connsiteY33" fmla="*/ 6382 h 10000"/>
                <a:gd name="connsiteX34" fmla="*/ 1062 w 10000"/>
                <a:gd name="connsiteY34" fmla="*/ 6277 h 10000"/>
                <a:gd name="connsiteX35" fmla="*/ 838 w 10000"/>
                <a:gd name="connsiteY35" fmla="*/ 5455 h 10000"/>
                <a:gd name="connsiteX36" fmla="*/ 696 w 10000"/>
                <a:gd name="connsiteY36" fmla="*/ 4471 h 10000"/>
                <a:gd name="connsiteX37" fmla="*/ 543 w 10000"/>
                <a:gd name="connsiteY37" fmla="*/ 3858 h 10000"/>
                <a:gd name="connsiteX38" fmla="*/ 521 w 10000"/>
                <a:gd name="connsiteY38" fmla="*/ 3389 h 10000"/>
                <a:gd name="connsiteX39" fmla="*/ 0 w 10000"/>
                <a:gd name="connsiteY39" fmla="*/ 2563 h 10000"/>
                <a:gd name="connsiteX40" fmla="*/ 477 w 10000"/>
                <a:gd name="connsiteY40" fmla="*/ 1977 h 10000"/>
                <a:gd name="connsiteX41" fmla="*/ 477 w 10000"/>
                <a:gd name="connsiteY41" fmla="*/ 1713 h 10000"/>
                <a:gd name="connsiteX42" fmla="*/ 477 w 10000"/>
                <a:gd name="connsiteY42" fmla="*/ 915 h 10000"/>
                <a:gd name="connsiteX43" fmla="*/ 715 w 10000"/>
                <a:gd name="connsiteY43" fmla="*/ 127 h 10000"/>
                <a:gd name="connsiteX44" fmla="*/ 4777 w 10000"/>
                <a:gd name="connsiteY44" fmla="*/ 162 h 10000"/>
                <a:gd name="connsiteX45" fmla="*/ 8448 w 10000"/>
                <a:gd name="connsiteY45" fmla="*/ 0 h 10000"/>
                <a:gd name="connsiteX0" fmla="*/ 8448 w 10000"/>
                <a:gd name="connsiteY0" fmla="*/ 0 h 10015"/>
                <a:gd name="connsiteX1" fmla="*/ 8353 w 10000"/>
                <a:gd name="connsiteY1" fmla="*/ 491 h 10015"/>
                <a:gd name="connsiteX2" fmla="*/ 8682 w 10000"/>
                <a:gd name="connsiteY2" fmla="*/ 915 h 10015"/>
                <a:gd name="connsiteX3" fmla="*/ 8631 w 10000"/>
                <a:gd name="connsiteY3" fmla="*/ 1221 h 10015"/>
                <a:gd name="connsiteX4" fmla="*/ 8426 w 10000"/>
                <a:gd name="connsiteY4" fmla="*/ 1923 h 10015"/>
                <a:gd name="connsiteX5" fmla="*/ 8537 w 10000"/>
                <a:gd name="connsiteY5" fmla="*/ 2189 h 10015"/>
                <a:gd name="connsiteX6" fmla="*/ 8572 w 10000"/>
                <a:gd name="connsiteY6" fmla="*/ 2510 h 10015"/>
                <a:gd name="connsiteX7" fmla="*/ 8976 w 10000"/>
                <a:gd name="connsiteY7" fmla="*/ 3039 h 10015"/>
                <a:gd name="connsiteX8" fmla="*/ 9458 w 10000"/>
                <a:gd name="connsiteY8" fmla="*/ 3370 h 10015"/>
                <a:gd name="connsiteX9" fmla="*/ 9561 w 10000"/>
                <a:gd name="connsiteY9" fmla="*/ 3995 h 10015"/>
                <a:gd name="connsiteX10" fmla="*/ 9743 w 10000"/>
                <a:gd name="connsiteY10" fmla="*/ 4365 h 10015"/>
                <a:gd name="connsiteX11" fmla="*/ 9890 w 10000"/>
                <a:gd name="connsiteY11" fmla="*/ 4632 h 10015"/>
                <a:gd name="connsiteX12" fmla="*/ 10000 w 10000"/>
                <a:gd name="connsiteY12" fmla="*/ 5427 h 10015"/>
                <a:gd name="connsiteX13" fmla="*/ 9781 w 10000"/>
                <a:gd name="connsiteY13" fmla="*/ 5903 h 10015"/>
                <a:gd name="connsiteX14" fmla="*/ 9670 w 10000"/>
                <a:gd name="connsiteY14" fmla="*/ 6170 h 10015"/>
                <a:gd name="connsiteX15" fmla="*/ 9670 w 10000"/>
                <a:gd name="connsiteY15" fmla="*/ 6647 h 10015"/>
                <a:gd name="connsiteX16" fmla="*/ 9233 w 10000"/>
                <a:gd name="connsiteY16" fmla="*/ 6593 h 10015"/>
                <a:gd name="connsiteX17" fmla="*/ 8902 w 10000"/>
                <a:gd name="connsiteY17" fmla="*/ 6859 h 10015"/>
                <a:gd name="connsiteX18" fmla="*/ 8667 w 10000"/>
                <a:gd name="connsiteY18" fmla="*/ 6896 h 10015"/>
                <a:gd name="connsiteX19" fmla="*/ 8813 w 10000"/>
                <a:gd name="connsiteY19" fmla="*/ 7909 h 10015"/>
                <a:gd name="connsiteX20" fmla="*/ 8218 w 10000"/>
                <a:gd name="connsiteY20" fmla="*/ 8974 h 10015"/>
                <a:gd name="connsiteX21" fmla="*/ 8097 w 10000"/>
                <a:gd name="connsiteY21" fmla="*/ 9990 h 10015"/>
                <a:gd name="connsiteX22" fmla="*/ 7400 w 10000"/>
                <a:gd name="connsiteY22" fmla="*/ 9723 h 10015"/>
                <a:gd name="connsiteX23" fmla="*/ 1502 w 10000"/>
                <a:gd name="connsiteY23" fmla="*/ 9935 h 10015"/>
                <a:gd name="connsiteX24" fmla="*/ 1428 w 10000"/>
                <a:gd name="connsiteY24" fmla="*/ 9460 h 10015"/>
                <a:gd name="connsiteX25" fmla="*/ 1223 w 10000"/>
                <a:gd name="connsiteY25" fmla="*/ 9316 h 10015"/>
                <a:gd name="connsiteX26" fmla="*/ 1120 w 10000"/>
                <a:gd name="connsiteY26" fmla="*/ 8921 h 10015"/>
                <a:gd name="connsiteX27" fmla="*/ 1145 w 10000"/>
                <a:gd name="connsiteY27" fmla="*/ 8439 h 10015"/>
                <a:gd name="connsiteX28" fmla="*/ 1167 w 10000"/>
                <a:gd name="connsiteY28" fmla="*/ 8061 h 10015"/>
                <a:gd name="connsiteX29" fmla="*/ 1246 w 10000"/>
                <a:gd name="connsiteY29" fmla="*/ 7600 h 10015"/>
                <a:gd name="connsiteX30" fmla="*/ 1173 w 10000"/>
                <a:gd name="connsiteY30" fmla="*/ 7178 h 10015"/>
                <a:gd name="connsiteX31" fmla="*/ 1051 w 10000"/>
                <a:gd name="connsiteY31" fmla="*/ 6758 h 10015"/>
                <a:gd name="connsiteX32" fmla="*/ 1062 w 10000"/>
                <a:gd name="connsiteY32" fmla="*/ 6382 h 10015"/>
                <a:gd name="connsiteX33" fmla="*/ 1062 w 10000"/>
                <a:gd name="connsiteY33" fmla="*/ 6277 h 10015"/>
                <a:gd name="connsiteX34" fmla="*/ 838 w 10000"/>
                <a:gd name="connsiteY34" fmla="*/ 5455 h 10015"/>
                <a:gd name="connsiteX35" fmla="*/ 696 w 10000"/>
                <a:gd name="connsiteY35" fmla="*/ 4471 h 10015"/>
                <a:gd name="connsiteX36" fmla="*/ 543 w 10000"/>
                <a:gd name="connsiteY36" fmla="*/ 3858 h 10015"/>
                <a:gd name="connsiteX37" fmla="*/ 521 w 10000"/>
                <a:gd name="connsiteY37" fmla="*/ 3389 h 10015"/>
                <a:gd name="connsiteX38" fmla="*/ 0 w 10000"/>
                <a:gd name="connsiteY38" fmla="*/ 2563 h 10015"/>
                <a:gd name="connsiteX39" fmla="*/ 477 w 10000"/>
                <a:gd name="connsiteY39" fmla="*/ 1977 h 10015"/>
                <a:gd name="connsiteX40" fmla="*/ 477 w 10000"/>
                <a:gd name="connsiteY40" fmla="*/ 1713 h 10015"/>
                <a:gd name="connsiteX41" fmla="*/ 477 w 10000"/>
                <a:gd name="connsiteY41" fmla="*/ 915 h 10015"/>
                <a:gd name="connsiteX42" fmla="*/ 715 w 10000"/>
                <a:gd name="connsiteY42" fmla="*/ 127 h 10015"/>
                <a:gd name="connsiteX43" fmla="*/ 4777 w 10000"/>
                <a:gd name="connsiteY43" fmla="*/ 162 h 10015"/>
                <a:gd name="connsiteX44" fmla="*/ 8448 w 10000"/>
                <a:gd name="connsiteY44" fmla="*/ 0 h 10015"/>
                <a:gd name="connsiteX0" fmla="*/ 8448 w 10000"/>
                <a:gd name="connsiteY0" fmla="*/ 0 h 10015"/>
                <a:gd name="connsiteX1" fmla="*/ 8570 w 10000"/>
                <a:gd name="connsiteY1" fmla="*/ 375 h 10015"/>
                <a:gd name="connsiteX2" fmla="*/ 8682 w 10000"/>
                <a:gd name="connsiteY2" fmla="*/ 915 h 10015"/>
                <a:gd name="connsiteX3" fmla="*/ 8631 w 10000"/>
                <a:gd name="connsiteY3" fmla="*/ 1221 h 10015"/>
                <a:gd name="connsiteX4" fmla="*/ 8426 w 10000"/>
                <a:gd name="connsiteY4" fmla="*/ 1923 h 10015"/>
                <a:gd name="connsiteX5" fmla="*/ 8537 w 10000"/>
                <a:gd name="connsiteY5" fmla="*/ 2189 h 10015"/>
                <a:gd name="connsiteX6" fmla="*/ 8572 w 10000"/>
                <a:gd name="connsiteY6" fmla="*/ 2510 h 10015"/>
                <a:gd name="connsiteX7" fmla="*/ 8976 w 10000"/>
                <a:gd name="connsiteY7" fmla="*/ 3039 h 10015"/>
                <a:gd name="connsiteX8" fmla="*/ 9458 w 10000"/>
                <a:gd name="connsiteY8" fmla="*/ 3370 h 10015"/>
                <a:gd name="connsiteX9" fmla="*/ 9561 w 10000"/>
                <a:gd name="connsiteY9" fmla="*/ 3995 h 10015"/>
                <a:gd name="connsiteX10" fmla="*/ 9743 w 10000"/>
                <a:gd name="connsiteY10" fmla="*/ 4365 h 10015"/>
                <a:gd name="connsiteX11" fmla="*/ 9890 w 10000"/>
                <a:gd name="connsiteY11" fmla="*/ 4632 h 10015"/>
                <a:gd name="connsiteX12" fmla="*/ 10000 w 10000"/>
                <a:gd name="connsiteY12" fmla="*/ 5427 h 10015"/>
                <a:gd name="connsiteX13" fmla="*/ 9781 w 10000"/>
                <a:gd name="connsiteY13" fmla="*/ 5903 h 10015"/>
                <a:gd name="connsiteX14" fmla="*/ 9670 w 10000"/>
                <a:gd name="connsiteY14" fmla="*/ 6170 h 10015"/>
                <a:gd name="connsiteX15" fmla="*/ 9670 w 10000"/>
                <a:gd name="connsiteY15" fmla="*/ 6647 h 10015"/>
                <a:gd name="connsiteX16" fmla="*/ 9233 w 10000"/>
                <a:gd name="connsiteY16" fmla="*/ 6593 h 10015"/>
                <a:gd name="connsiteX17" fmla="*/ 8902 w 10000"/>
                <a:gd name="connsiteY17" fmla="*/ 6859 h 10015"/>
                <a:gd name="connsiteX18" fmla="*/ 8667 w 10000"/>
                <a:gd name="connsiteY18" fmla="*/ 6896 h 10015"/>
                <a:gd name="connsiteX19" fmla="*/ 8813 w 10000"/>
                <a:gd name="connsiteY19" fmla="*/ 7909 h 10015"/>
                <a:gd name="connsiteX20" fmla="*/ 8218 w 10000"/>
                <a:gd name="connsiteY20" fmla="*/ 8974 h 10015"/>
                <a:gd name="connsiteX21" fmla="*/ 8097 w 10000"/>
                <a:gd name="connsiteY21" fmla="*/ 9990 h 10015"/>
                <a:gd name="connsiteX22" fmla="*/ 7400 w 10000"/>
                <a:gd name="connsiteY22" fmla="*/ 9723 h 10015"/>
                <a:gd name="connsiteX23" fmla="*/ 1502 w 10000"/>
                <a:gd name="connsiteY23" fmla="*/ 9935 h 10015"/>
                <a:gd name="connsiteX24" fmla="*/ 1428 w 10000"/>
                <a:gd name="connsiteY24" fmla="*/ 9460 h 10015"/>
                <a:gd name="connsiteX25" fmla="*/ 1223 w 10000"/>
                <a:gd name="connsiteY25" fmla="*/ 9316 h 10015"/>
                <a:gd name="connsiteX26" fmla="*/ 1120 w 10000"/>
                <a:gd name="connsiteY26" fmla="*/ 8921 h 10015"/>
                <a:gd name="connsiteX27" fmla="*/ 1145 w 10000"/>
                <a:gd name="connsiteY27" fmla="*/ 8439 h 10015"/>
                <a:gd name="connsiteX28" fmla="*/ 1167 w 10000"/>
                <a:gd name="connsiteY28" fmla="*/ 8061 h 10015"/>
                <a:gd name="connsiteX29" fmla="*/ 1246 w 10000"/>
                <a:gd name="connsiteY29" fmla="*/ 7600 h 10015"/>
                <a:gd name="connsiteX30" fmla="*/ 1173 w 10000"/>
                <a:gd name="connsiteY30" fmla="*/ 7178 h 10015"/>
                <a:gd name="connsiteX31" fmla="*/ 1051 w 10000"/>
                <a:gd name="connsiteY31" fmla="*/ 6758 h 10015"/>
                <a:gd name="connsiteX32" fmla="*/ 1062 w 10000"/>
                <a:gd name="connsiteY32" fmla="*/ 6382 h 10015"/>
                <a:gd name="connsiteX33" fmla="*/ 1062 w 10000"/>
                <a:gd name="connsiteY33" fmla="*/ 6277 h 10015"/>
                <a:gd name="connsiteX34" fmla="*/ 838 w 10000"/>
                <a:gd name="connsiteY34" fmla="*/ 5455 h 10015"/>
                <a:gd name="connsiteX35" fmla="*/ 696 w 10000"/>
                <a:gd name="connsiteY35" fmla="*/ 4471 h 10015"/>
                <a:gd name="connsiteX36" fmla="*/ 543 w 10000"/>
                <a:gd name="connsiteY36" fmla="*/ 3858 h 10015"/>
                <a:gd name="connsiteX37" fmla="*/ 521 w 10000"/>
                <a:gd name="connsiteY37" fmla="*/ 3389 h 10015"/>
                <a:gd name="connsiteX38" fmla="*/ 0 w 10000"/>
                <a:gd name="connsiteY38" fmla="*/ 2563 h 10015"/>
                <a:gd name="connsiteX39" fmla="*/ 477 w 10000"/>
                <a:gd name="connsiteY39" fmla="*/ 1977 h 10015"/>
                <a:gd name="connsiteX40" fmla="*/ 477 w 10000"/>
                <a:gd name="connsiteY40" fmla="*/ 1713 h 10015"/>
                <a:gd name="connsiteX41" fmla="*/ 477 w 10000"/>
                <a:gd name="connsiteY41" fmla="*/ 915 h 10015"/>
                <a:gd name="connsiteX42" fmla="*/ 715 w 10000"/>
                <a:gd name="connsiteY42" fmla="*/ 127 h 10015"/>
                <a:gd name="connsiteX43" fmla="*/ 4777 w 10000"/>
                <a:gd name="connsiteY43" fmla="*/ 162 h 10015"/>
                <a:gd name="connsiteX44" fmla="*/ 8448 w 10000"/>
                <a:gd name="connsiteY44" fmla="*/ 0 h 10015"/>
                <a:gd name="connsiteX0" fmla="*/ 8448 w 10000"/>
                <a:gd name="connsiteY0" fmla="*/ 0 h 10015"/>
                <a:gd name="connsiteX1" fmla="*/ 8570 w 10000"/>
                <a:gd name="connsiteY1" fmla="*/ 375 h 10015"/>
                <a:gd name="connsiteX2" fmla="*/ 8682 w 10000"/>
                <a:gd name="connsiteY2" fmla="*/ 915 h 10015"/>
                <a:gd name="connsiteX3" fmla="*/ 8631 w 10000"/>
                <a:gd name="connsiteY3" fmla="*/ 1221 h 10015"/>
                <a:gd name="connsiteX4" fmla="*/ 8426 w 10000"/>
                <a:gd name="connsiteY4" fmla="*/ 1923 h 10015"/>
                <a:gd name="connsiteX5" fmla="*/ 8537 w 10000"/>
                <a:gd name="connsiteY5" fmla="*/ 2189 h 10015"/>
                <a:gd name="connsiteX6" fmla="*/ 8572 w 10000"/>
                <a:gd name="connsiteY6" fmla="*/ 2510 h 10015"/>
                <a:gd name="connsiteX7" fmla="*/ 8976 w 10000"/>
                <a:gd name="connsiteY7" fmla="*/ 3039 h 10015"/>
                <a:gd name="connsiteX8" fmla="*/ 9458 w 10000"/>
                <a:gd name="connsiteY8" fmla="*/ 3370 h 10015"/>
                <a:gd name="connsiteX9" fmla="*/ 9561 w 10000"/>
                <a:gd name="connsiteY9" fmla="*/ 3995 h 10015"/>
                <a:gd name="connsiteX10" fmla="*/ 9743 w 10000"/>
                <a:gd name="connsiteY10" fmla="*/ 4365 h 10015"/>
                <a:gd name="connsiteX11" fmla="*/ 9890 w 10000"/>
                <a:gd name="connsiteY11" fmla="*/ 4632 h 10015"/>
                <a:gd name="connsiteX12" fmla="*/ 10000 w 10000"/>
                <a:gd name="connsiteY12" fmla="*/ 5427 h 10015"/>
                <a:gd name="connsiteX13" fmla="*/ 9781 w 10000"/>
                <a:gd name="connsiteY13" fmla="*/ 5903 h 10015"/>
                <a:gd name="connsiteX14" fmla="*/ 9670 w 10000"/>
                <a:gd name="connsiteY14" fmla="*/ 6170 h 10015"/>
                <a:gd name="connsiteX15" fmla="*/ 9670 w 10000"/>
                <a:gd name="connsiteY15" fmla="*/ 6647 h 10015"/>
                <a:gd name="connsiteX16" fmla="*/ 9354 w 10000"/>
                <a:gd name="connsiteY16" fmla="*/ 7012 h 10015"/>
                <a:gd name="connsiteX17" fmla="*/ 8902 w 10000"/>
                <a:gd name="connsiteY17" fmla="*/ 6859 h 10015"/>
                <a:gd name="connsiteX18" fmla="*/ 8667 w 10000"/>
                <a:gd name="connsiteY18" fmla="*/ 6896 h 10015"/>
                <a:gd name="connsiteX19" fmla="*/ 8813 w 10000"/>
                <a:gd name="connsiteY19" fmla="*/ 7909 h 10015"/>
                <a:gd name="connsiteX20" fmla="*/ 8218 w 10000"/>
                <a:gd name="connsiteY20" fmla="*/ 8974 h 10015"/>
                <a:gd name="connsiteX21" fmla="*/ 8097 w 10000"/>
                <a:gd name="connsiteY21" fmla="*/ 9990 h 10015"/>
                <a:gd name="connsiteX22" fmla="*/ 7400 w 10000"/>
                <a:gd name="connsiteY22" fmla="*/ 9723 h 10015"/>
                <a:gd name="connsiteX23" fmla="*/ 1502 w 10000"/>
                <a:gd name="connsiteY23" fmla="*/ 9935 h 10015"/>
                <a:gd name="connsiteX24" fmla="*/ 1428 w 10000"/>
                <a:gd name="connsiteY24" fmla="*/ 9460 h 10015"/>
                <a:gd name="connsiteX25" fmla="*/ 1223 w 10000"/>
                <a:gd name="connsiteY25" fmla="*/ 9316 h 10015"/>
                <a:gd name="connsiteX26" fmla="*/ 1120 w 10000"/>
                <a:gd name="connsiteY26" fmla="*/ 8921 h 10015"/>
                <a:gd name="connsiteX27" fmla="*/ 1145 w 10000"/>
                <a:gd name="connsiteY27" fmla="*/ 8439 h 10015"/>
                <a:gd name="connsiteX28" fmla="*/ 1167 w 10000"/>
                <a:gd name="connsiteY28" fmla="*/ 8061 h 10015"/>
                <a:gd name="connsiteX29" fmla="*/ 1246 w 10000"/>
                <a:gd name="connsiteY29" fmla="*/ 7600 h 10015"/>
                <a:gd name="connsiteX30" fmla="*/ 1173 w 10000"/>
                <a:gd name="connsiteY30" fmla="*/ 7178 h 10015"/>
                <a:gd name="connsiteX31" fmla="*/ 1051 w 10000"/>
                <a:gd name="connsiteY31" fmla="*/ 6758 h 10015"/>
                <a:gd name="connsiteX32" fmla="*/ 1062 w 10000"/>
                <a:gd name="connsiteY32" fmla="*/ 6382 h 10015"/>
                <a:gd name="connsiteX33" fmla="*/ 1062 w 10000"/>
                <a:gd name="connsiteY33" fmla="*/ 6277 h 10015"/>
                <a:gd name="connsiteX34" fmla="*/ 838 w 10000"/>
                <a:gd name="connsiteY34" fmla="*/ 5455 h 10015"/>
                <a:gd name="connsiteX35" fmla="*/ 696 w 10000"/>
                <a:gd name="connsiteY35" fmla="*/ 4471 h 10015"/>
                <a:gd name="connsiteX36" fmla="*/ 543 w 10000"/>
                <a:gd name="connsiteY36" fmla="*/ 3858 h 10015"/>
                <a:gd name="connsiteX37" fmla="*/ 521 w 10000"/>
                <a:gd name="connsiteY37" fmla="*/ 3389 h 10015"/>
                <a:gd name="connsiteX38" fmla="*/ 0 w 10000"/>
                <a:gd name="connsiteY38" fmla="*/ 2563 h 10015"/>
                <a:gd name="connsiteX39" fmla="*/ 477 w 10000"/>
                <a:gd name="connsiteY39" fmla="*/ 1977 h 10015"/>
                <a:gd name="connsiteX40" fmla="*/ 477 w 10000"/>
                <a:gd name="connsiteY40" fmla="*/ 1713 h 10015"/>
                <a:gd name="connsiteX41" fmla="*/ 477 w 10000"/>
                <a:gd name="connsiteY41" fmla="*/ 915 h 10015"/>
                <a:gd name="connsiteX42" fmla="*/ 715 w 10000"/>
                <a:gd name="connsiteY42" fmla="*/ 127 h 10015"/>
                <a:gd name="connsiteX43" fmla="*/ 4777 w 10000"/>
                <a:gd name="connsiteY43" fmla="*/ 162 h 10015"/>
                <a:gd name="connsiteX44" fmla="*/ 8448 w 10000"/>
                <a:gd name="connsiteY44" fmla="*/ 0 h 10015"/>
                <a:gd name="connsiteX0" fmla="*/ 8448 w 10000"/>
                <a:gd name="connsiteY0" fmla="*/ 0 h 10007"/>
                <a:gd name="connsiteX1" fmla="*/ 8570 w 10000"/>
                <a:gd name="connsiteY1" fmla="*/ 375 h 10007"/>
                <a:gd name="connsiteX2" fmla="*/ 8682 w 10000"/>
                <a:gd name="connsiteY2" fmla="*/ 915 h 10007"/>
                <a:gd name="connsiteX3" fmla="*/ 8631 w 10000"/>
                <a:gd name="connsiteY3" fmla="*/ 1221 h 10007"/>
                <a:gd name="connsiteX4" fmla="*/ 8426 w 10000"/>
                <a:gd name="connsiteY4" fmla="*/ 1923 h 10007"/>
                <a:gd name="connsiteX5" fmla="*/ 8537 w 10000"/>
                <a:gd name="connsiteY5" fmla="*/ 2189 h 10007"/>
                <a:gd name="connsiteX6" fmla="*/ 8572 w 10000"/>
                <a:gd name="connsiteY6" fmla="*/ 2510 h 10007"/>
                <a:gd name="connsiteX7" fmla="*/ 8976 w 10000"/>
                <a:gd name="connsiteY7" fmla="*/ 3039 h 10007"/>
                <a:gd name="connsiteX8" fmla="*/ 9458 w 10000"/>
                <a:gd name="connsiteY8" fmla="*/ 3370 h 10007"/>
                <a:gd name="connsiteX9" fmla="*/ 9561 w 10000"/>
                <a:gd name="connsiteY9" fmla="*/ 3995 h 10007"/>
                <a:gd name="connsiteX10" fmla="*/ 9743 w 10000"/>
                <a:gd name="connsiteY10" fmla="*/ 4365 h 10007"/>
                <a:gd name="connsiteX11" fmla="*/ 9890 w 10000"/>
                <a:gd name="connsiteY11" fmla="*/ 4632 h 10007"/>
                <a:gd name="connsiteX12" fmla="*/ 10000 w 10000"/>
                <a:gd name="connsiteY12" fmla="*/ 5427 h 10007"/>
                <a:gd name="connsiteX13" fmla="*/ 9781 w 10000"/>
                <a:gd name="connsiteY13" fmla="*/ 5903 h 10007"/>
                <a:gd name="connsiteX14" fmla="*/ 9670 w 10000"/>
                <a:gd name="connsiteY14" fmla="*/ 6170 h 10007"/>
                <a:gd name="connsiteX15" fmla="*/ 9670 w 10000"/>
                <a:gd name="connsiteY15" fmla="*/ 6647 h 10007"/>
                <a:gd name="connsiteX16" fmla="*/ 9354 w 10000"/>
                <a:gd name="connsiteY16" fmla="*/ 7012 h 10007"/>
                <a:gd name="connsiteX17" fmla="*/ 8902 w 10000"/>
                <a:gd name="connsiteY17" fmla="*/ 6859 h 10007"/>
                <a:gd name="connsiteX18" fmla="*/ 8667 w 10000"/>
                <a:gd name="connsiteY18" fmla="*/ 6896 h 10007"/>
                <a:gd name="connsiteX19" fmla="*/ 8813 w 10000"/>
                <a:gd name="connsiteY19" fmla="*/ 7909 h 10007"/>
                <a:gd name="connsiteX20" fmla="*/ 8218 w 10000"/>
                <a:gd name="connsiteY20" fmla="*/ 8974 h 10007"/>
                <a:gd name="connsiteX21" fmla="*/ 8097 w 10000"/>
                <a:gd name="connsiteY21" fmla="*/ 9990 h 10007"/>
                <a:gd name="connsiteX22" fmla="*/ 7496 w 10000"/>
                <a:gd name="connsiteY22" fmla="*/ 9505 h 10007"/>
                <a:gd name="connsiteX23" fmla="*/ 1502 w 10000"/>
                <a:gd name="connsiteY23" fmla="*/ 9935 h 10007"/>
                <a:gd name="connsiteX24" fmla="*/ 1428 w 10000"/>
                <a:gd name="connsiteY24" fmla="*/ 9460 h 10007"/>
                <a:gd name="connsiteX25" fmla="*/ 1223 w 10000"/>
                <a:gd name="connsiteY25" fmla="*/ 9316 h 10007"/>
                <a:gd name="connsiteX26" fmla="*/ 1120 w 10000"/>
                <a:gd name="connsiteY26" fmla="*/ 8921 h 10007"/>
                <a:gd name="connsiteX27" fmla="*/ 1145 w 10000"/>
                <a:gd name="connsiteY27" fmla="*/ 8439 h 10007"/>
                <a:gd name="connsiteX28" fmla="*/ 1167 w 10000"/>
                <a:gd name="connsiteY28" fmla="*/ 8061 h 10007"/>
                <a:gd name="connsiteX29" fmla="*/ 1246 w 10000"/>
                <a:gd name="connsiteY29" fmla="*/ 7600 h 10007"/>
                <a:gd name="connsiteX30" fmla="*/ 1173 w 10000"/>
                <a:gd name="connsiteY30" fmla="*/ 7178 h 10007"/>
                <a:gd name="connsiteX31" fmla="*/ 1051 w 10000"/>
                <a:gd name="connsiteY31" fmla="*/ 6758 h 10007"/>
                <a:gd name="connsiteX32" fmla="*/ 1062 w 10000"/>
                <a:gd name="connsiteY32" fmla="*/ 6382 h 10007"/>
                <a:gd name="connsiteX33" fmla="*/ 1062 w 10000"/>
                <a:gd name="connsiteY33" fmla="*/ 6277 h 10007"/>
                <a:gd name="connsiteX34" fmla="*/ 838 w 10000"/>
                <a:gd name="connsiteY34" fmla="*/ 5455 h 10007"/>
                <a:gd name="connsiteX35" fmla="*/ 696 w 10000"/>
                <a:gd name="connsiteY35" fmla="*/ 4471 h 10007"/>
                <a:gd name="connsiteX36" fmla="*/ 543 w 10000"/>
                <a:gd name="connsiteY36" fmla="*/ 3858 h 10007"/>
                <a:gd name="connsiteX37" fmla="*/ 521 w 10000"/>
                <a:gd name="connsiteY37" fmla="*/ 3389 h 10007"/>
                <a:gd name="connsiteX38" fmla="*/ 0 w 10000"/>
                <a:gd name="connsiteY38" fmla="*/ 2563 h 10007"/>
                <a:gd name="connsiteX39" fmla="*/ 477 w 10000"/>
                <a:gd name="connsiteY39" fmla="*/ 1977 h 10007"/>
                <a:gd name="connsiteX40" fmla="*/ 477 w 10000"/>
                <a:gd name="connsiteY40" fmla="*/ 1713 h 10007"/>
                <a:gd name="connsiteX41" fmla="*/ 477 w 10000"/>
                <a:gd name="connsiteY41" fmla="*/ 915 h 10007"/>
                <a:gd name="connsiteX42" fmla="*/ 715 w 10000"/>
                <a:gd name="connsiteY42" fmla="*/ 127 h 10007"/>
                <a:gd name="connsiteX43" fmla="*/ 4777 w 10000"/>
                <a:gd name="connsiteY43" fmla="*/ 162 h 10007"/>
                <a:gd name="connsiteX44" fmla="*/ 8448 w 10000"/>
                <a:gd name="connsiteY44" fmla="*/ 0 h 10007"/>
                <a:gd name="connsiteX0" fmla="*/ 8448 w 10000"/>
                <a:gd name="connsiteY0" fmla="*/ 0 h 10007"/>
                <a:gd name="connsiteX1" fmla="*/ 8570 w 10000"/>
                <a:gd name="connsiteY1" fmla="*/ 375 h 10007"/>
                <a:gd name="connsiteX2" fmla="*/ 8682 w 10000"/>
                <a:gd name="connsiteY2" fmla="*/ 915 h 10007"/>
                <a:gd name="connsiteX3" fmla="*/ 8631 w 10000"/>
                <a:gd name="connsiteY3" fmla="*/ 1221 h 10007"/>
                <a:gd name="connsiteX4" fmla="*/ 8426 w 10000"/>
                <a:gd name="connsiteY4" fmla="*/ 1923 h 10007"/>
                <a:gd name="connsiteX5" fmla="*/ 8537 w 10000"/>
                <a:gd name="connsiteY5" fmla="*/ 2189 h 10007"/>
                <a:gd name="connsiteX6" fmla="*/ 8572 w 10000"/>
                <a:gd name="connsiteY6" fmla="*/ 2510 h 10007"/>
                <a:gd name="connsiteX7" fmla="*/ 8976 w 10000"/>
                <a:gd name="connsiteY7" fmla="*/ 3039 h 10007"/>
                <a:gd name="connsiteX8" fmla="*/ 9458 w 10000"/>
                <a:gd name="connsiteY8" fmla="*/ 3370 h 10007"/>
                <a:gd name="connsiteX9" fmla="*/ 9561 w 10000"/>
                <a:gd name="connsiteY9" fmla="*/ 3995 h 10007"/>
                <a:gd name="connsiteX10" fmla="*/ 9743 w 10000"/>
                <a:gd name="connsiteY10" fmla="*/ 4365 h 10007"/>
                <a:gd name="connsiteX11" fmla="*/ 9890 w 10000"/>
                <a:gd name="connsiteY11" fmla="*/ 4632 h 10007"/>
                <a:gd name="connsiteX12" fmla="*/ 10000 w 10000"/>
                <a:gd name="connsiteY12" fmla="*/ 5427 h 10007"/>
                <a:gd name="connsiteX13" fmla="*/ 9781 w 10000"/>
                <a:gd name="connsiteY13" fmla="*/ 5903 h 10007"/>
                <a:gd name="connsiteX14" fmla="*/ 9670 w 10000"/>
                <a:gd name="connsiteY14" fmla="*/ 6170 h 10007"/>
                <a:gd name="connsiteX15" fmla="*/ 9670 w 10000"/>
                <a:gd name="connsiteY15" fmla="*/ 6647 h 10007"/>
                <a:gd name="connsiteX16" fmla="*/ 9354 w 10000"/>
                <a:gd name="connsiteY16" fmla="*/ 7012 h 10007"/>
                <a:gd name="connsiteX17" fmla="*/ 8902 w 10000"/>
                <a:gd name="connsiteY17" fmla="*/ 6859 h 10007"/>
                <a:gd name="connsiteX18" fmla="*/ 8667 w 10000"/>
                <a:gd name="connsiteY18" fmla="*/ 6896 h 10007"/>
                <a:gd name="connsiteX19" fmla="*/ 8813 w 10000"/>
                <a:gd name="connsiteY19" fmla="*/ 7909 h 10007"/>
                <a:gd name="connsiteX20" fmla="*/ 8218 w 10000"/>
                <a:gd name="connsiteY20" fmla="*/ 8974 h 10007"/>
                <a:gd name="connsiteX21" fmla="*/ 8097 w 10000"/>
                <a:gd name="connsiteY21" fmla="*/ 9990 h 10007"/>
                <a:gd name="connsiteX22" fmla="*/ 7496 w 10000"/>
                <a:gd name="connsiteY22" fmla="*/ 9505 h 10007"/>
                <a:gd name="connsiteX23" fmla="*/ 3102 w 10000"/>
                <a:gd name="connsiteY23" fmla="*/ 9416 h 10007"/>
                <a:gd name="connsiteX24" fmla="*/ 1428 w 10000"/>
                <a:gd name="connsiteY24" fmla="*/ 9460 h 10007"/>
                <a:gd name="connsiteX25" fmla="*/ 1223 w 10000"/>
                <a:gd name="connsiteY25" fmla="*/ 9316 h 10007"/>
                <a:gd name="connsiteX26" fmla="*/ 1120 w 10000"/>
                <a:gd name="connsiteY26" fmla="*/ 8921 h 10007"/>
                <a:gd name="connsiteX27" fmla="*/ 1145 w 10000"/>
                <a:gd name="connsiteY27" fmla="*/ 8439 h 10007"/>
                <a:gd name="connsiteX28" fmla="*/ 1167 w 10000"/>
                <a:gd name="connsiteY28" fmla="*/ 8061 h 10007"/>
                <a:gd name="connsiteX29" fmla="*/ 1246 w 10000"/>
                <a:gd name="connsiteY29" fmla="*/ 7600 h 10007"/>
                <a:gd name="connsiteX30" fmla="*/ 1173 w 10000"/>
                <a:gd name="connsiteY30" fmla="*/ 7178 h 10007"/>
                <a:gd name="connsiteX31" fmla="*/ 1051 w 10000"/>
                <a:gd name="connsiteY31" fmla="*/ 6758 h 10007"/>
                <a:gd name="connsiteX32" fmla="*/ 1062 w 10000"/>
                <a:gd name="connsiteY32" fmla="*/ 6382 h 10007"/>
                <a:gd name="connsiteX33" fmla="*/ 1062 w 10000"/>
                <a:gd name="connsiteY33" fmla="*/ 6277 h 10007"/>
                <a:gd name="connsiteX34" fmla="*/ 838 w 10000"/>
                <a:gd name="connsiteY34" fmla="*/ 5455 h 10007"/>
                <a:gd name="connsiteX35" fmla="*/ 696 w 10000"/>
                <a:gd name="connsiteY35" fmla="*/ 4471 h 10007"/>
                <a:gd name="connsiteX36" fmla="*/ 543 w 10000"/>
                <a:gd name="connsiteY36" fmla="*/ 3858 h 10007"/>
                <a:gd name="connsiteX37" fmla="*/ 521 w 10000"/>
                <a:gd name="connsiteY37" fmla="*/ 3389 h 10007"/>
                <a:gd name="connsiteX38" fmla="*/ 0 w 10000"/>
                <a:gd name="connsiteY38" fmla="*/ 2563 h 10007"/>
                <a:gd name="connsiteX39" fmla="*/ 477 w 10000"/>
                <a:gd name="connsiteY39" fmla="*/ 1977 h 10007"/>
                <a:gd name="connsiteX40" fmla="*/ 477 w 10000"/>
                <a:gd name="connsiteY40" fmla="*/ 1713 h 10007"/>
                <a:gd name="connsiteX41" fmla="*/ 477 w 10000"/>
                <a:gd name="connsiteY41" fmla="*/ 915 h 10007"/>
                <a:gd name="connsiteX42" fmla="*/ 715 w 10000"/>
                <a:gd name="connsiteY42" fmla="*/ 127 h 10007"/>
                <a:gd name="connsiteX43" fmla="*/ 4777 w 10000"/>
                <a:gd name="connsiteY43" fmla="*/ 162 h 10007"/>
                <a:gd name="connsiteX44" fmla="*/ 8448 w 10000"/>
                <a:gd name="connsiteY44" fmla="*/ 0 h 10007"/>
                <a:gd name="connsiteX0" fmla="*/ 8448 w 10000"/>
                <a:gd name="connsiteY0" fmla="*/ 0 h 10007"/>
                <a:gd name="connsiteX1" fmla="*/ 8570 w 10000"/>
                <a:gd name="connsiteY1" fmla="*/ 375 h 10007"/>
                <a:gd name="connsiteX2" fmla="*/ 8682 w 10000"/>
                <a:gd name="connsiteY2" fmla="*/ 915 h 10007"/>
                <a:gd name="connsiteX3" fmla="*/ 8631 w 10000"/>
                <a:gd name="connsiteY3" fmla="*/ 1221 h 10007"/>
                <a:gd name="connsiteX4" fmla="*/ 8426 w 10000"/>
                <a:gd name="connsiteY4" fmla="*/ 1923 h 10007"/>
                <a:gd name="connsiteX5" fmla="*/ 8537 w 10000"/>
                <a:gd name="connsiteY5" fmla="*/ 2189 h 10007"/>
                <a:gd name="connsiteX6" fmla="*/ 8572 w 10000"/>
                <a:gd name="connsiteY6" fmla="*/ 2510 h 10007"/>
                <a:gd name="connsiteX7" fmla="*/ 8976 w 10000"/>
                <a:gd name="connsiteY7" fmla="*/ 3039 h 10007"/>
                <a:gd name="connsiteX8" fmla="*/ 9458 w 10000"/>
                <a:gd name="connsiteY8" fmla="*/ 3370 h 10007"/>
                <a:gd name="connsiteX9" fmla="*/ 9561 w 10000"/>
                <a:gd name="connsiteY9" fmla="*/ 3995 h 10007"/>
                <a:gd name="connsiteX10" fmla="*/ 9743 w 10000"/>
                <a:gd name="connsiteY10" fmla="*/ 4365 h 10007"/>
                <a:gd name="connsiteX11" fmla="*/ 9890 w 10000"/>
                <a:gd name="connsiteY11" fmla="*/ 4632 h 10007"/>
                <a:gd name="connsiteX12" fmla="*/ 10000 w 10000"/>
                <a:gd name="connsiteY12" fmla="*/ 5427 h 10007"/>
                <a:gd name="connsiteX13" fmla="*/ 9781 w 10000"/>
                <a:gd name="connsiteY13" fmla="*/ 5903 h 10007"/>
                <a:gd name="connsiteX14" fmla="*/ 9670 w 10000"/>
                <a:gd name="connsiteY14" fmla="*/ 6170 h 10007"/>
                <a:gd name="connsiteX15" fmla="*/ 9670 w 10000"/>
                <a:gd name="connsiteY15" fmla="*/ 6647 h 10007"/>
                <a:gd name="connsiteX16" fmla="*/ 9354 w 10000"/>
                <a:gd name="connsiteY16" fmla="*/ 7012 h 10007"/>
                <a:gd name="connsiteX17" fmla="*/ 8902 w 10000"/>
                <a:gd name="connsiteY17" fmla="*/ 6859 h 10007"/>
                <a:gd name="connsiteX18" fmla="*/ 8667 w 10000"/>
                <a:gd name="connsiteY18" fmla="*/ 6896 h 10007"/>
                <a:gd name="connsiteX19" fmla="*/ 8813 w 10000"/>
                <a:gd name="connsiteY19" fmla="*/ 7909 h 10007"/>
                <a:gd name="connsiteX20" fmla="*/ 8218 w 10000"/>
                <a:gd name="connsiteY20" fmla="*/ 8974 h 10007"/>
                <a:gd name="connsiteX21" fmla="*/ 8097 w 10000"/>
                <a:gd name="connsiteY21" fmla="*/ 9990 h 10007"/>
                <a:gd name="connsiteX22" fmla="*/ 7496 w 10000"/>
                <a:gd name="connsiteY22" fmla="*/ 9505 h 10007"/>
                <a:gd name="connsiteX23" fmla="*/ 3102 w 10000"/>
                <a:gd name="connsiteY23" fmla="*/ 9416 h 10007"/>
                <a:gd name="connsiteX24" fmla="*/ 1223 w 10000"/>
                <a:gd name="connsiteY24" fmla="*/ 9316 h 10007"/>
                <a:gd name="connsiteX25" fmla="*/ 1120 w 10000"/>
                <a:gd name="connsiteY25" fmla="*/ 8921 h 10007"/>
                <a:gd name="connsiteX26" fmla="*/ 1145 w 10000"/>
                <a:gd name="connsiteY26" fmla="*/ 8439 h 10007"/>
                <a:gd name="connsiteX27" fmla="*/ 1167 w 10000"/>
                <a:gd name="connsiteY27" fmla="*/ 8061 h 10007"/>
                <a:gd name="connsiteX28" fmla="*/ 1246 w 10000"/>
                <a:gd name="connsiteY28" fmla="*/ 7600 h 10007"/>
                <a:gd name="connsiteX29" fmla="*/ 1173 w 10000"/>
                <a:gd name="connsiteY29" fmla="*/ 7178 h 10007"/>
                <a:gd name="connsiteX30" fmla="*/ 1051 w 10000"/>
                <a:gd name="connsiteY30" fmla="*/ 6758 h 10007"/>
                <a:gd name="connsiteX31" fmla="*/ 1062 w 10000"/>
                <a:gd name="connsiteY31" fmla="*/ 6382 h 10007"/>
                <a:gd name="connsiteX32" fmla="*/ 1062 w 10000"/>
                <a:gd name="connsiteY32" fmla="*/ 6277 h 10007"/>
                <a:gd name="connsiteX33" fmla="*/ 838 w 10000"/>
                <a:gd name="connsiteY33" fmla="*/ 5455 h 10007"/>
                <a:gd name="connsiteX34" fmla="*/ 696 w 10000"/>
                <a:gd name="connsiteY34" fmla="*/ 4471 h 10007"/>
                <a:gd name="connsiteX35" fmla="*/ 543 w 10000"/>
                <a:gd name="connsiteY35" fmla="*/ 3858 h 10007"/>
                <a:gd name="connsiteX36" fmla="*/ 521 w 10000"/>
                <a:gd name="connsiteY36" fmla="*/ 3389 h 10007"/>
                <a:gd name="connsiteX37" fmla="*/ 0 w 10000"/>
                <a:gd name="connsiteY37" fmla="*/ 2563 h 10007"/>
                <a:gd name="connsiteX38" fmla="*/ 477 w 10000"/>
                <a:gd name="connsiteY38" fmla="*/ 1977 h 10007"/>
                <a:gd name="connsiteX39" fmla="*/ 477 w 10000"/>
                <a:gd name="connsiteY39" fmla="*/ 1713 h 10007"/>
                <a:gd name="connsiteX40" fmla="*/ 477 w 10000"/>
                <a:gd name="connsiteY40" fmla="*/ 915 h 10007"/>
                <a:gd name="connsiteX41" fmla="*/ 715 w 10000"/>
                <a:gd name="connsiteY41" fmla="*/ 127 h 10007"/>
                <a:gd name="connsiteX42" fmla="*/ 4777 w 10000"/>
                <a:gd name="connsiteY42" fmla="*/ 162 h 10007"/>
                <a:gd name="connsiteX43" fmla="*/ 8448 w 10000"/>
                <a:gd name="connsiteY43" fmla="*/ 0 h 10007"/>
                <a:gd name="connsiteX0" fmla="*/ 8448 w 10000"/>
                <a:gd name="connsiteY0" fmla="*/ 0 h 9505"/>
                <a:gd name="connsiteX1" fmla="*/ 8570 w 10000"/>
                <a:gd name="connsiteY1" fmla="*/ 375 h 9505"/>
                <a:gd name="connsiteX2" fmla="*/ 8682 w 10000"/>
                <a:gd name="connsiteY2" fmla="*/ 915 h 9505"/>
                <a:gd name="connsiteX3" fmla="*/ 8631 w 10000"/>
                <a:gd name="connsiteY3" fmla="*/ 1221 h 9505"/>
                <a:gd name="connsiteX4" fmla="*/ 8426 w 10000"/>
                <a:gd name="connsiteY4" fmla="*/ 1923 h 9505"/>
                <a:gd name="connsiteX5" fmla="*/ 8537 w 10000"/>
                <a:gd name="connsiteY5" fmla="*/ 2189 h 9505"/>
                <a:gd name="connsiteX6" fmla="*/ 8572 w 10000"/>
                <a:gd name="connsiteY6" fmla="*/ 2510 h 9505"/>
                <a:gd name="connsiteX7" fmla="*/ 8976 w 10000"/>
                <a:gd name="connsiteY7" fmla="*/ 3039 h 9505"/>
                <a:gd name="connsiteX8" fmla="*/ 9458 w 10000"/>
                <a:gd name="connsiteY8" fmla="*/ 3370 h 9505"/>
                <a:gd name="connsiteX9" fmla="*/ 9561 w 10000"/>
                <a:gd name="connsiteY9" fmla="*/ 3995 h 9505"/>
                <a:gd name="connsiteX10" fmla="*/ 9743 w 10000"/>
                <a:gd name="connsiteY10" fmla="*/ 4365 h 9505"/>
                <a:gd name="connsiteX11" fmla="*/ 9890 w 10000"/>
                <a:gd name="connsiteY11" fmla="*/ 4632 h 9505"/>
                <a:gd name="connsiteX12" fmla="*/ 10000 w 10000"/>
                <a:gd name="connsiteY12" fmla="*/ 5427 h 9505"/>
                <a:gd name="connsiteX13" fmla="*/ 9781 w 10000"/>
                <a:gd name="connsiteY13" fmla="*/ 5903 h 9505"/>
                <a:gd name="connsiteX14" fmla="*/ 9670 w 10000"/>
                <a:gd name="connsiteY14" fmla="*/ 6170 h 9505"/>
                <a:gd name="connsiteX15" fmla="*/ 9670 w 10000"/>
                <a:gd name="connsiteY15" fmla="*/ 6647 h 9505"/>
                <a:gd name="connsiteX16" fmla="*/ 9354 w 10000"/>
                <a:gd name="connsiteY16" fmla="*/ 7012 h 9505"/>
                <a:gd name="connsiteX17" fmla="*/ 8902 w 10000"/>
                <a:gd name="connsiteY17" fmla="*/ 6859 h 9505"/>
                <a:gd name="connsiteX18" fmla="*/ 8667 w 10000"/>
                <a:gd name="connsiteY18" fmla="*/ 6896 h 9505"/>
                <a:gd name="connsiteX19" fmla="*/ 8813 w 10000"/>
                <a:gd name="connsiteY19" fmla="*/ 7909 h 9505"/>
                <a:gd name="connsiteX20" fmla="*/ 8218 w 10000"/>
                <a:gd name="connsiteY20" fmla="*/ 8974 h 9505"/>
                <a:gd name="connsiteX21" fmla="*/ 7496 w 10000"/>
                <a:gd name="connsiteY21" fmla="*/ 9505 h 9505"/>
                <a:gd name="connsiteX22" fmla="*/ 3102 w 10000"/>
                <a:gd name="connsiteY22" fmla="*/ 9416 h 9505"/>
                <a:gd name="connsiteX23" fmla="*/ 1223 w 10000"/>
                <a:gd name="connsiteY23" fmla="*/ 9316 h 9505"/>
                <a:gd name="connsiteX24" fmla="*/ 1120 w 10000"/>
                <a:gd name="connsiteY24" fmla="*/ 8921 h 9505"/>
                <a:gd name="connsiteX25" fmla="*/ 1145 w 10000"/>
                <a:gd name="connsiteY25" fmla="*/ 8439 h 9505"/>
                <a:gd name="connsiteX26" fmla="*/ 1167 w 10000"/>
                <a:gd name="connsiteY26" fmla="*/ 8061 h 9505"/>
                <a:gd name="connsiteX27" fmla="*/ 1246 w 10000"/>
                <a:gd name="connsiteY27" fmla="*/ 7600 h 9505"/>
                <a:gd name="connsiteX28" fmla="*/ 1173 w 10000"/>
                <a:gd name="connsiteY28" fmla="*/ 7178 h 9505"/>
                <a:gd name="connsiteX29" fmla="*/ 1051 w 10000"/>
                <a:gd name="connsiteY29" fmla="*/ 6758 h 9505"/>
                <a:gd name="connsiteX30" fmla="*/ 1062 w 10000"/>
                <a:gd name="connsiteY30" fmla="*/ 6382 h 9505"/>
                <a:gd name="connsiteX31" fmla="*/ 1062 w 10000"/>
                <a:gd name="connsiteY31" fmla="*/ 6277 h 9505"/>
                <a:gd name="connsiteX32" fmla="*/ 838 w 10000"/>
                <a:gd name="connsiteY32" fmla="*/ 5455 h 9505"/>
                <a:gd name="connsiteX33" fmla="*/ 696 w 10000"/>
                <a:gd name="connsiteY33" fmla="*/ 4471 h 9505"/>
                <a:gd name="connsiteX34" fmla="*/ 543 w 10000"/>
                <a:gd name="connsiteY34" fmla="*/ 3858 h 9505"/>
                <a:gd name="connsiteX35" fmla="*/ 521 w 10000"/>
                <a:gd name="connsiteY35" fmla="*/ 3389 h 9505"/>
                <a:gd name="connsiteX36" fmla="*/ 0 w 10000"/>
                <a:gd name="connsiteY36" fmla="*/ 2563 h 9505"/>
                <a:gd name="connsiteX37" fmla="*/ 477 w 10000"/>
                <a:gd name="connsiteY37" fmla="*/ 1977 h 9505"/>
                <a:gd name="connsiteX38" fmla="*/ 477 w 10000"/>
                <a:gd name="connsiteY38" fmla="*/ 1713 h 9505"/>
                <a:gd name="connsiteX39" fmla="*/ 477 w 10000"/>
                <a:gd name="connsiteY39" fmla="*/ 915 h 9505"/>
                <a:gd name="connsiteX40" fmla="*/ 715 w 10000"/>
                <a:gd name="connsiteY40" fmla="*/ 127 h 9505"/>
                <a:gd name="connsiteX41" fmla="*/ 4777 w 10000"/>
                <a:gd name="connsiteY41" fmla="*/ 162 h 9505"/>
                <a:gd name="connsiteX42" fmla="*/ 8448 w 10000"/>
                <a:gd name="connsiteY42" fmla="*/ 0 h 9505"/>
                <a:gd name="connsiteX0" fmla="*/ 8448 w 10000"/>
                <a:gd name="connsiteY0" fmla="*/ 0 h 10000"/>
                <a:gd name="connsiteX1" fmla="*/ 8570 w 10000"/>
                <a:gd name="connsiteY1" fmla="*/ 395 h 10000"/>
                <a:gd name="connsiteX2" fmla="*/ 8682 w 10000"/>
                <a:gd name="connsiteY2" fmla="*/ 963 h 10000"/>
                <a:gd name="connsiteX3" fmla="*/ 8631 w 10000"/>
                <a:gd name="connsiteY3" fmla="*/ 1285 h 10000"/>
                <a:gd name="connsiteX4" fmla="*/ 8426 w 10000"/>
                <a:gd name="connsiteY4" fmla="*/ 2023 h 10000"/>
                <a:gd name="connsiteX5" fmla="*/ 8537 w 10000"/>
                <a:gd name="connsiteY5" fmla="*/ 2303 h 10000"/>
                <a:gd name="connsiteX6" fmla="*/ 8572 w 10000"/>
                <a:gd name="connsiteY6" fmla="*/ 2641 h 10000"/>
                <a:gd name="connsiteX7" fmla="*/ 8976 w 10000"/>
                <a:gd name="connsiteY7" fmla="*/ 3197 h 10000"/>
                <a:gd name="connsiteX8" fmla="*/ 9458 w 10000"/>
                <a:gd name="connsiteY8" fmla="*/ 3546 h 10000"/>
                <a:gd name="connsiteX9" fmla="*/ 9561 w 10000"/>
                <a:gd name="connsiteY9" fmla="*/ 4203 h 10000"/>
                <a:gd name="connsiteX10" fmla="*/ 9743 w 10000"/>
                <a:gd name="connsiteY10" fmla="*/ 4592 h 10000"/>
                <a:gd name="connsiteX11" fmla="*/ 9890 w 10000"/>
                <a:gd name="connsiteY11" fmla="*/ 4873 h 10000"/>
                <a:gd name="connsiteX12" fmla="*/ 10000 w 10000"/>
                <a:gd name="connsiteY12" fmla="*/ 5710 h 10000"/>
                <a:gd name="connsiteX13" fmla="*/ 9781 w 10000"/>
                <a:gd name="connsiteY13" fmla="*/ 6210 h 10000"/>
                <a:gd name="connsiteX14" fmla="*/ 9670 w 10000"/>
                <a:gd name="connsiteY14" fmla="*/ 6491 h 10000"/>
                <a:gd name="connsiteX15" fmla="*/ 9670 w 10000"/>
                <a:gd name="connsiteY15" fmla="*/ 6993 h 10000"/>
                <a:gd name="connsiteX16" fmla="*/ 9354 w 10000"/>
                <a:gd name="connsiteY16" fmla="*/ 7377 h 10000"/>
                <a:gd name="connsiteX17" fmla="*/ 8902 w 10000"/>
                <a:gd name="connsiteY17" fmla="*/ 7216 h 10000"/>
                <a:gd name="connsiteX18" fmla="*/ 8667 w 10000"/>
                <a:gd name="connsiteY18" fmla="*/ 7255 h 10000"/>
                <a:gd name="connsiteX19" fmla="*/ 8813 w 10000"/>
                <a:gd name="connsiteY19" fmla="*/ 8321 h 10000"/>
                <a:gd name="connsiteX20" fmla="*/ 8218 w 10000"/>
                <a:gd name="connsiteY20" fmla="*/ 9441 h 10000"/>
                <a:gd name="connsiteX21" fmla="*/ 7965 w 10000"/>
                <a:gd name="connsiteY21" fmla="*/ 9894 h 10000"/>
                <a:gd name="connsiteX22" fmla="*/ 7496 w 10000"/>
                <a:gd name="connsiteY22" fmla="*/ 10000 h 10000"/>
                <a:gd name="connsiteX23" fmla="*/ 3102 w 10000"/>
                <a:gd name="connsiteY23" fmla="*/ 9906 h 10000"/>
                <a:gd name="connsiteX24" fmla="*/ 1223 w 10000"/>
                <a:gd name="connsiteY24" fmla="*/ 9801 h 10000"/>
                <a:gd name="connsiteX25" fmla="*/ 1120 w 10000"/>
                <a:gd name="connsiteY25" fmla="*/ 9386 h 10000"/>
                <a:gd name="connsiteX26" fmla="*/ 1145 w 10000"/>
                <a:gd name="connsiteY26" fmla="*/ 8878 h 10000"/>
                <a:gd name="connsiteX27" fmla="*/ 1167 w 10000"/>
                <a:gd name="connsiteY27" fmla="*/ 8481 h 10000"/>
                <a:gd name="connsiteX28" fmla="*/ 1246 w 10000"/>
                <a:gd name="connsiteY28" fmla="*/ 7996 h 10000"/>
                <a:gd name="connsiteX29" fmla="*/ 1173 w 10000"/>
                <a:gd name="connsiteY29" fmla="*/ 7552 h 10000"/>
                <a:gd name="connsiteX30" fmla="*/ 1051 w 10000"/>
                <a:gd name="connsiteY30" fmla="*/ 7110 h 10000"/>
                <a:gd name="connsiteX31" fmla="*/ 1062 w 10000"/>
                <a:gd name="connsiteY31" fmla="*/ 6714 h 10000"/>
                <a:gd name="connsiteX32" fmla="*/ 1062 w 10000"/>
                <a:gd name="connsiteY32" fmla="*/ 6604 h 10000"/>
                <a:gd name="connsiteX33" fmla="*/ 838 w 10000"/>
                <a:gd name="connsiteY33" fmla="*/ 5739 h 10000"/>
                <a:gd name="connsiteX34" fmla="*/ 696 w 10000"/>
                <a:gd name="connsiteY34" fmla="*/ 4704 h 10000"/>
                <a:gd name="connsiteX35" fmla="*/ 543 w 10000"/>
                <a:gd name="connsiteY35" fmla="*/ 4059 h 10000"/>
                <a:gd name="connsiteX36" fmla="*/ 521 w 10000"/>
                <a:gd name="connsiteY36" fmla="*/ 3565 h 10000"/>
                <a:gd name="connsiteX37" fmla="*/ 0 w 10000"/>
                <a:gd name="connsiteY37" fmla="*/ 2696 h 10000"/>
                <a:gd name="connsiteX38" fmla="*/ 477 w 10000"/>
                <a:gd name="connsiteY38" fmla="*/ 2080 h 10000"/>
                <a:gd name="connsiteX39" fmla="*/ 477 w 10000"/>
                <a:gd name="connsiteY39" fmla="*/ 1802 h 10000"/>
                <a:gd name="connsiteX40" fmla="*/ 477 w 10000"/>
                <a:gd name="connsiteY40" fmla="*/ 963 h 10000"/>
                <a:gd name="connsiteX41" fmla="*/ 715 w 10000"/>
                <a:gd name="connsiteY41" fmla="*/ 134 h 10000"/>
                <a:gd name="connsiteX42" fmla="*/ 4777 w 10000"/>
                <a:gd name="connsiteY42" fmla="*/ 170 h 10000"/>
                <a:gd name="connsiteX43" fmla="*/ 8448 w 10000"/>
                <a:gd name="connsiteY43" fmla="*/ 0 h 10000"/>
                <a:gd name="connsiteX0" fmla="*/ 8448 w 10000"/>
                <a:gd name="connsiteY0" fmla="*/ 0 h 10603"/>
                <a:gd name="connsiteX1" fmla="*/ 8570 w 10000"/>
                <a:gd name="connsiteY1" fmla="*/ 395 h 10603"/>
                <a:gd name="connsiteX2" fmla="*/ 8682 w 10000"/>
                <a:gd name="connsiteY2" fmla="*/ 963 h 10603"/>
                <a:gd name="connsiteX3" fmla="*/ 8631 w 10000"/>
                <a:gd name="connsiteY3" fmla="*/ 1285 h 10603"/>
                <a:gd name="connsiteX4" fmla="*/ 8426 w 10000"/>
                <a:gd name="connsiteY4" fmla="*/ 2023 h 10603"/>
                <a:gd name="connsiteX5" fmla="*/ 8537 w 10000"/>
                <a:gd name="connsiteY5" fmla="*/ 2303 h 10603"/>
                <a:gd name="connsiteX6" fmla="*/ 8572 w 10000"/>
                <a:gd name="connsiteY6" fmla="*/ 2641 h 10603"/>
                <a:gd name="connsiteX7" fmla="*/ 8976 w 10000"/>
                <a:gd name="connsiteY7" fmla="*/ 3197 h 10603"/>
                <a:gd name="connsiteX8" fmla="*/ 9458 w 10000"/>
                <a:gd name="connsiteY8" fmla="*/ 3546 h 10603"/>
                <a:gd name="connsiteX9" fmla="*/ 9561 w 10000"/>
                <a:gd name="connsiteY9" fmla="*/ 4203 h 10603"/>
                <a:gd name="connsiteX10" fmla="*/ 9743 w 10000"/>
                <a:gd name="connsiteY10" fmla="*/ 4592 h 10603"/>
                <a:gd name="connsiteX11" fmla="*/ 9890 w 10000"/>
                <a:gd name="connsiteY11" fmla="*/ 4873 h 10603"/>
                <a:gd name="connsiteX12" fmla="*/ 10000 w 10000"/>
                <a:gd name="connsiteY12" fmla="*/ 5710 h 10603"/>
                <a:gd name="connsiteX13" fmla="*/ 9781 w 10000"/>
                <a:gd name="connsiteY13" fmla="*/ 6210 h 10603"/>
                <a:gd name="connsiteX14" fmla="*/ 9670 w 10000"/>
                <a:gd name="connsiteY14" fmla="*/ 6491 h 10603"/>
                <a:gd name="connsiteX15" fmla="*/ 9670 w 10000"/>
                <a:gd name="connsiteY15" fmla="*/ 6993 h 10603"/>
                <a:gd name="connsiteX16" fmla="*/ 9354 w 10000"/>
                <a:gd name="connsiteY16" fmla="*/ 7377 h 10603"/>
                <a:gd name="connsiteX17" fmla="*/ 8902 w 10000"/>
                <a:gd name="connsiteY17" fmla="*/ 7216 h 10603"/>
                <a:gd name="connsiteX18" fmla="*/ 8667 w 10000"/>
                <a:gd name="connsiteY18" fmla="*/ 7255 h 10603"/>
                <a:gd name="connsiteX19" fmla="*/ 8813 w 10000"/>
                <a:gd name="connsiteY19" fmla="*/ 8321 h 10603"/>
                <a:gd name="connsiteX20" fmla="*/ 8218 w 10000"/>
                <a:gd name="connsiteY20" fmla="*/ 9441 h 10603"/>
                <a:gd name="connsiteX21" fmla="*/ 8143 w 10000"/>
                <a:gd name="connsiteY21" fmla="*/ 10595 h 10603"/>
                <a:gd name="connsiteX22" fmla="*/ 7496 w 10000"/>
                <a:gd name="connsiteY22" fmla="*/ 10000 h 10603"/>
                <a:gd name="connsiteX23" fmla="*/ 3102 w 10000"/>
                <a:gd name="connsiteY23" fmla="*/ 9906 h 10603"/>
                <a:gd name="connsiteX24" fmla="*/ 1223 w 10000"/>
                <a:gd name="connsiteY24" fmla="*/ 9801 h 10603"/>
                <a:gd name="connsiteX25" fmla="*/ 1120 w 10000"/>
                <a:gd name="connsiteY25" fmla="*/ 9386 h 10603"/>
                <a:gd name="connsiteX26" fmla="*/ 1145 w 10000"/>
                <a:gd name="connsiteY26" fmla="*/ 8878 h 10603"/>
                <a:gd name="connsiteX27" fmla="*/ 1167 w 10000"/>
                <a:gd name="connsiteY27" fmla="*/ 8481 h 10603"/>
                <a:gd name="connsiteX28" fmla="*/ 1246 w 10000"/>
                <a:gd name="connsiteY28" fmla="*/ 7996 h 10603"/>
                <a:gd name="connsiteX29" fmla="*/ 1173 w 10000"/>
                <a:gd name="connsiteY29" fmla="*/ 7552 h 10603"/>
                <a:gd name="connsiteX30" fmla="*/ 1051 w 10000"/>
                <a:gd name="connsiteY30" fmla="*/ 7110 h 10603"/>
                <a:gd name="connsiteX31" fmla="*/ 1062 w 10000"/>
                <a:gd name="connsiteY31" fmla="*/ 6714 h 10603"/>
                <a:gd name="connsiteX32" fmla="*/ 1062 w 10000"/>
                <a:gd name="connsiteY32" fmla="*/ 6604 h 10603"/>
                <a:gd name="connsiteX33" fmla="*/ 838 w 10000"/>
                <a:gd name="connsiteY33" fmla="*/ 5739 h 10603"/>
                <a:gd name="connsiteX34" fmla="*/ 696 w 10000"/>
                <a:gd name="connsiteY34" fmla="*/ 4704 h 10603"/>
                <a:gd name="connsiteX35" fmla="*/ 543 w 10000"/>
                <a:gd name="connsiteY35" fmla="*/ 4059 h 10603"/>
                <a:gd name="connsiteX36" fmla="*/ 521 w 10000"/>
                <a:gd name="connsiteY36" fmla="*/ 3565 h 10603"/>
                <a:gd name="connsiteX37" fmla="*/ 0 w 10000"/>
                <a:gd name="connsiteY37" fmla="*/ 2696 h 10603"/>
                <a:gd name="connsiteX38" fmla="*/ 477 w 10000"/>
                <a:gd name="connsiteY38" fmla="*/ 2080 h 10603"/>
                <a:gd name="connsiteX39" fmla="*/ 477 w 10000"/>
                <a:gd name="connsiteY39" fmla="*/ 1802 h 10603"/>
                <a:gd name="connsiteX40" fmla="*/ 477 w 10000"/>
                <a:gd name="connsiteY40" fmla="*/ 963 h 10603"/>
                <a:gd name="connsiteX41" fmla="*/ 715 w 10000"/>
                <a:gd name="connsiteY41" fmla="*/ 134 h 10603"/>
                <a:gd name="connsiteX42" fmla="*/ 4777 w 10000"/>
                <a:gd name="connsiteY42" fmla="*/ 170 h 10603"/>
                <a:gd name="connsiteX43" fmla="*/ 8448 w 10000"/>
                <a:gd name="connsiteY43" fmla="*/ 0 h 10603"/>
                <a:gd name="connsiteX0" fmla="*/ 8448 w 10000"/>
                <a:gd name="connsiteY0" fmla="*/ 0 h 10603"/>
                <a:gd name="connsiteX1" fmla="*/ 8570 w 10000"/>
                <a:gd name="connsiteY1" fmla="*/ 395 h 10603"/>
                <a:gd name="connsiteX2" fmla="*/ 8682 w 10000"/>
                <a:gd name="connsiteY2" fmla="*/ 963 h 10603"/>
                <a:gd name="connsiteX3" fmla="*/ 8631 w 10000"/>
                <a:gd name="connsiteY3" fmla="*/ 1285 h 10603"/>
                <a:gd name="connsiteX4" fmla="*/ 8426 w 10000"/>
                <a:gd name="connsiteY4" fmla="*/ 2023 h 10603"/>
                <a:gd name="connsiteX5" fmla="*/ 8537 w 10000"/>
                <a:gd name="connsiteY5" fmla="*/ 2303 h 10603"/>
                <a:gd name="connsiteX6" fmla="*/ 8572 w 10000"/>
                <a:gd name="connsiteY6" fmla="*/ 2641 h 10603"/>
                <a:gd name="connsiteX7" fmla="*/ 8976 w 10000"/>
                <a:gd name="connsiteY7" fmla="*/ 3197 h 10603"/>
                <a:gd name="connsiteX8" fmla="*/ 9458 w 10000"/>
                <a:gd name="connsiteY8" fmla="*/ 3546 h 10603"/>
                <a:gd name="connsiteX9" fmla="*/ 9561 w 10000"/>
                <a:gd name="connsiteY9" fmla="*/ 4203 h 10603"/>
                <a:gd name="connsiteX10" fmla="*/ 9743 w 10000"/>
                <a:gd name="connsiteY10" fmla="*/ 4592 h 10603"/>
                <a:gd name="connsiteX11" fmla="*/ 9890 w 10000"/>
                <a:gd name="connsiteY11" fmla="*/ 4873 h 10603"/>
                <a:gd name="connsiteX12" fmla="*/ 10000 w 10000"/>
                <a:gd name="connsiteY12" fmla="*/ 5710 h 10603"/>
                <a:gd name="connsiteX13" fmla="*/ 9781 w 10000"/>
                <a:gd name="connsiteY13" fmla="*/ 6210 h 10603"/>
                <a:gd name="connsiteX14" fmla="*/ 9670 w 10000"/>
                <a:gd name="connsiteY14" fmla="*/ 6491 h 10603"/>
                <a:gd name="connsiteX15" fmla="*/ 9670 w 10000"/>
                <a:gd name="connsiteY15" fmla="*/ 6993 h 10603"/>
                <a:gd name="connsiteX16" fmla="*/ 9354 w 10000"/>
                <a:gd name="connsiteY16" fmla="*/ 7377 h 10603"/>
                <a:gd name="connsiteX17" fmla="*/ 8902 w 10000"/>
                <a:gd name="connsiteY17" fmla="*/ 7216 h 10603"/>
                <a:gd name="connsiteX18" fmla="*/ 8667 w 10000"/>
                <a:gd name="connsiteY18" fmla="*/ 7255 h 10603"/>
                <a:gd name="connsiteX19" fmla="*/ 8813 w 10000"/>
                <a:gd name="connsiteY19" fmla="*/ 8321 h 10603"/>
                <a:gd name="connsiteX20" fmla="*/ 8218 w 10000"/>
                <a:gd name="connsiteY20" fmla="*/ 9441 h 10603"/>
                <a:gd name="connsiteX21" fmla="*/ 8143 w 10000"/>
                <a:gd name="connsiteY21" fmla="*/ 10595 h 10603"/>
                <a:gd name="connsiteX22" fmla="*/ 7496 w 10000"/>
                <a:gd name="connsiteY22" fmla="*/ 10000 h 10603"/>
                <a:gd name="connsiteX23" fmla="*/ 3102 w 10000"/>
                <a:gd name="connsiteY23" fmla="*/ 9906 h 10603"/>
                <a:gd name="connsiteX24" fmla="*/ 1223 w 10000"/>
                <a:gd name="connsiteY24" fmla="*/ 9801 h 10603"/>
                <a:gd name="connsiteX25" fmla="*/ 1120 w 10000"/>
                <a:gd name="connsiteY25" fmla="*/ 9386 h 10603"/>
                <a:gd name="connsiteX26" fmla="*/ 1145 w 10000"/>
                <a:gd name="connsiteY26" fmla="*/ 8878 h 10603"/>
                <a:gd name="connsiteX27" fmla="*/ 1167 w 10000"/>
                <a:gd name="connsiteY27" fmla="*/ 8481 h 10603"/>
                <a:gd name="connsiteX28" fmla="*/ 1246 w 10000"/>
                <a:gd name="connsiteY28" fmla="*/ 7996 h 10603"/>
                <a:gd name="connsiteX29" fmla="*/ 1173 w 10000"/>
                <a:gd name="connsiteY29" fmla="*/ 7552 h 10603"/>
                <a:gd name="connsiteX30" fmla="*/ 1051 w 10000"/>
                <a:gd name="connsiteY30" fmla="*/ 7110 h 10603"/>
                <a:gd name="connsiteX31" fmla="*/ 1062 w 10000"/>
                <a:gd name="connsiteY31" fmla="*/ 6714 h 10603"/>
                <a:gd name="connsiteX32" fmla="*/ 1062 w 10000"/>
                <a:gd name="connsiteY32" fmla="*/ 6604 h 10603"/>
                <a:gd name="connsiteX33" fmla="*/ 838 w 10000"/>
                <a:gd name="connsiteY33" fmla="*/ 5739 h 10603"/>
                <a:gd name="connsiteX34" fmla="*/ 696 w 10000"/>
                <a:gd name="connsiteY34" fmla="*/ 4704 h 10603"/>
                <a:gd name="connsiteX35" fmla="*/ 543 w 10000"/>
                <a:gd name="connsiteY35" fmla="*/ 4059 h 10603"/>
                <a:gd name="connsiteX36" fmla="*/ 521 w 10000"/>
                <a:gd name="connsiteY36" fmla="*/ 3565 h 10603"/>
                <a:gd name="connsiteX37" fmla="*/ 0 w 10000"/>
                <a:gd name="connsiteY37" fmla="*/ 2696 h 10603"/>
                <a:gd name="connsiteX38" fmla="*/ 477 w 10000"/>
                <a:gd name="connsiteY38" fmla="*/ 2080 h 10603"/>
                <a:gd name="connsiteX39" fmla="*/ 477 w 10000"/>
                <a:gd name="connsiteY39" fmla="*/ 1802 h 10603"/>
                <a:gd name="connsiteX40" fmla="*/ 477 w 10000"/>
                <a:gd name="connsiteY40" fmla="*/ 963 h 10603"/>
                <a:gd name="connsiteX41" fmla="*/ 715 w 10000"/>
                <a:gd name="connsiteY41" fmla="*/ 134 h 10603"/>
                <a:gd name="connsiteX42" fmla="*/ 4777 w 10000"/>
                <a:gd name="connsiteY42" fmla="*/ 170 h 10603"/>
                <a:gd name="connsiteX43" fmla="*/ 8448 w 10000"/>
                <a:gd name="connsiteY43" fmla="*/ 0 h 10603"/>
                <a:gd name="connsiteX0" fmla="*/ 8448 w 10000"/>
                <a:gd name="connsiteY0" fmla="*/ 0 h 10614"/>
                <a:gd name="connsiteX1" fmla="*/ 8570 w 10000"/>
                <a:gd name="connsiteY1" fmla="*/ 395 h 10614"/>
                <a:gd name="connsiteX2" fmla="*/ 8682 w 10000"/>
                <a:gd name="connsiteY2" fmla="*/ 963 h 10614"/>
                <a:gd name="connsiteX3" fmla="*/ 8631 w 10000"/>
                <a:gd name="connsiteY3" fmla="*/ 1285 h 10614"/>
                <a:gd name="connsiteX4" fmla="*/ 8426 w 10000"/>
                <a:gd name="connsiteY4" fmla="*/ 2023 h 10614"/>
                <a:gd name="connsiteX5" fmla="*/ 8537 w 10000"/>
                <a:gd name="connsiteY5" fmla="*/ 2303 h 10614"/>
                <a:gd name="connsiteX6" fmla="*/ 8572 w 10000"/>
                <a:gd name="connsiteY6" fmla="*/ 2641 h 10614"/>
                <a:gd name="connsiteX7" fmla="*/ 8976 w 10000"/>
                <a:gd name="connsiteY7" fmla="*/ 3197 h 10614"/>
                <a:gd name="connsiteX8" fmla="*/ 9458 w 10000"/>
                <a:gd name="connsiteY8" fmla="*/ 3546 h 10614"/>
                <a:gd name="connsiteX9" fmla="*/ 9561 w 10000"/>
                <a:gd name="connsiteY9" fmla="*/ 4203 h 10614"/>
                <a:gd name="connsiteX10" fmla="*/ 9743 w 10000"/>
                <a:gd name="connsiteY10" fmla="*/ 4592 h 10614"/>
                <a:gd name="connsiteX11" fmla="*/ 9890 w 10000"/>
                <a:gd name="connsiteY11" fmla="*/ 4873 h 10614"/>
                <a:gd name="connsiteX12" fmla="*/ 10000 w 10000"/>
                <a:gd name="connsiteY12" fmla="*/ 5710 h 10614"/>
                <a:gd name="connsiteX13" fmla="*/ 9781 w 10000"/>
                <a:gd name="connsiteY13" fmla="*/ 6210 h 10614"/>
                <a:gd name="connsiteX14" fmla="*/ 9670 w 10000"/>
                <a:gd name="connsiteY14" fmla="*/ 6491 h 10614"/>
                <a:gd name="connsiteX15" fmla="*/ 9670 w 10000"/>
                <a:gd name="connsiteY15" fmla="*/ 6993 h 10614"/>
                <a:gd name="connsiteX16" fmla="*/ 9354 w 10000"/>
                <a:gd name="connsiteY16" fmla="*/ 7377 h 10614"/>
                <a:gd name="connsiteX17" fmla="*/ 8902 w 10000"/>
                <a:gd name="connsiteY17" fmla="*/ 7216 h 10614"/>
                <a:gd name="connsiteX18" fmla="*/ 8667 w 10000"/>
                <a:gd name="connsiteY18" fmla="*/ 7255 h 10614"/>
                <a:gd name="connsiteX19" fmla="*/ 8813 w 10000"/>
                <a:gd name="connsiteY19" fmla="*/ 8321 h 10614"/>
                <a:gd name="connsiteX20" fmla="*/ 8218 w 10000"/>
                <a:gd name="connsiteY20" fmla="*/ 9441 h 10614"/>
                <a:gd name="connsiteX21" fmla="*/ 8143 w 10000"/>
                <a:gd name="connsiteY21" fmla="*/ 10595 h 10614"/>
                <a:gd name="connsiteX22" fmla="*/ 7496 w 10000"/>
                <a:gd name="connsiteY22" fmla="*/ 10000 h 10614"/>
                <a:gd name="connsiteX23" fmla="*/ 3102 w 10000"/>
                <a:gd name="connsiteY23" fmla="*/ 9906 h 10614"/>
                <a:gd name="connsiteX24" fmla="*/ 1223 w 10000"/>
                <a:gd name="connsiteY24" fmla="*/ 9801 h 10614"/>
                <a:gd name="connsiteX25" fmla="*/ 1120 w 10000"/>
                <a:gd name="connsiteY25" fmla="*/ 9386 h 10614"/>
                <a:gd name="connsiteX26" fmla="*/ 1145 w 10000"/>
                <a:gd name="connsiteY26" fmla="*/ 8878 h 10614"/>
                <a:gd name="connsiteX27" fmla="*/ 1167 w 10000"/>
                <a:gd name="connsiteY27" fmla="*/ 8481 h 10614"/>
                <a:gd name="connsiteX28" fmla="*/ 1246 w 10000"/>
                <a:gd name="connsiteY28" fmla="*/ 7996 h 10614"/>
                <a:gd name="connsiteX29" fmla="*/ 1173 w 10000"/>
                <a:gd name="connsiteY29" fmla="*/ 7552 h 10614"/>
                <a:gd name="connsiteX30" fmla="*/ 1051 w 10000"/>
                <a:gd name="connsiteY30" fmla="*/ 7110 h 10614"/>
                <a:gd name="connsiteX31" fmla="*/ 1062 w 10000"/>
                <a:gd name="connsiteY31" fmla="*/ 6714 h 10614"/>
                <a:gd name="connsiteX32" fmla="*/ 1062 w 10000"/>
                <a:gd name="connsiteY32" fmla="*/ 6604 h 10614"/>
                <a:gd name="connsiteX33" fmla="*/ 838 w 10000"/>
                <a:gd name="connsiteY33" fmla="*/ 5739 h 10614"/>
                <a:gd name="connsiteX34" fmla="*/ 696 w 10000"/>
                <a:gd name="connsiteY34" fmla="*/ 4704 h 10614"/>
                <a:gd name="connsiteX35" fmla="*/ 543 w 10000"/>
                <a:gd name="connsiteY35" fmla="*/ 4059 h 10614"/>
                <a:gd name="connsiteX36" fmla="*/ 521 w 10000"/>
                <a:gd name="connsiteY36" fmla="*/ 3565 h 10614"/>
                <a:gd name="connsiteX37" fmla="*/ 0 w 10000"/>
                <a:gd name="connsiteY37" fmla="*/ 2696 h 10614"/>
                <a:gd name="connsiteX38" fmla="*/ 477 w 10000"/>
                <a:gd name="connsiteY38" fmla="*/ 2080 h 10614"/>
                <a:gd name="connsiteX39" fmla="*/ 477 w 10000"/>
                <a:gd name="connsiteY39" fmla="*/ 1802 h 10614"/>
                <a:gd name="connsiteX40" fmla="*/ 477 w 10000"/>
                <a:gd name="connsiteY40" fmla="*/ 963 h 10614"/>
                <a:gd name="connsiteX41" fmla="*/ 715 w 10000"/>
                <a:gd name="connsiteY41" fmla="*/ 134 h 10614"/>
                <a:gd name="connsiteX42" fmla="*/ 4777 w 10000"/>
                <a:gd name="connsiteY42" fmla="*/ 170 h 10614"/>
                <a:gd name="connsiteX43" fmla="*/ 8448 w 10000"/>
                <a:gd name="connsiteY43" fmla="*/ 0 h 10614"/>
                <a:gd name="connsiteX0" fmla="*/ 8448 w 10000"/>
                <a:gd name="connsiteY0" fmla="*/ 0 h 10614"/>
                <a:gd name="connsiteX1" fmla="*/ 8570 w 10000"/>
                <a:gd name="connsiteY1" fmla="*/ 395 h 10614"/>
                <a:gd name="connsiteX2" fmla="*/ 8682 w 10000"/>
                <a:gd name="connsiteY2" fmla="*/ 963 h 10614"/>
                <a:gd name="connsiteX3" fmla="*/ 8631 w 10000"/>
                <a:gd name="connsiteY3" fmla="*/ 1285 h 10614"/>
                <a:gd name="connsiteX4" fmla="*/ 8426 w 10000"/>
                <a:gd name="connsiteY4" fmla="*/ 2023 h 10614"/>
                <a:gd name="connsiteX5" fmla="*/ 8537 w 10000"/>
                <a:gd name="connsiteY5" fmla="*/ 2303 h 10614"/>
                <a:gd name="connsiteX6" fmla="*/ 8572 w 10000"/>
                <a:gd name="connsiteY6" fmla="*/ 2641 h 10614"/>
                <a:gd name="connsiteX7" fmla="*/ 8976 w 10000"/>
                <a:gd name="connsiteY7" fmla="*/ 3197 h 10614"/>
                <a:gd name="connsiteX8" fmla="*/ 9458 w 10000"/>
                <a:gd name="connsiteY8" fmla="*/ 3546 h 10614"/>
                <a:gd name="connsiteX9" fmla="*/ 9561 w 10000"/>
                <a:gd name="connsiteY9" fmla="*/ 4203 h 10614"/>
                <a:gd name="connsiteX10" fmla="*/ 9743 w 10000"/>
                <a:gd name="connsiteY10" fmla="*/ 4592 h 10614"/>
                <a:gd name="connsiteX11" fmla="*/ 9890 w 10000"/>
                <a:gd name="connsiteY11" fmla="*/ 4873 h 10614"/>
                <a:gd name="connsiteX12" fmla="*/ 10000 w 10000"/>
                <a:gd name="connsiteY12" fmla="*/ 5710 h 10614"/>
                <a:gd name="connsiteX13" fmla="*/ 9781 w 10000"/>
                <a:gd name="connsiteY13" fmla="*/ 6210 h 10614"/>
                <a:gd name="connsiteX14" fmla="*/ 9670 w 10000"/>
                <a:gd name="connsiteY14" fmla="*/ 6491 h 10614"/>
                <a:gd name="connsiteX15" fmla="*/ 9670 w 10000"/>
                <a:gd name="connsiteY15" fmla="*/ 6993 h 10614"/>
                <a:gd name="connsiteX16" fmla="*/ 9354 w 10000"/>
                <a:gd name="connsiteY16" fmla="*/ 7377 h 10614"/>
                <a:gd name="connsiteX17" fmla="*/ 8902 w 10000"/>
                <a:gd name="connsiteY17" fmla="*/ 7216 h 10614"/>
                <a:gd name="connsiteX18" fmla="*/ 8667 w 10000"/>
                <a:gd name="connsiteY18" fmla="*/ 7255 h 10614"/>
                <a:gd name="connsiteX19" fmla="*/ 8813 w 10000"/>
                <a:gd name="connsiteY19" fmla="*/ 8321 h 10614"/>
                <a:gd name="connsiteX20" fmla="*/ 8218 w 10000"/>
                <a:gd name="connsiteY20" fmla="*/ 9441 h 10614"/>
                <a:gd name="connsiteX21" fmla="*/ 8143 w 10000"/>
                <a:gd name="connsiteY21" fmla="*/ 10595 h 10614"/>
                <a:gd name="connsiteX22" fmla="*/ 7496 w 10000"/>
                <a:gd name="connsiteY22" fmla="*/ 10000 h 10614"/>
                <a:gd name="connsiteX23" fmla="*/ 3102 w 10000"/>
                <a:gd name="connsiteY23" fmla="*/ 9906 h 10614"/>
                <a:gd name="connsiteX24" fmla="*/ 1223 w 10000"/>
                <a:gd name="connsiteY24" fmla="*/ 9801 h 10614"/>
                <a:gd name="connsiteX25" fmla="*/ 1120 w 10000"/>
                <a:gd name="connsiteY25" fmla="*/ 9386 h 10614"/>
                <a:gd name="connsiteX26" fmla="*/ 1145 w 10000"/>
                <a:gd name="connsiteY26" fmla="*/ 8878 h 10614"/>
                <a:gd name="connsiteX27" fmla="*/ 1167 w 10000"/>
                <a:gd name="connsiteY27" fmla="*/ 8481 h 10614"/>
                <a:gd name="connsiteX28" fmla="*/ 1246 w 10000"/>
                <a:gd name="connsiteY28" fmla="*/ 7996 h 10614"/>
                <a:gd name="connsiteX29" fmla="*/ 1173 w 10000"/>
                <a:gd name="connsiteY29" fmla="*/ 7552 h 10614"/>
                <a:gd name="connsiteX30" fmla="*/ 1051 w 10000"/>
                <a:gd name="connsiteY30" fmla="*/ 7110 h 10614"/>
                <a:gd name="connsiteX31" fmla="*/ 1062 w 10000"/>
                <a:gd name="connsiteY31" fmla="*/ 6714 h 10614"/>
                <a:gd name="connsiteX32" fmla="*/ 1062 w 10000"/>
                <a:gd name="connsiteY32" fmla="*/ 6604 h 10614"/>
                <a:gd name="connsiteX33" fmla="*/ 838 w 10000"/>
                <a:gd name="connsiteY33" fmla="*/ 5739 h 10614"/>
                <a:gd name="connsiteX34" fmla="*/ 696 w 10000"/>
                <a:gd name="connsiteY34" fmla="*/ 4704 h 10614"/>
                <a:gd name="connsiteX35" fmla="*/ 543 w 10000"/>
                <a:gd name="connsiteY35" fmla="*/ 4059 h 10614"/>
                <a:gd name="connsiteX36" fmla="*/ 521 w 10000"/>
                <a:gd name="connsiteY36" fmla="*/ 3565 h 10614"/>
                <a:gd name="connsiteX37" fmla="*/ 0 w 10000"/>
                <a:gd name="connsiteY37" fmla="*/ 2696 h 10614"/>
                <a:gd name="connsiteX38" fmla="*/ 477 w 10000"/>
                <a:gd name="connsiteY38" fmla="*/ 2080 h 10614"/>
                <a:gd name="connsiteX39" fmla="*/ 477 w 10000"/>
                <a:gd name="connsiteY39" fmla="*/ 1802 h 10614"/>
                <a:gd name="connsiteX40" fmla="*/ 477 w 10000"/>
                <a:gd name="connsiteY40" fmla="*/ 963 h 10614"/>
                <a:gd name="connsiteX41" fmla="*/ 715 w 10000"/>
                <a:gd name="connsiteY41" fmla="*/ 134 h 10614"/>
                <a:gd name="connsiteX42" fmla="*/ 4777 w 10000"/>
                <a:gd name="connsiteY42" fmla="*/ 170 h 10614"/>
                <a:gd name="connsiteX43" fmla="*/ 8448 w 10000"/>
                <a:gd name="connsiteY43" fmla="*/ 0 h 10614"/>
                <a:gd name="connsiteX0" fmla="*/ 8448 w 10000"/>
                <a:gd name="connsiteY0" fmla="*/ 0 h 10614"/>
                <a:gd name="connsiteX1" fmla="*/ 8570 w 10000"/>
                <a:gd name="connsiteY1" fmla="*/ 395 h 10614"/>
                <a:gd name="connsiteX2" fmla="*/ 8682 w 10000"/>
                <a:gd name="connsiteY2" fmla="*/ 963 h 10614"/>
                <a:gd name="connsiteX3" fmla="*/ 8631 w 10000"/>
                <a:gd name="connsiteY3" fmla="*/ 1285 h 10614"/>
                <a:gd name="connsiteX4" fmla="*/ 8426 w 10000"/>
                <a:gd name="connsiteY4" fmla="*/ 2023 h 10614"/>
                <a:gd name="connsiteX5" fmla="*/ 8537 w 10000"/>
                <a:gd name="connsiteY5" fmla="*/ 2303 h 10614"/>
                <a:gd name="connsiteX6" fmla="*/ 8572 w 10000"/>
                <a:gd name="connsiteY6" fmla="*/ 2641 h 10614"/>
                <a:gd name="connsiteX7" fmla="*/ 8976 w 10000"/>
                <a:gd name="connsiteY7" fmla="*/ 3197 h 10614"/>
                <a:gd name="connsiteX8" fmla="*/ 9458 w 10000"/>
                <a:gd name="connsiteY8" fmla="*/ 3546 h 10614"/>
                <a:gd name="connsiteX9" fmla="*/ 9561 w 10000"/>
                <a:gd name="connsiteY9" fmla="*/ 4203 h 10614"/>
                <a:gd name="connsiteX10" fmla="*/ 9743 w 10000"/>
                <a:gd name="connsiteY10" fmla="*/ 4592 h 10614"/>
                <a:gd name="connsiteX11" fmla="*/ 9890 w 10000"/>
                <a:gd name="connsiteY11" fmla="*/ 4873 h 10614"/>
                <a:gd name="connsiteX12" fmla="*/ 10000 w 10000"/>
                <a:gd name="connsiteY12" fmla="*/ 5710 h 10614"/>
                <a:gd name="connsiteX13" fmla="*/ 9781 w 10000"/>
                <a:gd name="connsiteY13" fmla="*/ 6210 h 10614"/>
                <a:gd name="connsiteX14" fmla="*/ 9670 w 10000"/>
                <a:gd name="connsiteY14" fmla="*/ 6491 h 10614"/>
                <a:gd name="connsiteX15" fmla="*/ 9670 w 10000"/>
                <a:gd name="connsiteY15" fmla="*/ 6993 h 10614"/>
                <a:gd name="connsiteX16" fmla="*/ 9354 w 10000"/>
                <a:gd name="connsiteY16" fmla="*/ 7377 h 10614"/>
                <a:gd name="connsiteX17" fmla="*/ 8902 w 10000"/>
                <a:gd name="connsiteY17" fmla="*/ 7216 h 10614"/>
                <a:gd name="connsiteX18" fmla="*/ 8667 w 10000"/>
                <a:gd name="connsiteY18" fmla="*/ 7255 h 10614"/>
                <a:gd name="connsiteX19" fmla="*/ 8813 w 10000"/>
                <a:gd name="connsiteY19" fmla="*/ 8321 h 10614"/>
                <a:gd name="connsiteX20" fmla="*/ 8218 w 10000"/>
                <a:gd name="connsiteY20" fmla="*/ 9441 h 10614"/>
                <a:gd name="connsiteX21" fmla="*/ 8143 w 10000"/>
                <a:gd name="connsiteY21" fmla="*/ 10595 h 10614"/>
                <a:gd name="connsiteX22" fmla="*/ 7496 w 10000"/>
                <a:gd name="connsiteY22" fmla="*/ 10000 h 10614"/>
                <a:gd name="connsiteX23" fmla="*/ 3102 w 10000"/>
                <a:gd name="connsiteY23" fmla="*/ 9906 h 10614"/>
                <a:gd name="connsiteX24" fmla="*/ 1223 w 10000"/>
                <a:gd name="connsiteY24" fmla="*/ 9801 h 10614"/>
                <a:gd name="connsiteX25" fmla="*/ 1120 w 10000"/>
                <a:gd name="connsiteY25" fmla="*/ 9386 h 10614"/>
                <a:gd name="connsiteX26" fmla="*/ 1145 w 10000"/>
                <a:gd name="connsiteY26" fmla="*/ 8878 h 10614"/>
                <a:gd name="connsiteX27" fmla="*/ 1167 w 10000"/>
                <a:gd name="connsiteY27" fmla="*/ 8481 h 10614"/>
                <a:gd name="connsiteX28" fmla="*/ 1246 w 10000"/>
                <a:gd name="connsiteY28" fmla="*/ 7996 h 10614"/>
                <a:gd name="connsiteX29" fmla="*/ 1173 w 10000"/>
                <a:gd name="connsiteY29" fmla="*/ 7552 h 10614"/>
                <a:gd name="connsiteX30" fmla="*/ 1051 w 10000"/>
                <a:gd name="connsiteY30" fmla="*/ 7110 h 10614"/>
                <a:gd name="connsiteX31" fmla="*/ 1062 w 10000"/>
                <a:gd name="connsiteY31" fmla="*/ 6714 h 10614"/>
                <a:gd name="connsiteX32" fmla="*/ 1062 w 10000"/>
                <a:gd name="connsiteY32" fmla="*/ 6604 h 10614"/>
                <a:gd name="connsiteX33" fmla="*/ 838 w 10000"/>
                <a:gd name="connsiteY33" fmla="*/ 5739 h 10614"/>
                <a:gd name="connsiteX34" fmla="*/ 696 w 10000"/>
                <a:gd name="connsiteY34" fmla="*/ 4704 h 10614"/>
                <a:gd name="connsiteX35" fmla="*/ 543 w 10000"/>
                <a:gd name="connsiteY35" fmla="*/ 4059 h 10614"/>
                <a:gd name="connsiteX36" fmla="*/ 521 w 10000"/>
                <a:gd name="connsiteY36" fmla="*/ 3565 h 10614"/>
                <a:gd name="connsiteX37" fmla="*/ 0 w 10000"/>
                <a:gd name="connsiteY37" fmla="*/ 2696 h 10614"/>
                <a:gd name="connsiteX38" fmla="*/ 477 w 10000"/>
                <a:gd name="connsiteY38" fmla="*/ 2080 h 10614"/>
                <a:gd name="connsiteX39" fmla="*/ 477 w 10000"/>
                <a:gd name="connsiteY39" fmla="*/ 1802 h 10614"/>
                <a:gd name="connsiteX40" fmla="*/ 477 w 10000"/>
                <a:gd name="connsiteY40" fmla="*/ 963 h 10614"/>
                <a:gd name="connsiteX41" fmla="*/ 715 w 10000"/>
                <a:gd name="connsiteY41" fmla="*/ 134 h 10614"/>
                <a:gd name="connsiteX42" fmla="*/ 4777 w 10000"/>
                <a:gd name="connsiteY42" fmla="*/ 170 h 10614"/>
                <a:gd name="connsiteX43" fmla="*/ 8448 w 10000"/>
                <a:gd name="connsiteY43" fmla="*/ 0 h 10614"/>
                <a:gd name="connsiteX0" fmla="*/ 8448 w 10179"/>
                <a:gd name="connsiteY0" fmla="*/ 0 h 10614"/>
                <a:gd name="connsiteX1" fmla="*/ 8570 w 10179"/>
                <a:gd name="connsiteY1" fmla="*/ 395 h 10614"/>
                <a:gd name="connsiteX2" fmla="*/ 8682 w 10179"/>
                <a:gd name="connsiteY2" fmla="*/ 963 h 10614"/>
                <a:gd name="connsiteX3" fmla="*/ 8631 w 10179"/>
                <a:gd name="connsiteY3" fmla="*/ 1285 h 10614"/>
                <a:gd name="connsiteX4" fmla="*/ 8426 w 10179"/>
                <a:gd name="connsiteY4" fmla="*/ 2023 h 10614"/>
                <a:gd name="connsiteX5" fmla="*/ 8537 w 10179"/>
                <a:gd name="connsiteY5" fmla="*/ 2303 h 10614"/>
                <a:gd name="connsiteX6" fmla="*/ 8572 w 10179"/>
                <a:gd name="connsiteY6" fmla="*/ 2641 h 10614"/>
                <a:gd name="connsiteX7" fmla="*/ 8976 w 10179"/>
                <a:gd name="connsiteY7" fmla="*/ 3197 h 10614"/>
                <a:gd name="connsiteX8" fmla="*/ 9458 w 10179"/>
                <a:gd name="connsiteY8" fmla="*/ 3546 h 10614"/>
                <a:gd name="connsiteX9" fmla="*/ 9561 w 10179"/>
                <a:gd name="connsiteY9" fmla="*/ 4203 h 10614"/>
                <a:gd name="connsiteX10" fmla="*/ 9743 w 10179"/>
                <a:gd name="connsiteY10" fmla="*/ 4592 h 10614"/>
                <a:gd name="connsiteX11" fmla="*/ 9890 w 10179"/>
                <a:gd name="connsiteY11" fmla="*/ 4873 h 10614"/>
                <a:gd name="connsiteX12" fmla="*/ 10179 w 10179"/>
                <a:gd name="connsiteY12" fmla="*/ 5747 h 10614"/>
                <a:gd name="connsiteX13" fmla="*/ 9781 w 10179"/>
                <a:gd name="connsiteY13" fmla="*/ 6210 h 10614"/>
                <a:gd name="connsiteX14" fmla="*/ 9670 w 10179"/>
                <a:gd name="connsiteY14" fmla="*/ 6491 h 10614"/>
                <a:gd name="connsiteX15" fmla="*/ 9670 w 10179"/>
                <a:gd name="connsiteY15" fmla="*/ 6993 h 10614"/>
                <a:gd name="connsiteX16" fmla="*/ 9354 w 10179"/>
                <a:gd name="connsiteY16" fmla="*/ 7377 h 10614"/>
                <a:gd name="connsiteX17" fmla="*/ 8902 w 10179"/>
                <a:gd name="connsiteY17" fmla="*/ 7216 h 10614"/>
                <a:gd name="connsiteX18" fmla="*/ 8667 w 10179"/>
                <a:gd name="connsiteY18" fmla="*/ 7255 h 10614"/>
                <a:gd name="connsiteX19" fmla="*/ 8813 w 10179"/>
                <a:gd name="connsiteY19" fmla="*/ 8321 h 10614"/>
                <a:gd name="connsiteX20" fmla="*/ 8218 w 10179"/>
                <a:gd name="connsiteY20" fmla="*/ 9441 h 10614"/>
                <a:gd name="connsiteX21" fmla="*/ 8143 w 10179"/>
                <a:gd name="connsiteY21" fmla="*/ 10595 h 10614"/>
                <a:gd name="connsiteX22" fmla="*/ 7496 w 10179"/>
                <a:gd name="connsiteY22" fmla="*/ 10000 h 10614"/>
                <a:gd name="connsiteX23" fmla="*/ 3102 w 10179"/>
                <a:gd name="connsiteY23" fmla="*/ 9906 h 10614"/>
                <a:gd name="connsiteX24" fmla="*/ 1223 w 10179"/>
                <a:gd name="connsiteY24" fmla="*/ 9801 h 10614"/>
                <a:gd name="connsiteX25" fmla="*/ 1120 w 10179"/>
                <a:gd name="connsiteY25" fmla="*/ 9386 h 10614"/>
                <a:gd name="connsiteX26" fmla="*/ 1145 w 10179"/>
                <a:gd name="connsiteY26" fmla="*/ 8878 h 10614"/>
                <a:gd name="connsiteX27" fmla="*/ 1167 w 10179"/>
                <a:gd name="connsiteY27" fmla="*/ 8481 h 10614"/>
                <a:gd name="connsiteX28" fmla="*/ 1246 w 10179"/>
                <a:gd name="connsiteY28" fmla="*/ 7996 h 10614"/>
                <a:gd name="connsiteX29" fmla="*/ 1173 w 10179"/>
                <a:gd name="connsiteY29" fmla="*/ 7552 h 10614"/>
                <a:gd name="connsiteX30" fmla="*/ 1051 w 10179"/>
                <a:gd name="connsiteY30" fmla="*/ 7110 h 10614"/>
                <a:gd name="connsiteX31" fmla="*/ 1062 w 10179"/>
                <a:gd name="connsiteY31" fmla="*/ 6714 h 10614"/>
                <a:gd name="connsiteX32" fmla="*/ 1062 w 10179"/>
                <a:gd name="connsiteY32" fmla="*/ 6604 h 10614"/>
                <a:gd name="connsiteX33" fmla="*/ 838 w 10179"/>
                <a:gd name="connsiteY33" fmla="*/ 5739 h 10614"/>
                <a:gd name="connsiteX34" fmla="*/ 696 w 10179"/>
                <a:gd name="connsiteY34" fmla="*/ 4704 h 10614"/>
                <a:gd name="connsiteX35" fmla="*/ 543 w 10179"/>
                <a:gd name="connsiteY35" fmla="*/ 4059 h 10614"/>
                <a:gd name="connsiteX36" fmla="*/ 521 w 10179"/>
                <a:gd name="connsiteY36" fmla="*/ 3565 h 10614"/>
                <a:gd name="connsiteX37" fmla="*/ 0 w 10179"/>
                <a:gd name="connsiteY37" fmla="*/ 2696 h 10614"/>
                <a:gd name="connsiteX38" fmla="*/ 477 w 10179"/>
                <a:gd name="connsiteY38" fmla="*/ 2080 h 10614"/>
                <a:gd name="connsiteX39" fmla="*/ 477 w 10179"/>
                <a:gd name="connsiteY39" fmla="*/ 1802 h 10614"/>
                <a:gd name="connsiteX40" fmla="*/ 477 w 10179"/>
                <a:gd name="connsiteY40" fmla="*/ 963 h 10614"/>
                <a:gd name="connsiteX41" fmla="*/ 715 w 10179"/>
                <a:gd name="connsiteY41" fmla="*/ 134 h 10614"/>
                <a:gd name="connsiteX42" fmla="*/ 4777 w 10179"/>
                <a:gd name="connsiteY42" fmla="*/ 170 h 10614"/>
                <a:gd name="connsiteX43" fmla="*/ 8448 w 10179"/>
                <a:gd name="connsiteY43" fmla="*/ 0 h 10614"/>
                <a:gd name="connsiteX0" fmla="*/ 8448 w 10179"/>
                <a:gd name="connsiteY0" fmla="*/ 0 h 10614"/>
                <a:gd name="connsiteX1" fmla="*/ 8570 w 10179"/>
                <a:gd name="connsiteY1" fmla="*/ 395 h 10614"/>
                <a:gd name="connsiteX2" fmla="*/ 8682 w 10179"/>
                <a:gd name="connsiteY2" fmla="*/ 963 h 10614"/>
                <a:gd name="connsiteX3" fmla="*/ 8631 w 10179"/>
                <a:gd name="connsiteY3" fmla="*/ 1285 h 10614"/>
                <a:gd name="connsiteX4" fmla="*/ 8426 w 10179"/>
                <a:gd name="connsiteY4" fmla="*/ 2023 h 10614"/>
                <a:gd name="connsiteX5" fmla="*/ 8537 w 10179"/>
                <a:gd name="connsiteY5" fmla="*/ 2303 h 10614"/>
                <a:gd name="connsiteX6" fmla="*/ 8572 w 10179"/>
                <a:gd name="connsiteY6" fmla="*/ 2641 h 10614"/>
                <a:gd name="connsiteX7" fmla="*/ 8976 w 10179"/>
                <a:gd name="connsiteY7" fmla="*/ 3197 h 10614"/>
                <a:gd name="connsiteX8" fmla="*/ 9458 w 10179"/>
                <a:gd name="connsiteY8" fmla="*/ 3546 h 10614"/>
                <a:gd name="connsiteX9" fmla="*/ 9561 w 10179"/>
                <a:gd name="connsiteY9" fmla="*/ 4203 h 10614"/>
                <a:gd name="connsiteX10" fmla="*/ 9743 w 10179"/>
                <a:gd name="connsiteY10" fmla="*/ 4592 h 10614"/>
                <a:gd name="connsiteX11" fmla="*/ 9890 w 10179"/>
                <a:gd name="connsiteY11" fmla="*/ 4873 h 10614"/>
                <a:gd name="connsiteX12" fmla="*/ 10179 w 10179"/>
                <a:gd name="connsiteY12" fmla="*/ 5747 h 10614"/>
                <a:gd name="connsiteX13" fmla="*/ 9924 w 10179"/>
                <a:gd name="connsiteY13" fmla="*/ 6364 h 10614"/>
                <a:gd name="connsiteX14" fmla="*/ 9670 w 10179"/>
                <a:gd name="connsiteY14" fmla="*/ 6491 h 10614"/>
                <a:gd name="connsiteX15" fmla="*/ 9670 w 10179"/>
                <a:gd name="connsiteY15" fmla="*/ 6993 h 10614"/>
                <a:gd name="connsiteX16" fmla="*/ 9354 w 10179"/>
                <a:gd name="connsiteY16" fmla="*/ 7377 h 10614"/>
                <a:gd name="connsiteX17" fmla="*/ 8902 w 10179"/>
                <a:gd name="connsiteY17" fmla="*/ 7216 h 10614"/>
                <a:gd name="connsiteX18" fmla="*/ 8667 w 10179"/>
                <a:gd name="connsiteY18" fmla="*/ 7255 h 10614"/>
                <a:gd name="connsiteX19" fmla="*/ 8813 w 10179"/>
                <a:gd name="connsiteY19" fmla="*/ 8321 h 10614"/>
                <a:gd name="connsiteX20" fmla="*/ 8218 w 10179"/>
                <a:gd name="connsiteY20" fmla="*/ 9441 h 10614"/>
                <a:gd name="connsiteX21" fmla="*/ 8143 w 10179"/>
                <a:gd name="connsiteY21" fmla="*/ 10595 h 10614"/>
                <a:gd name="connsiteX22" fmla="*/ 7496 w 10179"/>
                <a:gd name="connsiteY22" fmla="*/ 10000 h 10614"/>
                <a:gd name="connsiteX23" fmla="*/ 3102 w 10179"/>
                <a:gd name="connsiteY23" fmla="*/ 9906 h 10614"/>
                <a:gd name="connsiteX24" fmla="*/ 1223 w 10179"/>
                <a:gd name="connsiteY24" fmla="*/ 9801 h 10614"/>
                <a:gd name="connsiteX25" fmla="*/ 1120 w 10179"/>
                <a:gd name="connsiteY25" fmla="*/ 9386 h 10614"/>
                <a:gd name="connsiteX26" fmla="*/ 1145 w 10179"/>
                <a:gd name="connsiteY26" fmla="*/ 8878 h 10614"/>
                <a:gd name="connsiteX27" fmla="*/ 1167 w 10179"/>
                <a:gd name="connsiteY27" fmla="*/ 8481 h 10614"/>
                <a:gd name="connsiteX28" fmla="*/ 1246 w 10179"/>
                <a:gd name="connsiteY28" fmla="*/ 7996 h 10614"/>
                <a:gd name="connsiteX29" fmla="*/ 1173 w 10179"/>
                <a:gd name="connsiteY29" fmla="*/ 7552 h 10614"/>
                <a:gd name="connsiteX30" fmla="*/ 1051 w 10179"/>
                <a:gd name="connsiteY30" fmla="*/ 7110 h 10614"/>
                <a:gd name="connsiteX31" fmla="*/ 1062 w 10179"/>
                <a:gd name="connsiteY31" fmla="*/ 6714 h 10614"/>
                <a:gd name="connsiteX32" fmla="*/ 1062 w 10179"/>
                <a:gd name="connsiteY32" fmla="*/ 6604 h 10614"/>
                <a:gd name="connsiteX33" fmla="*/ 838 w 10179"/>
                <a:gd name="connsiteY33" fmla="*/ 5739 h 10614"/>
                <a:gd name="connsiteX34" fmla="*/ 696 w 10179"/>
                <a:gd name="connsiteY34" fmla="*/ 4704 h 10614"/>
                <a:gd name="connsiteX35" fmla="*/ 543 w 10179"/>
                <a:gd name="connsiteY35" fmla="*/ 4059 h 10614"/>
                <a:gd name="connsiteX36" fmla="*/ 521 w 10179"/>
                <a:gd name="connsiteY36" fmla="*/ 3565 h 10614"/>
                <a:gd name="connsiteX37" fmla="*/ 0 w 10179"/>
                <a:gd name="connsiteY37" fmla="*/ 2696 h 10614"/>
                <a:gd name="connsiteX38" fmla="*/ 477 w 10179"/>
                <a:gd name="connsiteY38" fmla="*/ 2080 h 10614"/>
                <a:gd name="connsiteX39" fmla="*/ 477 w 10179"/>
                <a:gd name="connsiteY39" fmla="*/ 1802 h 10614"/>
                <a:gd name="connsiteX40" fmla="*/ 477 w 10179"/>
                <a:gd name="connsiteY40" fmla="*/ 963 h 10614"/>
                <a:gd name="connsiteX41" fmla="*/ 715 w 10179"/>
                <a:gd name="connsiteY41" fmla="*/ 134 h 10614"/>
                <a:gd name="connsiteX42" fmla="*/ 4777 w 10179"/>
                <a:gd name="connsiteY42" fmla="*/ 170 h 10614"/>
                <a:gd name="connsiteX43" fmla="*/ 8448 w 10179"/>
                <a:gd name="connsiteY43" fmla="*/ 0 h 10614"/>
                <a:gd name="connsiteX0" fmla="*/ 8448 w 10179"/>
                <a:gd name="connsiteY0" fmla="*/ 0 h 10614"/>
                <a:gd name="connsiteX1" fmla="*/ 8570 w 10179"/>
                <a:gd name="connsiteY1" fmla="*/ 395 h 10614"/>
                <a:gd name="connsiteX2" fmla="*/ 8682 w 10179"/>
                <a:gd name="connsiteY2" fmla="*/ 963 h 10614"/>
                <a:gd name="connsiteX3" fmla="*/ 8631 w 10179"/>
                <a:gd name="connsiteY3" fmla="*/ 1285 h 10614"/>
                <a:gd name="connsiteX4" fmla="*/ 8426 w 10179"/>
                <a:gd name="connsiteY4" fmla="*/ 2023 h 10614"/>
                <a:gd name="connsiteX5" fmla="*/ 8537 w 10179"/>
                <a:gd name="connsiteY5" fmla="*/ 2303 h 10614"/>
                <a:gd name="connsiteX6" fmla="*/ 8572 w 10179"/>
                <a:gd name="connsiteY6" fmla="*/ 2641 h 10614"/>
                <a:gd name="connsiteX7" fmla="*/ 8976 w 10179"/>
                <a:gd name="connsiteY7" fmla="*/ 3197 h 10614"/>
                <a:gd name="connsiteX8" fmla="*/ 9458 w 10179"/>
                <a:gd name="connsiteY8" fmla="*/ 3546 h 10614"/>
                <a:gd name="connsiteX9" fmla="*/ 9561 w 10179"/>
                <a:gd name="connsiteY9" fmla="*/ 4203 h 10614"/>
                <a:gd name="connsiteX10" fmla="*/ 9743 w 10179"/>
                <a:gd name="connsiteY10" fmla="*/ 4592 h 10614"/>
                <a:gd name="connsiteX11" fmla="*/ 9890 w 10179"/>
                <a:gd name="connsiteY11" fmla="*/ 4873 h 10614"/>
                <a:gd name="connsiteX12" fmla="*/ 10179 w 10179"/>
                <a:gd name="connsiteY12" fmla="*/ 5747 h 10614"/>
                <a:gd name="connsiteX13" fmla="*/ 9924 w 10179"/>
                <a:gd name="connsiteY13" fmla="*/ 6364 h 10614"/>
                <a:gd name="connsiteX14" fmla="*/ 9670 w 10179"/>
                <a:gd name="connsiteY14" fmla="*/ 6993 h 10614"/>
                <a:gd name="connsiteX15" fmla="*/ 9354 w 10179"/>
                <a:gd name="connsiteY15" fmla="*/ 7377 h 10614"/>
                <a:gd name="connsiteX16" fmla="*/ 8902 w 10179"/>
                <a:gd name="connsiteY16" fmla="*/ 7216 h 10614"/>
                <a:gd name="connsiteX17" fmla="*/ 8667 w 10179"/>
                <a:gd name="connsiteY17" fmla="*/ 7255 h 10614"/>
                <a:gd name="connsiteX18" fmla="*/ 8813 w 10179"/>
                <a:gd name="connsiteY18" fmla="*/ 8321 h 10614"/>
                <a:gd name="connsiteX19" fmla="*/ 8218 w 10179"/>
                <a:gd name="connsiteY19" fmla="*/ 9441 h 10614"/>
                <a:gd name="connsiteX20" fmla="*/ 8143 w 10179"/>
                <a:gd name="connsiteY20" fmla="*/ 10595 h 10614"/>
                <a:gd name="connsiteX21" fmla="*/ 7496 w 10179"/>
                <a:gd name="connsiteY21" fmla="*/ 10000 h 10614"/>
                <a:gd name="connsiteX22" fmla="*/ 3102 w 10179"/>
                <a:gd name="connsiteY22" fmla="*/ 9906 h 10614"/>
                <a:gd name="connsiteX23" fmla="*/ 1223 w 10179"/>
                <a:gd name="connsiteY23" fmla="*/ 9801 h 10614"/>
                <a:gd name="connsiteX24" fmla="*/ 1120 w 10179"/>
                <a:gd name="connsiteY24" fmla="*/ 9386 h 10614"/>
                <a:gd name="connsiteX25" fmla="*/ 1145 w 10179"/>
                <a:gd name="connsiteY25" fmla="*/ 8878 h 10614"/>
                <a:gd name="connsiteX26" fmla="*/ 1167 w 10179"/>
                <a:gd name="connsiteY26" fmla="*/ 8481 h 10614"/>
                <a:gd name="connsiteX27" fmla="*/ 1246 w 10179"/>
                <a:gd name="connsiteY27" fmla="*/ 7996 h 10614"/>
                <a:gd name="connsiteX28" fmla="*/ 1173 w 10179"/>
                <a:gd name="connsiteY28" fmla="*/ 7552 h 10614"/>
                <a:gd name="connsiteX29" fmla="*/ 1051 w 10179"/>
                <a:gd name="connsiteY29" fmla="*/ 7110 h 10614"/>
                <a:gd name="connsiteX30" fmla="*/ 1062 w 10179"/>
                <a:gd name="connsiteY30" fmla="*/ 6714 h 10614"/>
                <a:gd name="connsiteX31" fmla="*/ 1062 w 10179"/>
                <a:gd name="connsiteY31" fmla="*/ 6604 h 10614"/>
                <a:gd name="connsiteX32" fmla="*/ 838 w 10179"/>
                <a:gd name="connsiteY32" fmla="*/ 5739 h 10614"/>
                <a:gd name="connsiteX33" fmla="*/ 696 w 10179"/>
                <a:gd name="connsiteY33" fmla="*/ 4704 h 10614"/>
                <a:gd name="connsiteX34" fmla="*/ 543 w 10179"/>
                <a:gd name="connsiteY34" fmla="*/ 4059 h 10614"/>
                <a:gd name="connsiteX35" fmla="*/ 521 w 10179"/>
                <a:gd name="connsiteY35" fmla="*/ 3565 h 10614"/>
                <a:gd name="connsiteX36" fmla="*/ 0 w 10179"/>
                <a:gd name="connsiteY36" fmla="*/ 2696 h 10614"/>
                <a:gd name="connsiteX37" fmla="*/ 477 w 10179"/>
                <a:gd name="connsiteY37" fmla="*/ 2080 h 10614"/>
                <a:gd name="connsiteX38" fmla="*/ 477 w 10179"/>
                <a:gd name="connsiteY38" fmla="*/ 1802 h 10614"/>
                <a:gd name="connsiteX39" fmla="*/ 477 w 10179"/>
                <a:gd name="connsiteY39" fmla="*/ 963 h 10614"/>
                <a:gd name="connsiteX40" fmla="*/ 715 w 10179"/>
                <a:gd name="connsiteY40" fmla="*/ 134 h 10614"/>
                <a:gd name="connsiteX41" fmla="*/ 4777 w 10179"/>
                <a:gd name="connsiteY41" fmla="*/ 170 h 10614"/>
                <a:gd name="connsiteX42" fmla="*/ 8448 w 10179"/>
                <a:gd name="connsiteY42" fmla="*/ 0 h 1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179" h="10614">
                  <a:moveTo>
                    <a:pt x="8448" y="0"/>
                  </a:moveTo>
                  <a:cubicBezTo>
                    <a:pt x="8416" y="173"/>
                    <a:pt x="8602" y="222"/>
                    <a:pt x="8570" y="395"/>
                  </a:cubicBezTo>
                  <a:cubicBezTo>
                    <a:pt x="8607" y="584"/>
                    <a:pt x="8645" y="773"/>
                    <a:pt x="8682" y="963"/>
                  </a:cubicBezTo>
                  <a:cubicBezTo>
                    <a:pt x="8665" y="1069"/>
                    <a:pt x="8648" y="1178"/>
                    <a:pt x="8631" y="1285"/>
                  </a:cubicBezTo>
                  <a:cubicBezTo>
                    <a:pt x="8563" y="1531"/>
                    <a:pt x="8494" y="1778"/>
                    <a:pt x="8426" y="2023"/>
                  </a:cubicBezTo>
                  <a:lnTo>
                    <a:pt x="8537" y="2303"/>
                  </a:lnTo>
                  <a:cubicBezTo>
                    <a:pt x="8549" y="2415"/>
                    <a:pt x="8560" y="2527"/>
                    <a:pt x="8572" y="2641"/>
                  </a:cubicBezTo>
                  <a:lnTo>
                    <a:pt x="8976" y="3197"/>
                  </a:lnTo>
                  <a:lnTo>
                    <a:pt x="9458" y="3546"/>
                  </a:lnTo>
                  <a:cubicBezTo>
                    <a:pt x="9492" y="3764"/>
                    <a:pt x="9527" y="3984"/>
                    <a:pt x="9561" y="4203"/>
                  </a:cubicBezTo>
                  <a:cubicBezTo>
                    <a:pt x="9622" y="4332"/>
                    <a:pt x="9682" y="4463"/>
                    <a:pt x="9743" y="4592"/>
                  </a:cubicBezTo>
                  <a:lnTo>
                    <a:pt x="9890" y="4873"/>
                  </a:lnTo>
                  <a:cubicBezTo>
                    <a:pt x="9927" y="5151"/>
                    <a:pt x="10142" y="5467"/>
                    <a:pt x="10179" y="5747"/>
                  </a:cubicBezTo>
                  <a:lnTo>
                    <a:pt x="9924" y="6364"/>
                  </a:lnTo>
                  <a:lnTo>
                    <a:pt x="9670" y="6993"/>
                  </a:lnTo>
                  <a:cubicBezTo>
                    <a:pt x="9670" y="6993"/>
                    <a:pt x="9499" y="7211"/>
                    <a:pt x="9354" y="7377"/>
                  </a:cubicBezTo>
                  <a:cubicBezTo>
                    <a:pt x="9206" y="7544"/>
                    <a:pt x="9017" y="7236"/>
                    <a:pt x="8902" y="7216"/>
                  </a:cubicBezTo>
                  <a:cubicBezTo>
                    <a:pt x="8788" y="7196"/>
                    <a:pt x="8682" y="7071"/>
                    <a:pt x="8667" y="7255"/>
                  </a:cubicBezTo>
                  <a:cubicBezTo>
                    <a:pt x="8652" y="7439"/>
                    <a:pt x="8888" y="7957"/>
                    <a:pt x="8813" y="8321"/>
                  </a:cubicBezTo>
                  <a:cubicBezTo>
                    <a:pt x="8738" y="8685"/>
                    <a:pt x="8359" y="9179"/>
                    <a:pt x="8218" y="9441"/>
                  </a:cubicBezTo>
                  <a:cubicBezTo>
                    <a:pt x="8077" y="9703"/>
                    <a:pt x="8263" y="10502"/>
                    <a:pt x="8143" y="10595"/>
                  </a:cubicBezTo>
                  <a:cubicBezTo>
                    <a:pt x="8023" y="10688"/>
                    <a:pt x="8324" y="10436"/>
                    <a:pt x="7496" y="10000"/>
                  </a:cubicBezTo>
                  <a:cubicBezTo>
                    <a:pt x="6303" y="9962"/>
                    <a:pt x="4567" y="9937"/>
                    <a:pt x="3102" y="9906"/>
                  </a:cubicBezTo>
                  <a:cubicBezTo>
                    <a:pt x="2057" y="9874"/>
                    <a:pt x="1553" y="9888"/>
                    <a:pt x="1223" y="9801"/>
                  </a:cubicBezTo>
                  <a:cubicBezTo>
                    <a:pt x="1189" y="9662"/>
                    <a:pt x="1154" y="9523"/>
                    <a:pt x="1120" y="9386"/>
                  </a:cubicBezTo>
                  <a:cubicBezTo>
                    <a:pt x="1133" y="9273"/>
                    <a:pt x="1132" y="8991"/>
                    <a:pt x="1145" y="8878"/>
                  </a:cubicBezTo>
                  <a:cubicBezTo>
                    <a:pt x="1120" y="8711"/>
                    <a:pt x="1192" y="8649"/>
                    <a:pt x="1167" y="8481"/>
                  </a:cubicBezTo>
                  <a:cubicBezTo>
                    <a:pt x="1118" y="8275"/>
                    <a:pt x="1295" y="8203"/>
                    <a:pt x="1246" y="7996"/>
                  </a:cubicBezTo>
                  <a:cubicBezTo>
                    <a:pt x="1222" y="7849"/>
                    <a:pt x="1197" y="7699"/>
                    <a:pt x="1173" y="7552"/>
                  </a:cubicBezTo>
                  <a:cubicBezTo>
                    <a:pt x="1173" y="7552"/>
                    <a:pt x="1197" y="7277"/>
                    <a:pt x="1051" y="7110"/>
                  </a:cubicBezTo>
                  <a:cubicBezTo>
                    <a:pt x="906" y="6943"/>
                    <a:pt x="1062" y="6714"/>
                    <a:pt x="1062" y="6714"/>
                  </a:cubicBezTo>
                  <a:lnTo>
                    <a:pt x="1062" y="6604"/>
                  </a:lnTo>
                  <a:cubicBezTo>
                    <a:pt x="1044" y="6418"/>
                    <a:pt x="899" y="6056"/>
                    <a:pt x="838" y="5739"/>
                  </a:cubicBezTo>
                  <a:cubicBezTo>
                    <a:pt x="691" y="5349"/>
                    <a:pt x="771" y="4984"/>
                    <a:pt x="696" y="4704"/>
                  </a:cubicBezTo>
                  <a:cubicBezTo>
                    <a:pt x="623" y="4426"/>
                    <a:pt x="543" y="4059"/>
                    <a:pt x="543" y="4059"/>
                  </a:cubicBezTo>
                  <a:cubicBezTo>
                    <a:pt x="536" y="3895"/>
                    <a:pt x="528" y="3730"/>
                    <a:pt x="521" y="3565"/>
                  </a:cubicBezTo>
                  <a:lnTo>
                    <a:pt x="0" y="2696"/>
                  </a:lnTo>
                  <a:lnTo>
                    <a:pt x="477" y="2080"/>
                  </a:lnTo>
                  <a:lnTo>
                    <a:pt x="477" y="1802"/>
                  </a:lnTo>
                  <a:lnTo>
                    <a:pt x="477" y="963"/>
                  </a:lnTo>
                  <a:cubicBezTo>
                    <a:pt x="495" y="804"/>
                    <a:pt x="697" y="294"/>
                    <a:pt x="715" y="134"/>
                  </a:cubicBezTo>
                  <a:cubicBezTo>
                    <a:pt x="752" y="-33"/>
                    <a:pt x="4740" y="338"/>
                    <a:pt x="4777" y="170"/>
                  </a:cubicBezTo>
                  <a:lnTo>
                    <a:pt x="844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ea typeface="ＭＳ Ｐゴシック" charset="-128"/>
              </a:endParaRPr>
            </a:p>
          </p:txBody>
        </p:sp>
        <p:sp>
          <p:nvSpPr>
            <p:cNvPr id="92" name="Freeform 91"/>
            <p:cNvSpPr/>
            <p:nvPr/>
          </p:nvSpPr>
          <p:spPr>
            <a:xfrm>
              <a:off x="1194234" y="2077726"/>
              <a:ext cx="577010" cy="861006"/>
            </a:xfrm>
            <a:custGeom>
              <a:avLst/>
              <a:gdLst>
                <a:gd name="connsiteX0" fmla="*/ 238328 w 890081"/>
                <a:gd name="connsiteY0" fmla="*/ 0 h 1449421"/>
                <a:gd name="connsiteX1" fmla="*/ 141052 w 890081"/>
                <a:gd name="connsiteY1" fmla="*/ 549613 h 1449421"/>
                <a:gd name="connsiteX2" fmla="*/ 160507 w 890081"/>
                <a:gd name="connsiteY2" fmla="*/ 569068 h 1449421"/>
                <a:gd name="connsiteX3" fmla="*/ 175098 w 890081"/>
                <a:gd name="connsiteY3" fmla="*/ 593387 h 1449421"/>
                <a:gd name="connsiteX4" fmla="*/ 175098 w 890081"/>
                <a:gd name="connsiteY4" fmla="*/ 671208 h 1449421"/>
                <a:gd name="connsiteX5" fmla="*/ 126460 w 890081"/>
                <a:gd name="connsiteY5" fmla="*/ 700391 h 1449421"/>
                <a:gd name="connsiteX6" fmla="*/ 107005 w 890081"/>
                <a:gd name="connsiteY6" fmla="*/ 792804 h 1449421"/>
                <a:gd name="connsiteX7" fmla="*/ 58366 w 890081"/>
                <a:gd name="connsiteY7" fmla="*/ 817123 h 1449421"/>
                <a:gd name="connsiteX8" fmla="*/ 53503 w 890081"/>
                <a:gd name="connsiteY8" fmla="*/ 880353 h 1449421"/>
                <a:gd name="connsiteX9" fmla="*/ 58366 w 890081"/>
                <a:gd name="connsiteY9" fmla="*/ 899808 h 1449421"/>
                <a:gd name="connsiteX10" fmla="*/ 72958 w 890081"/>
                <a:gd name="connsiteY10" fmla="*/ 894944 h 1449421"/>
                <a:gd name="connsiteX11" fmla="*/ 82686 w 890081"/>
                <a:gd name="connsiteY11" fmla="*/ 919264 h 1449421"/>
                <a:gd name="connsiteX12" fmla="*/ 43775 w 890081"/>
                <a:gd name="connsiteY12" fmla="*/ 997085 h 1449421"/>
                <a:gd name="connsiteX13" fmla="*/ 0 w 890081"/>
                <a:gd name="connsiteY13" fmla="*/ 1293779 h 1449421"/>
                <a:gd name="connsiteX14" fmla="*/ 846307 w 890081"/>
                <a:gd name="connsiteY14" fmla="*/ 1449421 h 1449421"/>
                <a:gd name="connsiteX15" fmla="*/ 890081 w 890081"/>
                <a:gd name="connsiteY15" fmla="*/ 967902 h 1449421"/>
                <a:gd name="connsiteX16" fmla="*/ 851171 w 890081"/>
                <a:gd name="connsiteY16" fmla="*/ 933855 h 1449421"/>
                <a:gd name="connsiteX17" fmla="*/ 821988 w 890081"/>
                <a:gd name="connsiteY17" fmla="*/ 963038 h 1449421"/>
                <a:gd name="connsiteX18" fmla="*/ 783077 w 890081"/>
                <a:gd name="connsiteY18" fmla="*/ 972766 h 1449421"/>
                <a:gd name="connsiteX19" fmla="*/ 749030 w 890081"/>
                <a:gd name="connsiteY19" fmla="*/ 953310 h 1449421"/>
                <a:gd name="connsiteX20" fmla="*/ 666345 w 890081"/>
                <a:gd name="connsiteY20" fmla="*/ 967902 h 1449421"/>
                <a:gd name="connsiteX21" fmla="*/ 607979 w 890081"/>
                <a:gd name="connsiteY21" fmla="*/ 914400 h 1449421"/>
                <a:gd name="connsiteX22" fmla="*/ 583660 w 890081"/>
                <a:gd name="connsiteY22" fmla="*/ 890081 h 1449421"/>
                <a:gd name="connsiteX23" fmla="*/ 588524 w 890081"/>
                <a:gd name="connsiteY23" fmla="*/ 841442 h 1449421"/>
                <a:gd name="connsiteX24" fmla="*/ 564205 w 890081"/>
                <a:gd name="connsiteY24" fmla="*/ 792804 h 1449421"/>
                <a:gd name="connsiteX25" fmla="*/ 564205 w 890081"/>
                <a:gd name="connsiteY25" fmla="*/ 763621 h 1449421"/>
                <a:gd name="connsiteX26" fmla="*/ 544749 w 890081"/>
                <a:gd name="connsiteY26" fmla="*/ 700391 h 1449421"/>
                <a:gd name="connsiteX27" fmla="*/ 466928 w 890081"/>
                <a:gd name="connsiteY27" fmla="*/ 705255 h 1449421"/>
                <a:gd name="connsiteX28" fmla="*/ 462064 w 890081"/>
                <a:gd name="connsiteY28" fmla="*/ 661481 h 1449421"/>
                <a:gd name="connsiteX29" fmla="*/ 491247 w 890081"/>
                <a:gd name="connsiteY29" fmla="*/ 646889 h 1449421"/>
                <a:gd name="connsiteX30" fmla="*/ 481520 w 890081"/>
                <a:gd name="connsiteY30" fmla="*/ 588523 h 1449421"/>
                <a:gd name="connsiteX31" fmla="*/ 505839 w 890081"/>
                <a:gd name="connsiteY31" fmla="*/ 510702 h 1449421"/>
                <a:gd name="connsiteX32" fmla="*/ 428018 w 890081"/>
                <a:gd name="connsiteY32" fmla="*/ 432881 h 1449421"/>
                <a:gd name="connsiteX33" fmla="*/ 384243 w 890081"/>
                <a:gd name="connsiteY33" fmla="*/ 364787 h 1449421"/>
                <a:gd name="connsiteX34" fmla="*/ 355060 w 890081"/>
                <a:gd name="connsiteY34" fmla="*/ 325876 h 1449421"/>
                <a:gd name="connsiteX35" fmla="*/ 355060 w 890081"/>
                <a:gd name="connsiteY35" fmla="*/ 218872 h 1449421"/>
                <a:gd name="connsiteX36" fmla="*/ 350196 w 890081"/>
                <a:gd name="connsiteY36" fmla="*/ 179961 h 1449421"/>
                <a:gd name="connsiteX37" fmla="*/ 369652 w 890081"/>
                <a:gd name="connsiteY37" fmla="*/ 102140 h 1449421"/>
                <a:gd name="connsiteX38" fmla="*/ 364788 w 890081"/>
                <a:gd name="connsiteY38" fmla="*/ 34047 h 1449421"/>
                <a:gd name="connsiteX39" fmla="*/ 238328 w 890081"/>
                <a:gd name="connsiteY39" fmla="*/ 0 h 1449421"/>
                <a:gd name="connsiteX0" fmla="*/ 238328 w 915754"/>
                <a:gd name="connsiteY0" fmla="*/ 0 h 1449421"/>
                <a:gd name="connsiteX1" fmla="*/ 141052 w 915754"/>
                <a:gd name="connsiteY1" fmla="*/ 549613 h 1449421"/>
                <a:gd name="connsiteX2" fmla="*/ 160507 w 915754"/>
                <a:gd name="connsiteY2" fmla="*/ 569068 h 1449421"/>
                <a:gd name="connsiteX3" fmla="*/ 175098 w 915754"/>
                <a:gd name="connsiteY3" fmla="*/ 593387 h 1449421"/>
                <a:gd name="connsiteX4" fmla="*/ 175098 w 915754"/>
                <a:gd name="connsiteY4" fmla="*/ 671208 h 1449421"/>
                <a:gd name="connsiteX5" fmla="*/ 126460 w 915754"/>
                <a:gd name="connsiteY5" fmla="*/ 700391 h 1449421"/>
                <a:gd name="connsiteX6" fmla="*/ 107005 w 915754"/>
                <a:gd name="connsiteY6" fmla="*/ 792804 h 1449421"/>
                <a:gd name="connsiteX7" fmla="*/ 58366 w 915754"/>
                <a:gd name="connsiteY7" fmla="*/ 817123 h 1449421"/>
                <a:gd name="connsiteX8" fmla="*/ 53503 w 915754"/>
                <a:gd name="connsiteY8" fmla="*/ 880353 h 1449421"/>
                <a:gd name="connsiteX9" fmla="*/ 58366 w 915754"/>
                <a:gd name="connsiteY9" fmla="*/ 899808 h 1449421"/>
                <a:gd name="connsiteX10" fmla="*/ 72958 w 915754"/>
                <a:gd name="connsiteY10" fmla="*/ 894944 h 1449421"/>
                <a:gd name="connsiteX11" fmla="*/ 82686 w 915754"/>
                <a:gd name="connsiteY11" fmla="*/ 919264 h 1449421"/>
                <a:gd name="connsiteX12" fmla="*/ 43775 w 915754"/>
                <a:gd name="connsiteY12" fmla="*/ 997085 h 1449421"/>
                <a:gd name="connsiteX13" fmla="*/ 0 w 915754"/>
                <a:gd name="connsiteY13" fmla="*/ 1293779 h 1449421"/>
                <a:gd name="connsiteX14" fmla="*/ 846307 w 915754"/>
                <a:gd name="connsiteY14" fmla="*/ 1449421 h 1449421"/>
                <a:gd name="connsiteX15" fmla="*/ 915754 w 915754"/>
                <a:gd name="connsiteY15" fmla="*/ 970305 h 1449421"/>
                <a:gd name="connsiteX16" fmla="*/ 851171 w 915754"/>
                <a:gd name="connsiteY16" fmla="*/ 933855 h 1449421"/>
                <a:gd name="connsiteX17" fmla="*/ 821988 w 915754"/>
                <a:gd name="connsiteY17" fmla="*/ 963038 h 1449421"/>
                <a:gd name="connsiteX18" fmla="*/ 783077 w 915754"/>
                <a:gd name="connsiteY18" fmla="*/ 972766 h 1449421"/>
                <a:gd name="connsiteX19" fmla="*/ 749030 w 915754"/>
                <a:gd name="connsiteY19" fmla="*/ 953310 h 1449421"/>
                <a:gd name="connsiteX20" fmla="*/ 666345 w 915754"/>
                <a:gd name="connsiteY20" fmla="*/ 967902 h 1449421"/>
                <a:gd name="connsiteX21" fmla="*/ 607979 w 915754"/>
                <a:gd name="connsiteY21" fmla="*/ 914400 h 1449421"/>
                <a:gd name="connsiteX22" fmla="*/ 583660 w 915754"/>
                <a:gd name="connsiteY22" fmla="*/ 890081 h 1449421"/>
                <a:gd name="connsiteX23" fmla="*/ 588524 w 915754"/>
                <a:gd name="connsiteY23" fmla="*/ 841442 h 1449421"/>
                <a:gd name="connsiteX24" fmla="*/ 564205 w 915754"/>
                <a:gd name="connsiteY24" fmla="*/ 792804 h 1449421"/>
                <a:gd name="connsiteX25" fmla="*/ 564205 w 915754"/>
                <a:gd name="connsiteY25" fmla="*/ 763621 h 1449421"/>
                <a:gd name="connsiteX26" fmla="*/ 544749 w 915754"/>
                <a:gd name="connsiteY26" fmla="*/ 700391 h 1449421"/>
                <a:gd name="connsiteX27" fmla="*/ 466928 w 915754"/>
                <a:gd name="connsiteY27" fmla="*/ 705255 h 1449421"/>
                <a:gd name="connsiteX28" fmla="*/ 462064 w 915754"/>
                <a:gd name="connsiteY28" fmla="*/ 661481 h 1449421"/>
                <a:gd name="connsiteX29" fmla="*/ 491247 w 915754"/>
                <a:gd name="connsiteY29" fmla="*/ 646889 h 1449421"/>
                <a:gd name="connsiteX30" fmla="*/ 481520 w 915754"/>
                <a:gd name="connsiteY30" fmla="*/ 588523 h 1449421"/>
                <a:gd name="connsiteX31" fmla="*/ 505839 w 915754"/>
                <a:gd name="connsiteY31" fmla="*/ 510702 h 1449421"/>
                <a:gd name="connsiteX32" fmla="*/ 428018 w 915754"/>
                <a:gd name="connsiteY32" fmla="*/ 432881 h 1449421"/>
                <a:gd name="connsiteX33" fmla="*/ 384243 w 915754"/>
                <a:gd name="connsiteY33" fmla="*/ 364787 h 1449421"/>
                <a:gd name="connsiteX34" fmla="*/ 355060 w 915754"/>
                <a:gd name="connsiteY34" fmla="*/ 325876 h 1449421"/>
                <a:gd name="connsiteX35" fmla="*/ 355060 w 915754"/>
                <a:gd name="connsiteY35" fmla="*/ 218872 h 1449421"/>
                <a:gd name="connsiteX36" fmla="*/ 350196 w 915754"/>
                <a:gd name="connsiteY36" fmla="*/ 179961 h 1449421"/>
                <a:gd name="connsiteX37" fmla="*/ 369652 w 915754"/>
                <a:gd name="connsiteY37" fmla="*/ 102140 h 1449421"/>
                <a:gd name="connsiteX38" fmla="*/ 364788 w 915754"/>
                <a:gd name="connsiteY38" fmla="*/ 34047 h 1449421"/>
                <a:gd name="connsiteX39" fmla="*/ 238328 w 915754"/>
                <a:gd name="connsiteY39" fmla="*/ 0 h 1449421"/>
                <a:gd name="connsiteX0" fmla="*/ 238328 w 915754"/>
                <a:gd name="connsiteY0" fmla="*/ 0 h 1449421"/>
                <a:gd name="connsiteX1" fmla="*/ 141052 w 915754"/>
                <a:gd name="connsiteY1" fmla="*/ 549613 h 1449421"/>
                <a:gd name="connsiteX2" fmla="*/ 160507 w 915754"/>
                <a:gd name="connsiteY2" fmla="*/ 569068 h 1449421"/>
                <a:gd name="connsiteX3" fmla="*/ 175098 w 915754"/>
                <a:gd name="connsiteY3" fmla="*/ 593387 h 1449421"/>
                <a:gd name="connsiteX4" fmla="*/ 175098 w 915754"/>
                <a:gd name="connsiteY4" fmla="*/ 671208 h 1449421"/>
                <a:gd name="connsiteX5" fmla="*/ 126460 w 915754"/>
                <a:gd name="connsiteY5" fmla="*/ 700391 h 1449421"/>
                <a:gd name="connsiteX6" fmla="*/ 107005 w 915754"/>
                <a:gd name="connsiteY6" fmla="*/ 792804 h 1449421"/>
                <a:gd name="connsiteX7" fmla="*/ 58366 w 915754"/>
                <a:gd name="connsiteY7" fmla="*/ 817123 h 1449421"/>
                <a:gd name="connsiteX8" fmla="*/ 53503 w 915754"/>
                <a:gd name="connsiteY8" fmla="*/ 880353 h 1449421"/>
                <a:gd name="connsiteX9" fmla="*/ 58366 w 915754"/>
                <a:gd name="connsiteY9" fmla="*/ 899808 h 1449421"/>
                <a:gd name="connsiteX10" fmla="*/ 72958 w 915754"/>
                <a:gd name="connsiteY10" fmla="*/ 894944 h 1449421"/>
                <a:gd name="connsiteX11" fmla="*/ 82686 w 915754"/>
                <a:gd name="connsiteY11" fmla="*/ 919264 h 1449421"/>
                <a:gd name="connsiteX12" fmla="*/ 43775 w 915754"/>
                <a:gd name="connsiteY12" fmla="*/ 997085 h 1449421"/>
                <a:gd name="connsiteX13" fmla="*/ 0 w 915754"/>
                <a:gd name="connsiteY13" fmla="*/ 1293779 h 1449421"/>
                <a:gd name="connsiteX14" fmla="*/ 846307 w 915754"/>
                <a:gd name="connsiteY14" fmla="*/ 1449421 h 1449421"/>
                <a:gd name="connsiteX15" fmla="*/ 915754 w 915754"/>
                <a:gd name="connsiteY15" fmla="*/ 970305 h 1449421"/>
                <a:gd name="connsiteX16" fmla="*/ 875802 w 915754"/>
                <a:gd name="connsiteY16" fmla="*/ 924740 h 1449421"/>
                <a:gd name="connsiteX17" fmla="*/ 851171 w 915754"/>
                <a:gd name="connsiteY17" fmla="*/ 933855 h 1449421"/>
                <a:gd name="connsiteX18" fmla="*/ 821988 w 915754"/>
                <a:gd name="connsiteY18" fmla="*/ 963038 h 1449421"/>
                <a:gd name="connsiteX19" fmla="*/ 783077 w 915754"/>
                <a:gd name="connsiteY19" fmla="*/ 972766 h 1449421"/>
                <a:gd name="connsiteX20" fmla="*/ 749030 w 915754"/>
                <a:gd name="connsiteY20" fmla="*/ 953310 h 1449421"/>
                <a:gd name="connsiteX21" fmla="*/ 666345 w 915754"/>
                <a:gd name="connsiteY21" fmla="*/ 967902 h 1449421"/>
                <a:gd name="connsiteX22" fmla="*/ 607979 w 915754"/>
                <a:gd name="connsiteY22" fmla="*/ 914400 h 1449421"/>
                <a:gd name="connsiteX23" fmla="*/ 583660 w 915754"/>
                <a:gd name="connsiteY23" fmla="*/ 890081 h 1449421"/>
                <a:gd name="connsiteX24" fmla="*/ 588524 w 915754"/>
                <a:gd name="connsiteY24" fmla="*/ 841442 h 1449421"/>
                <a:gd name="connsiteX25" fmla="*/ 564205 w 915754"/>
                <a:gd name="connsiteY25" fmla="*/ 792804 h 1449421"/>
                <a:gd name="connsiteX26" fmla="*/ 564205 w 915754"/>
                <a:gd name="connsiteY26" fmla="*/ 763621 h 1449421"/>
                <a:gd name="connsiteX27" fmla="*/ 544749 w 915754"/>
                <a:gd name="connsiteY27" fmla="*/ 700391 h 1449421"/>
                <a:gd name="connsiteX28" fmla="*/ 466928 w 915754"/>
                <a:gd name="connsiteY28" fmla="*/ 705255 h 1449421"/>
                <a:gd name="connsiteX29" fmla="*/ 462064 w 915754"/>
                <a:gd name="connsiteY29" fmla="*/ 661481 h 1449421"/>
                <a:gd name="connsiteX30" fmla="*/ 491247 w 915754"/>
                <a:gd name="connsiteY30" fmla="*/ 646889 h 1449421"/>
                <a:gd name="connsiteX31" fmla="*/ 481520 w 915754"/>
                <a:gd name="connsiteY31" fmla="*/ 588523 h 1449421"/>
                <a:gd name="connsiteX32" fmla="*/ 505839 w 915754"/>
                <a:gd name="connsiteY32" fmla="*/ 510702 h 1449421"/>
                <a:gd name="connsiteX33" fmla="*/ 428018 w 915754"/>
                <a:gd name="connsiteY33" fmla="*/ 432881 h 1449421"/>
                <a:gd name="connsiteX34" fmla="*/ 384243 w 915754"/>
                <a:gd name="connsiteY34" fmla="*/ 364787 h 1449421"/>
                <a:gd name="connsiteX35" fmla="*/ 355060 w 915754"/>
                <a:gd name="connsiteY35" fmla="*/ 325876 h 1449421"/>
                <a:gd name="connsiteX36" fmla="*/ 355060 w 915754"/>
                <a:gd name="connsiteY36" fmla="*/ 218872 h 1449421"/>
                <a:gd name="connsiteX37" fmla="*/ 350196 w 915754"/>
                <a:gd name="connsiteY37" fmla="*/ 179961 h 1449421"/>
                <a:gd name="connsiteX38" fmla="*/ 369652 w 915754"/>
                <a:gd name="connsiteY38" fmla="*/ 102140 h 1449421"/>
                <a:gd name="connsiteX39" fmla="*/ 364788 w 915754"/>
                <a:gd name="connsiteY39" fmla="*/ 34047 h 1449421"/>
                <a:gd name="connsiteX40" fmla="*/ 238328 w 915754"/>
                <a:gd name="connsiteY40" fmla="*/ 0 h 1449421"/>
                <a:gd name="connsiteX0" fmla="*/ 238328 w 915754"/>
                <a:gd name="connsiteY0" fmla="*/ 0 h 1458979"/>
                <a:gd name="connsiteX1" fmla="*/ 141052 w 915754"/>
                <a:gd name="connsiteY1" fmla="*/ 549613 h 1458979"/>
                <a:gd name="connsiteX2" fmla="*/ 160507 w 915754"/>
                <a:gd name="connsiteY2" fmla="*/ 569068 h 1458979"/>
                <a:gd name="connsiteX3" fmla="*/ 175098 w 915754"/>
                <a:gd name="connsiteY3" fmla="*/ 593387 h 1458979"/>
                <a:gd name="connsiteX4" fmla="*/ 175098 w 915754"/>
                <a:gd name="connsiteY4" fmla="*/ 671208 h 1458979"/>
                <a:gd name="connsiteX5" fmla="*/ 126460 w 915754"/>
                <a:gd name="connsiteY5" fmla="*/ 700391 h 1458979"/>
                <a:gd name="connsiteX6" fmla="*/ 107005 w 915754"/>
                <a:gd name="connsiteY6" fmla="*/ 792804 h 1458979"/>
                <a:gd name="connsiteX7" fmla="*/ 58366 w 915754"/>
                <a:gd name="connsiteY7" fmla="*/ 817123 h 1458979"/>
                <a:gd name="connsiteX8" fmla="*/ 53503 w 915754"/>
                <a:gd name="connsiteY8" fmla="*/ 880353 h 1458979"/>
                <a:gd name="connsiteX9" fmla="*/ 58366 w 915754"/>
                <a:gd name="connsiteY9" fmla="*/ 899808 h 1458979"/>
                <a:gd name="connsiteX10" fmla="*/ 72958 w 915754"/>
                <a:gd name="connsiteY10" fmla="*/ 894944 h 1458979"/>
                <a:gd name="connsiteX11" fmla="*/ 82686 w 915754"/>
                <a:gd name="connsiteY11" fmla="*/ 919264 h 1458979"/>
                <a:gd name="connsiteX12" fmla="*/ 43775 w 915754"/>
                <a:gd name="connsiteY12" fmla="*/ 997085 h 1458979"/>
                <a:gd name="connsiteX13" fmla="*/ 0 w 915754"/>
                <a:gd name="connsiteY13" fmla="*/ 1293779 h 1458979"/>
                <a:gd name="connsiteX14" fmla="*/ 852966 w 915754"/>
                <a:gd name="connsiteY14" fmla="*/ 1458979 h 1458979"/>
                <a:gd name="connsiteX15" fmla="*/ 915754 w 915754"/>
                <a:gd name="connsiteY15" fmla="*/ 970305 h 1458979"/>
                <a:gd name="connsiteX16" fmla="*/ 875802 w 915754"/>
                <a:gd name="connsiteY16" fmla="*/ 924740 h 1458979"/>
                <a:gd name="connsiteX17" fmla="*/ 851171 w 915754"/>
                <a:gd name="connsiteY17" fmla="*/ 933855 h 1458979"/>
                <a:gd name="connsiteX18" fmla="*/ 821988 w 915754"/>
                <a:gd name="connsiteY18" fmla="*/ 963038 h 1458979"/>
                <a:gd name="connsiteX19" fmla="*/ 783077 w 915754"/>
                <a:gd name="connsiteY19" fmla="*/ 972766 h 1458979"/>
                <a:gd name="connsiteX20" fmla="*/ 749030 w 915754"/>
                <a:gd name="connsiteY20" fmla="*/ 953310 h 1458979"/>
                <a:gd name="connsiteX21" fmla="*/ 666345 w 915754"/>
                <a:gd name="connsiteY21" fmla="*/ 967902 h 1458979"/>
                <a:gd name="connsiteX22" fmla="*/ 607979 w 915754"/>
                <a:gd name="connsiteY22" fmla="*/ 914400 h 1458979"/>
                <a:gd name="connsiteX23" fmla="*/ 583660 w 915754"/>
                <a:gd name="connsiteY23" fmla="*/ 890081 h 1458979"/>
                <a:gd name="connsiteX24" fmla="*/ 588524 w 915754"/>
                <a:gd name="connsiteY24" fmla="*/ 841442 h 1458979"/>
                <a:gd name="connsiteX25" fmla="*/ 564205 w 915754"/>
                <a:gd name="connsiteY25" fmla="*/ 792804 h 1458979"/>
                <a:gd name="connsiteX26" fmla="*/ 564205 w 915754"/>
                <a:gd name="connsiteY26" fmla="*/ 763621 h 1458979"/>
                <a:gd name="connsiteX27" fmla="*/ 544749 w 915754"/>
                <a:gd name="connsiteY27" fmla="*/ 700391 h 1458979"/>
                <a:gd name="connsiteX28" fmla="*/ 466928 w 915754"/>
                <a:gd name="connsiteY28" fmla="*/ 705255 h 1458979"/>
                <a:gd name="connsiteX29" fmla="*/ 462064 w 915754"/>
                <a:gd name="connsiteY29" fmla="*/ 661481 h 1458979"/>
                <a:gd name="connsiteX30" fmla="*/ 491247 w 915754"/>
                <a:gd name="connsiteY30" fmla="*/ 646889 h 1458979"/>
                <a:gd name="connsiteX31" fmla="*/ 481520 w 915754"/>
                <a:gd name="connsiteY31" fmla="*/ 588523 h 1458979"/>
                <a:gd name="connsiteX32" fmla="*/ 505839 w 915754"/>
                <a:gd name="connsiteY32" fmla="*/ 510702 h 1458979"/>
                <a:gd name="connsiteX33" fmla="*/ 428018 w 915754"/>
                <a:gd name="connsiteY33" fmla="*/ 432881 h 1458979"/>
                <a:gd name="connsiteX34" fmla="*/ 384243 w 915754"/>
                <a:gd name="connsiteY34" fmla="*/ 364787 h 1458979"/>
                <a:gd name="connsiteX35" fmla="*/ 355060 w 915754"/>
                <a:gd name="connsiteY35" fmla="*/ 325876 h 1458979"/>
                <a:gd name="connsiteX36" fmla="*/ 355060 w 915754"/>
                <a:gd name="connsiteY36" fmla="*/ 218872 h 1458979"/>
                <a:gd name="connsiteX37" fmla="*/ 350196 w 915754"/>
                <a:gd name="connsiteY37" fmla="*/ 179961 h 1458979"/>
                <a:gd name="connsiteX38" fmla="*/ 369652 w 915754"/>
                <a:gd name="connsiteY38" fmla="*/ 102140 h 1458979"/>
                <a:gd name="connsiteX39" fmla="*/ 364788 w 915754"/>
                <a:gd name="connsiteY39" fmla="*/ 34047 h 1458979"/>
                <a:gd name="connsiteX40" fmla="*/ 238328 w 915754"/>
                <a:gd name="connsiteY40" fmla="*/ 0 h 1458979"/>
                <a:gd name="connsiteX0" fmla="*/ 238328 w 915754"/>
                <a:gd name="connsiteY0" fmla="*/ 0 h 1458979"/>
                <a:gd name="connsiteX1" fmla="*/ 141052 w 915754"/>
                <a:gd name="connsiteY1" fmla="*/ 549613 h 1458979"/>
                <a:gd name="connsiteX2" fmla="*/ 160507 w 915754"/>
                <a:gd name="connsiteY2" fmla="*/ 569068 h 1458979"/>
                <a:gd name="connsiteX3" fmla="*/ 175098 w 915754"/>
                <a:gd name="connsiteY3" fmla="*/ 593387 h 1458979"/>
                <a:gd name="connsiteX4" fmla="*/ 175098 w 915754"/>
                <a:gd name="connsiteY4" fmla="*/ 671208 h 1458979"/>
                <a:gd name="connsiteX5" fmla="*/ 126460 w 915754"/>
                <a:gd name="connsiteY5" fmla="*/ 700391 h 1458979"/>
                <a:gd name="connsiteX6" fmla="*/ 107005 w 915754"/>
                <a:gd name="connsiteY6" fmla="*/ 792804 h 1458979"/>
                <a:gd name="connsiteX7" fmla="*/ 58366 w 915754"/>
                <a:gd name="connsiteY7" fmla="*/ 817123 h 1458979"/>
                <a:gd name="connsiteX8" fmla="*/ 53503 w 915754"/>
                <a:gd name="connsiteY8" fmla="*/ 880353 h 1458979"/>
                <a:gd name="connsiteX9" fmla="*/ 58366 w 915754"/>
                <a:gd name="connsiteY9" fmla="*/ 899808 h 1458979"/>
                <a:gd name="connsiteX10" fmla="*/ 72958 w 915754"/>
                <a:gd name="connsiteY10" fmla="*/ 894944 h 1458979"/>
                <a:gd name="connsiteX11" fmla="*/ 82686 w 915754"/>
                <a:gd name="connsiteY11" fmla="*/ 919264 h 1458979"/>
                <a:gd name="connsiteX12" fmla="*/ 43775 w 915754"/>
                <a:gd name="connsiteY12" fmla="*/ 997085 h 1458979"/>
                <a:gd name="connsiteX13" fmla="*/ 0 w 915754"/>
                <a:gd name="connsiteY13" fmla="*/ 1293779 h 1458979"/>
                <a:gd name="connsiteX14" fmla="*/ 852966 w 915754"/>
                <a:gd name="connsiteY14" fmla="*/ 1458979 h 1458979"/>
                <a:gd name="connsiteX15" fmla="*/ 915754 w 915754"/>
                <a:gd name="connsiteY15" fmla="*/ 970305 h 1458979"/>
                <a:gd name="connsiteX16" fmla="*/ 875802 w 915754"/>
                <a:gd name="connsiteY16" fmla="*/ 924740 h 1458979"/>
                <a:gd name="connsiteX17" fmla="*/ 851171 w 915754"/>
                <a:gd name="connsiteY17" fmla="*/ 933855 h 1458979"/>
                <a:gd name="connsiteX18" fmla="*/ 821988 w 915754"/>
                <a:gd name="connsiteY18" fmla="*/ 963038 h 1458979"/>
                <a:gd name="connsiteX19" fmla="*/ 783077 w 915754"/>
                <a:gd name="connsiteY19" fmla="*/ 972766 h 1458979"/>
                <a:gd name="connsiteX20" fmla="*/ 749030 w 915754"/>
                <a:gd name="connsiteY20" fmla="*/ 953310 h 1458979"/>
                <a:gd name="connsiteX21" fmla="*/ 666345 w 915754"/>
                <a:gd name="connsiteY21" fmla="*/ 967902 h 1458979"/>
                <a:gd name="connsiteX22" fmla="*/ 607979 w 915754"/>
                <a:gd name="connsiteY22" fmla="*/ 914400 h 1458979"/>
                <a:gd name="connsiteX23" fmla="*/ 583660 w 915754"/>
                <a:gd name="connsiteY23" fmla="*/ 890081 h 1458979"/>
                <a:gd name="connsiteX24" fmla="*/ 588524 w 915754"/>
                <a:gd name="connsiteY24" fmla="*/ 841442 h 1458979"/>
                <a:gd name="connsiteX25" fmla="*/ 564205 w 915754"/>
                <a:gd name="connsiteY25" fmla="*/ 792804 h 1458979"/>
                <a:gd name="connsiteX26" fmla="*/ 564205 w 915754"/>
                <a:gd name="connsiteY26" fmla="*/ 763621 h 1458979"/>
                <a:gd name="connsiteX27" fmla="*/ 544749 w 915754"/>
                <a:gd name="connsiteY27" fmla="*/ 700391 h 1458979"/>
                <a:gd name="connsiteX28" fmla="*/ 466928 w 915754"/>
                <a:gd name="connsiteY28" fmla="*/ 705255 h 1458979"/>
                <a:gd name="connsiteX29" fmla="*/ 462064 w 915754"/>
                <a:gd name="connsiteY29" fmla="*/ 661481 h 1458979"/>
                <a:gd name="connsiteX30" fmla="*/ 491247 w 915754"/>
                <a:gd name="connsiteY30" fmla="*/ 646889 h 1458979"/>
                <a:gd name="connsiteX31" fmla="*/ 481520 w 915754"/>
                <a:gd name="connsiteY31" fmla="*/ 588523 h 1458979"/>
                <a:gd name="connsiteX32" fmla="*/ 505839 w 915754"/>
                <a:gd name="connsiteY32" fmla="*/ 510702 h 1458979"/>
                <a:gd name="connsiteX33" fmla="*/ 428018 w 915754"/>
                <a:gd name="connsiteY33" fmla="*/ 432881 h 1458979"/>
                <a:gd name="connsiteX34" fmla="*/ 384243 w 915754"/>
                <a:gd name="connsiteY34" fmla="*/ 364787 h 1458979"/>
                <a:gd name="connsiteX35" fmla="*/ 355060 w 915754"/>
                <a:gd name="connsiteY35" fmla="*/ 325876 h 1458979"/>
                <a:gd name="connsiteX36" fmla="*/ 355060 w 915754"/>
                <a:gd name="connsiteY36" fmla="*/ 218872 h 1458979"/>
                <a:gd name="connsiteX37" fmla="*/ 350196 w 915754"/>
                <a:gd name="connsiteY37" fmla="*/ 179961 h 1458979"/>
                <a:gd name="connsiteX38" fmla="*/ 369652 w 915754"/>
                <a:gd name="connsiteY38" fmla="*/ 102140 h 1458979"/>
                <a:gd name="connsiteX39" fmla="*/ 388379 w 915754"/>
                <a:gd name="connsiteY39" fmla="*/ 29286 h 1458979"/>
                <a:gd name="connsiteX40" fmla="*/ 238328 w 915754"/>
                <a:gd name="connsiteY40" fmla="*/ 0 h 1458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15754" h="1458979">
                  <a:moveTo>
                    <a:pt x="238328" y="0"/>
                  </a:moveTo>
                  <a:lnTo>
                    <a:pt x="141052" y="549613"/>
                  </a:lnTo>
                  <a:lnTo>
                    <a:pt x="160507" y="569068"/>
                  </a:lnTo>
                  <a:lnTo>
                    <a:pt x="175098" y="593387"/>
                  </a:lnTo>
                  <a:lnTo>
                    <a:pt x="175098" y="671208"/>
                  </a:lnTo>
                  <a:lnTo>
                    <a:pt x="126460" y="700391"/>
                  </a:lnTo>
                  <a:lnTo>
                    <a:pt x="107005" y="792804"/>
                  </a:lnTo>
                  <a:lnTo>
                    <a:pt x="58366" y="817123"/>
                  </a:lnTo>
                  <a:lnTo>
                    <a:pt x="53503" y="880353"/>
                  </a:lnTo>
                  <a:lnTo>
                    <a:pt x="58366" y="899808"/>
                  </a:lnTo>
                  <a:lnTo>
                    <a:pt x="72958" y="894944"/>
                  </a:lnTo>
                  <a:lnTo>
                    <a:pt x="82686" y="919264"/>
                  </a:lnTo>
                  <a:lnTo>
                    <a:pt x="43775" y="997085"/>
                  </a:lnTo>
                  <a:lnTo>
                    <a:pt x="0" y="1293779"/>
                  </a:lnTo>
                  <a:lnTo>
                    <a:pt x="852966" y="1458979"/>
                  </a:lnTo>
                  <a:lnTo>
                    <a:pt x="915754" y="970305"/>
                  </a:lnTo>
                  <a:cubicBezTo>
                    <a:pt x="897677" y="959085"/>
                    <a:pt x="893879" y="935960"/>
                    <a:pt x="875802" y="924740"/>
                  </a:cubicBezTo>
                  <a:lnTo>
                    <a:pt x="851171" y="933855"/>
                  </a:lnTo>
                  <a:lnTo>
                    <a:pt x="821988" y="963038"/>
                  </a:lnTo>
                  <a:lnTo>
                    <a:pt x="783077" y="972766"/>
                  </a:lnTo>
                  <a:lnTo>
                    <a:pt x="749030" y="953310"/>
                  </a:lnTo>
                  <a:lnTo>
                    <a:pt x="666345" y="967902"/>
                  </a:lnTo>
                  <a:lnTo>
                    <a:pt x="607979" y="914400"/>
                  </a:lnTo>
                  <a:lnTo>
                    <a:pt x="583660" y="890081"/>
                  </a:lnTo>
                  <a:lnTo>
                    <a:pt x="588524" y="841442"/>
                  </a:lnTo>
                  <a:lnTo>
                    <a:pt x="564205" y="792804"/>
                  </a:lnTo>
                  <a:lnTo>
                    <a:pt x="564205" y="763621"/>
                  </a:lnTo>
                  <a:lnTo>
                    <a:pt x="544749" y="700391"/>
                  </a:lnTo>
                  <a:lnTo>
                    <a:pt x="466928" y="705255"/>
                  </a:lnTo>
                  <a:lnTo>
                    <a:pt x="462064" y="661481"/>
                  </a:lnTo>
                  <a:lnTo>
                    <a:pt x="491247" y="646889"/>
                  </a:lnTo>
                  <a:lnTo>
                    <a:pt x="481520" y="588523"/>
                  </a:lnTo>
                  <a:lnTo>
                    <a:pt x="505839" y="510702"/>
                  </a:lnTo>
                  <a:lnTo>
                    <a:pt x="428018" y="432881"/>
                  </a:lnTo>
                  <a:lnTo>
                    <a:pt x="384243" y="364787"/>
                  </a:lnTo>
                  <a:lnTo>
                    <a:pt x="355060" y="325876"/>
                  </a:lnTo>
                  <a:lnTo>
                    <a:pt x="355060" y="218872"/>
                  </a:lnTo>
                  <a:lnTo>
                    <a:pt x="350196" y="179961"/>
                  </a:lnTo>
                  <a:lnTo>
                    <a:pt x="369652" y="102140"/>
                  </a:lnTo>
                  <a:lnTo>
                    <a:pt x="388379" y="29286"/>
                  </a:lnTo>
                  <a:lnTo>
                    <a:pt x="23832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93" name="Freeform 92"/>
            <p:cNvSpPr/>
            <p:nvPr/>
          </p:nvSpPr>
          <p:spPr>
            <a:xfrm>
              <a:off x="713225" y="1970920"/>
              <a:ext cx="634012" cy="442214"/>
            </a:xfrm>
            <a:custGeom>
              <a:avLst/>
              <a:gdLst>
                <a:gd name="connsiteX0" fmla="*/ 992221 w 992221"/>
                <a:gd name="connsiteY0" fmla="*/ 184826 h 749030"/>
                <a:gd name="connsiteX1" fmla="*/ 262647 w 992221"/>
                <a:gd name="connsiteY1" fmla="*/ 0 h 749030"/>
                <a:gd name="connsiteX2" fmla="*/ 291830 w 992221"/>
                <a:gd name="connsiteY2" fmla="*/ 24319 h 749030"/>
                <a:gd name="connsiteX3" fmla="*/ 325877 w 992221"/>
                <a:gd name="connsiteY3" fmla="*/ 63230 h 749030"/>
                <a:gd name="connsiteX4" fmla="*/ 296694 w 992221"/>
                <a:gd name="connsiteY4" fmla="*/ 102141 h 749030"/>
                <a:gd name="connsiteX5" fmla="*/ 316149 w 992221"/>
                <a:gd name="connsiteY5" fmla="*/ 136187 h 749030"/>
                <a:gd name="connsiteX6" fmla="*/ 296694 w 992221"/>
                <a:gd name="connsiteY6" fmla="*/ 160506 h 749030"/>
                <a:gd name="connsiteX7" fmla="*/ 321013 w 992221"/>
                <a:gd name="connsiteY7" fmla="*/ 189689 h 749030"/>
                <a:gd name="connsiteX8" fmla="*/ 321013 w 992221"/>
                <a:gd name="connsiteY8" fmla="*/ 233464 h 749030"/>
                <a:gd name="connsiteX9" fmla="*/ 282102 w 992221"/>
                <a:gd name="connsiteY9" fmla="*/ 243192 h 749030"/>
                <a:gd name="connsiteX10" fmla="*/ 277239 w 992221"/>
                <a:gd name="connsiteY10" fmla="*/ 291830 h 749030"/>
                <a:gd name="connsiteX11" fmla="*/ 218873 w 992221"/>
                <a:gd name="connsiteY11" fmla="*/ 350196 h 749030"/>
                <a:gd name="connsiteX12" fmla="*/ 189690 w 992221"/>
                <a:gd name="connsiteY12" fmla="*/ 335604 h 749030"/>
                <a:gd name="connsiteX13" fmla="*/ 189690 w 992221"/>
                <a:gd name="connsiteY13" fmla="*/ 335604 h 749030"/>
                <a:gd name="connsiteX14" fmla="*/ 238328 w 992221"/>
                <a:gd name="connsiteY14" fmla="*/ 291830 h 749030"/>
                <a:gd name="connsiteX15" fmla="*/ 248056 w 992221"/>
                <a:gd name="connsiteY15" fmla="*/ 262647 h 749030"/>
                <a:gd name="connsiteX16" fmla="*/ 218873 w 992221"/>
                <a:gd name="connsiteY16" fmla="*/ 233464 h 749030"/>
                <a:gd name="connsiteX17" fmla="*/ 252919 w 992221"/>
                <a:gd name="connsiteY17" fmla="*/ 204281 h 749030"/>
                <a:gd name="connsiteX18" fmla="*/ 238328 w 992221"/>
                <a:gd name="connsiteY18" fmla="*/ 175098 h 749030"/>
                <a:gd name="connsiteX19" fmla="*/ 199417 w 992221"/>
                <a:gd name="connsiteY19" fmla="*/ 145915 h 749030"/>
                <a:gd name="connsiteX20" fmla="*/ 34047 w 992221"/>
                <a:gd name="connsiteY20" fmla="*/ 63230 h 749030"/>
                <a:gd name="connsiteX21" fmla="*/ 0 w 992221"/>
                <a:gd name="connsiteY21" fmla="*/ 92413 h 749030"/>
                <a:gd name="connsiteX22" fmla="*/ 29183 w 992221"/>
                <a:gd name="connsiteY22" fmla="*/ 189689 h 749030"/>
                <a:gd name="connsiteX23" fmla="*/ 24319 w 992221"/>
                <a:gd name="connsiteY23" fmla="*/ 223736 h 749030"/>
                <a:gd name="connsiteX24" fmla="*/ 9728 w 992221"/>
                <a:gd name="connsiteY24" fmla="*/ 286966 h 749030"/>
                <a:gd name="connsiteX25" fmla="*/ 14592 w 992221"/>
                <a:gd name="connsiteY25" fmla="*/ 306421 h 749030"/>
                <a:gd name="connsiteX26" fmla="*/ 34047 w 992221"/>
                <a:gd name="connsiteY26" fmla="*/ 306421 h 749030"/>
                <a:gd name="connsiteX27" fmla="*/ 48639 w 992221"/>
                <a:gd name="connsiteY27" fmla="*/ 325877 h 749030"/>
                <a:gd name="connsiteX28" fmla="*/ 43775 w 992221"/>
                <a:gd name="connsiteY28" fmla="*/ 345332 h 749030"/>
                <a:gd name="connsiteX29" fmla="*/ 14592 w 992221"/>
                <a:gd name="connsiteY29" fmla="*/ 345332 h 749030"/>
                <a:gd name="connsiteX30" fmla="*/ 29183 w 992221"/>
                <a:gd name="connsiteY30" fmla="*/ 379379 h 749030"/>
                <a:gd name="connsiteX31" fmla="*/ 0 w 992221"/>
                <a:gd name="connsiteY31" fmla="*/ 413426 h 749030"/>
                <a:gd name="connsiteX32" fmla="*/ 4864 w 992221"/>
                <a:gd name="connsiteY32" fmla="*/ 452336 h 749030"/>
                <a:gd name="connsiteX33" fmla="*/ 43775 w 992221"/>
                <a:gd name="connsiteY33" fmla="*/ 457200 h 749030"/>
                <a:gd name="connsiteX34" fmla="*/ 58366 w 992221"/>
                <a:gd name="connsiteY34" fmla="*/ 476655 h 749030"/>
                <a:gd name="connsiteX35" fmla="*/ 136187 w 992221"/>
                <a:gd name="connsiteY35" fmla="*/ 515566 h 749030"/>
                <a:gd name="connsiteX36" fmla="*/ 145915 w 992221"/>
                <a:gd name="connsiteY36" fmla="*/ 627434 h 749030"/>
                <a:gd name="connsiteX37" fmla="*/ 145915 w 992221"/>
                <a:gd name="connsiteY37" fmla="*/ 627434 h 749030"/>
                <a:gd name="connsiteX38" fmla="*/ 199417 w 992221"/>
                <a:gd name="connsiteY38" fmla="*/ 622570 h 749030"/>
                <a:gd name="connsiteX39" fmla="*/ 223736 w 992221"/>
                <a:gd name="connsiteY39" fmla="*/ 617706 h 749030"/>
                <a:gd name="connsiteX40" fmla="*/ 248056 w 992221"/>
                <a:gd name="connsiteY40" fmla="*/ 617706 h 749030"/>
                <a:gd name="connsiteX41" fmla="*/ 272375 w 992221"/>
                <a:gd name="connsiteY41" fmla="*/ 603115 h 749030"/>
                <a:gd name="connsiteX42" fmla="*/ 330741 w 992221"/>
                <a:gd name="connsiteY42" fmla="*/ 661481 h 749030"/>
                <a:gd name="connsiteX43" fmla="*/ 389107 w 992221"/>
                <a:gd name="connsiteY43" fmla="*/ 637162 h 749030"/>
                <a:gd name="connsiteX44" fmla="*/ 452336 w 992221"/>
                <a:gd name="connsiteY44" fmla="*/ 680936 h 749030"/>
                <a:gd name="connsiteX45" fmla="*/ 515566 w 992221"/>
                <a:gd name="connsiteY45" fmla="*/ 676072 h 749030"/>
                <a:gd name="connsiteX46" fmla="*/ 569068 w 992221"/>
                <a:gd name="connsiteY46" fmla="*/ 680936 h 749030"/>
                <a:gd name="connsiteX47" fmla="*/ 598251 w 992221"/>
                <a:gd name="connsiteY47" fmla="*/ 690664 h 749030"/>
                <a:gd name="connsiteX48" fmla="*/ 642026 w 992221"/>
                <a:gd name="connsiteY48" fmla="*/ 676072 h 749030"/>
                <a:gd name="connsiteX49" fmla="*/ 710119 w 992221"/>
                <a:gd name="connsiteY49" fmla="*/ 700392 h 749030"/>
                <a:gd name="connsiteX50" fmla="*/ 749030 w 992221"/>
                <a:gd name="connsiteY50" fmla="*/ 695528 h 749030"/>
                <a:gd name="connsiteX51" fmla="*/ 797668 w 992221"/>
                <a:gd name="connsiteY51" fmla="*/ 719847 h 749030"/>
                <a:gd name="connsiteX52" fmla="*/ 846307 w 992221"/>
                <a:gd name="connsiteY52" fmla="*/ 729575 h 749030"/>
                <a:gd name="connsiteX53" fmla="*/ 870626 w 992221"/>
                <a:gd name="connsiteY53" fmla="*/ 724711 h 749030"/>
                <a:gd name="connsiteX54" fmla="*/ 894945 w 992221"/>
                <a:gd name="connsiteY54" fmla="*/ 739302 h 749030"/>
                <a:gd name="connsiteX55" fmla="*/ 919264 w 992221"/>
                <a:gd name="connsiteY55" fmla="*/ 749030 h 749030"/>
                <a:gd name="connsiteX56" fmla="*/ 992221 w 992221"/>
                <a:gd name="connsiteY56" fmla="*/ 184826 h 749030"/>
                <a:gd name="connsiteX0" fmla="*/ 1006541 w 1006541"/>
                <a:gd name="connsiteY0" fmla="*/ 182379 h 749030"/>
                <a:gd name="connsiteX1" fmla="*/ 262647 w 1006541"/>
                <a:gd name="connsiteY1" fmla="*/ 0 h 749030"/>
                <a:gd name="connsiteX2" fmla="*/ 291830 w 1006541"/>
                <a:gd name="connsiteY2" fmla="*/ 24319 h 749030"/>
                <a:gd name="connsiteX3" fmla="*/ 325877 w 1006541"/>
                <a:gd name="connsiteY3" fmla="*/ 63230 h 749030"/>
                <a:gd name="connsiteX4" fmla="*/ 296694 w 1006541"/>
                <a:gd name="connsiteY4" fmla="*/ 102141 h 749030"/>
                <a:gd name="connsiteX5" fmla="*/ 316149 w 1006541"/>
                <a:gd name="connsiteY5" fmla="*/ 136187 h 749030"/>
                <a:gd name="connsiteX6" fmla="*/ 296694 w 1006541"/>
                <a:gd name="connsiteY6" fmla="*/ 160506 h 749030"/>
                <a:gd name="connsiteX7" fmla="*/ 321013 w 1006541"/>
                <a:gd name="connsiteY7" fmla="*/ 189689 h 749030"/>
                <a:gd name="connsiteX8" fmla="*/ 321013 w 1006541"/>
                <a:gd name="connsiteY8" fmla="*/ 233464 h 749030"/>
                <a:gd name="connsiteX9" fmla="*/ 282102 w 1006541"/>
                <a:gd name="connsiteY9" fmla="*/ 243192 h 749030"/>
                <a:gd name="connsiteX10" fmla="*/ 277239 w 1006541"/>
                <a:gd name="connsiteY10" fmla="*/ 291830 h 749030"/>
                <a:gd name="connsiteX11" fmla="*/ 218873 w 1006541"/>
                <a:gd name="connsiteY11" fmla="*/ 350196 h 749030"/>
                <a:gd name="connsiteX12" fmla="*/ 189690 w 1006541"/>
                <a:gd name="connsiteY12" fmla="*/ 335604 h 749030"/>
                <a:gd name="connsiteX13" fmla="*/ 189690 w 1006541"/>
                <a:gd name="connsiteY13" fmla="*/ 335604 h 749030"/>
                <a:gd name="connsiteX14" fmla="*/ 238328 w 1006541"/>
                <a:gd name="connsiteY14" fmla="*/ 291830 h 749030"/>
                <a:gd name="connsiteX15" fmla="*/ 248056 w 1006541"/>
                <a:gd name="connsiteY15" fmla="*/ 262647 h 749030"/>
                <a:gd name="connsiteX16" fmla="*/ 218873 w 1006541"/>
                <a:gd name="connsiteY16" fmla="*/ 233464 h 749030"/>
                <a:gd name="connsiteX17" fmla="*/ 252919 w 1006541"/>
                <a:gd name="connsiteY17" fmla="*/ 204281 h 749030"/>
                <a:gd name="connsiteX18" fmla="*/ 238328 w 1006541"/>
                <a:gd name="connsiteY18" fmla="*/ 175098 h 749030"/>
                <a:gd name="connsiteX19" fmla="*/ 199417 w 1006541"/>
                <a:gd name="connsiteY19" fmla="*/ 145915 h 749030"/>
                <a:gd name="connsiteX20" fmla="*/ 34047 w 1006541"/>
                <a:gd name="connsiteY20" fmla="*/ 63230 h 749030"/>
                <a:gd name="connsiteX21" fmla="*/ 0 w 1006541"/>
                <a:gd name="connsiteY21" fmla="*/ 92413 h 749030"/>
                <a:gd name="connsiteX22" fmla="*/ 29183 w 1006541"/>
                <a:gd name="connsiteY22" fmla="*/ 189689 h 749030"/>
                <a:gd name="connsiteX23" fmla="*/ 24319 w 1006541"/>
                <a:gd name="connsiteY23" fmla="*/ 223736 h 749030"/>
                <a:gd name="connsiteX24" fmla="*/ 9728 w 1006541"/>
                <a:gd name="connsiteY24" fmla="*/ 286966 h 749030"/>
                <a:gd name="connsiteX25" fmla="*/ 14592 w 1006541"/>
                <a:gd name="connsiteY25" fmla="*/ 306421 h 749030"/>
                <a:gd name="connsiteX26" fmla="*/ 34047 w 1006541"/>
                <a:gd name="connsiteY26" fmla="*/ 306421 h 749030"/>
                <a:gd name="connsiteX27" fmla="*/ 48639 w 1006541"/>
                <a:gd name="connsiteY27" fmla="*/ 325877 h 749030"/>
                <a:gd name="connsiteX28" fmla="*/ 43775 w 1006541"/>
                <a:gd name="connsiteY28" fmla="*/ 345332 h 749030"/>
                <a:gd name="connsiteX29" fmla="*/ 14592 w 1006541"/>
                <a:gd name="connsiteY29" fmla="*/ 345332 h 749030"/>
                <a:gd name="connsiteX30" fmla="*/ 29183 w 1006541"/>
                <a:gd name="connsiteY30" fmla="*/ 379379 h 749030"/>
                <a:gd name="connsiteX31" fmla="*/ 0 w 1006541"/>
                <a:gd name="connsiteY31" fmla="*/ 413426 h 749030"/>
                <a:gd name="connsiteX32" fmla="*/ 4864 w 1006541"/>
                <a:gd name="connsiteY32" fmla="*/ 452336 h 749030"/>
                <a:gd name="connsiteX33" fmla="*/ 43775 w 1006541"/>
                <a:gd name="connsiteY33" fmla="*/ 457200 h 749030"/>
                <a:gd name="connsiteX34" fmla="*/ 58366 w 1006541"/>
                <a:gd name="connsiteY34" fmla="*/ 476655 h 749030"/>
                <a:gd name="connsiteX35" fmla="*/ 136187 w 1006541"/>
                <a:gd name="connsiteY35" fmla="*/ 515566 h 749030"/>
                <a:gd name="connsiteX36" fmla="*/ 145915 w 1006541"/>
                <a:gd name="connsiteY36" fmla="*/ 627434 h 749030"/>
                <a:gd name="connsiteX37" fmla="*/ 145915 w 1006541"/>
                <a:gd name="connsiteY37" fmla="*/ 627434 h 749030"/>
                <a:gd name="connsiteX38" fmla="*/ 199417 w 1006541"/>
                <a:gd name="connsiteY38" fmla="*/ 622570 h 749030"/>
                <a:gd name="connsiteX39" fmla="*/ 223736 w 1006541"/>
                <a:gd name="connsiteY39" fmla="*/ 617706 h 749030"/>
                <a:gd name="connsiteX40" fmla="*/ 248056 w 1006541"/>
                <a:gd name="connsiteY40" fmla="*/ 617706 h 749030"/>
                <a:gd name="connsiteX41" fmla="*/ 272375 w 1006541"/>
                <a:gd name="connsiteY41" fmla="*/ 603115 h 749030"/>
                <a:gd name="connsiteX42" fmla="*/ 330741 w 1006541"/>
                <a:gd name="connsiteY42" fmla="*/ 661481 h 749030"/>
                <a:gd name="connsiteX43" fmla="*/ 389107 w 1006541"/>
                <a:gd name="connsiteY43" fmla="*/ 637162 h 749030"/>
                <a:gd name="connsiteX44" fmla="*/ 452336 w 1006541"/>
                <a:gd name="connsiteY44" fmla="*/ 680936 h 749030"/>
                <a:gd name="connsiteX45" fmla="*/ 515566 w 1006541"/>
                <a:gd name="connsiteY45" fmla="*/ 676072 h 749030"/>
                <a:gd name="connsiteX46" fmla="*/ 569068 w 1006541"/>
                <a:gd name="connsiteY46" fmla="*/ 680936 h 749030"/>
                <a:gd name="connsiteX47" fmla="*/ 598251 w 1006541"/>
                <a:gd name="connsiteY47" fmla="*/ 690664 h 749030"/>
                <a:gd name="connsiteX48" fmla="*/ 642026 w 1006541"/>
                <a:gd name="connsiteY48" fmla="*/ 676072 h 749030"/>
                <a:gd name="connsiteX49" fmla="*/ 710119 w 1006541"/>
                <a:gd name="connsiteY49" fmla="*/ 700392 h 749030"/>
                <a:gd name="connsiteX50" fmla="*/ 749030 w 1006541"/>
                <a:gd name="connsiteY50" fmla="*/ 695528 h 749030"/>
                <a:gd name="connsiteX51" fmla="*/ 797668 w 1006541"/>
                <a:gd name="connsiteY51" fmla="*/ 719847 h 749030"/>
                <a:gd name="connsiteX52" fmla="*/ 846307 w 1006541"/>
                <a:gd name="connsiteY52" fmla="*/ 729575 h 749030"/>
                <a:gd name="connsiteX53" fmla="*/ 870626 w 1006541"/>
                <a:gd name="connsiteY53" fmla="*/ 724711 h 749030"/>
                <a:gd name="connsiteX54" fmla="*/ 894945 w 1006541"/>
                <a:gd name="connsiteY54" fmla="*/ 739302 h 749030"/>
                <a:gd name="connsiteX55" fmla="*/ 919264 w 1006541"/>
                <a:gd name="connsiteY55" fmla="*/ 749030 h 749030"/>
                <a:gd name="connsiteX56" fmla="*/ 1006541 w 1006541"/>
                <a:gd name="connsiteY56" fmla="*/ 182379 h 749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006541" h="749030">
                  <a:moveTo>
                    <a:pt x="1006541" y="182379"/>
                  </a:moveTo>
                  <a:lnTo>
                    <a:pt x="262647" y="0"/>
                  </a:lnTo>
                  <a:lnTo>
                    <a:pt x="291830" y="24319"/>
                  </a:lnTo>
                  <a:lnTo>
                    <a:pt x="325877" y="63230"/>
                  </a:lnTo>
                  <a:lnTo>
                    <a:pt x="296694" y="102141"/>
                  </a:lnTo>
                  <a:lnTo>
                    <a:pt x="316149" y="136187"/>
                  </a:lnTo>
                  <a:lnTo>
                    <a:pt x="296694" y="160506"/>
                  </a:lnTo>
                  <a:lnTo>
                    <a:pt x="321013" y="189689"/>
                  </a:lnTo>
                  <a:lnTo>
                    <a:pt x="321013" y="233464"/>
                  </a:lnTo>
                  <a:lnTo>
                    <a:pt x="282102" y="243192"/>
                  </a:lnTo>
                  <a:lnTo>
                    <a:pt x="277239" y="291830"/>
                  </a:lnTo>
                  <a:lnTo>
                    <a:pt x="218873" y="350196"/>
                  </a:lnTo>
                  <a:lnTo>
                    <a:pt x="189690" y="335604"/>
                  </a:lnTo>
                  <a:lnTo>
                    <a:pt x="189690" y="335604"/>
                  </a:lnTo>
                  <a:lnTo>
                    <a:pt x="238328" y="291830"/>
                  </a:lnTo>
                  <a:lnTo>
                    <a:pt x="248056" y="262647"/>
                  </a:lnTo>
                  <a:lnTo>
                    <a:pt x="218873" y="233464"/>
                  </a:lnTo>
                  <a:lnTo>
                    <a:pt x="252919" y="204281"/>
                  </a:lnTo>
                  <a:lnTo>
                    <a:pt x="238328" y="175098"/>
                  </a:lnTo>
                  <a:lnTo>
                    <a:pt x="199417" y="145915"/>
                  </a:lnTo>
                  <a:lnTo>
                    <a:pt x="34047" y="63230"/>
                  </a:lnTo>
                  <a:lnTo>
                    <a:pt x="0" y="92413"/>
                  </a:lnTo>
                  <a:lnTo>
                    <a:pt x="29183" y="189689"/>
                  </a:lnTo>
                  <a:lnTo>
                    <a:pt x="24319" y="223736"/>
                  </a:lnTo>
                  <a:lnTo>
                    <a:pt x="9728" y="286966"/>
                  </a:lnTo>
                  <a:lnTo>
                    <a:pt x="14592" y="306421"/>
                  </a:lnTo>
                  <a:lnTo>
                    <a:pt x="34047" y="306421"/>
                  </a:lnTo>
                  <a:lnTo>
                    <a:pt x="48639" y="325877"/>
                  </a:lnTo>
                  <a:lnTo>
                    <a:pt x="43775" y="345332"/>
                  </a:lnTo>
                  <a:lnTo>
                    <a:pt x="14592" y="345332"/>
                  </a:lnTo>
                  <a:lnTo>
                    <a:pt x="29183" y="379379"/>
                  </a:lnTo>
                  <a:lnTo>
                    <a:pt x="0" y="413426"/>
                  </a:lnTo>
                  <a:lnTo>
                    <a:pt x="4864" y="452336"/>
                  </a:lnTo>
                  <a:lnTo>
                    <a:pt x="43775" y="457200"/>
                  </a:lnTo>
                  <a:lnTo>
                    <a:pt x="58366" y="476655"/>
                  </a:lnTo>
                  <a:lnTo>
                    <a:pt x="136187" y="515566"/>
                  </a:lnTo>
                  <a:lnTo>
                    <a:pt x="145915" y="627434"/>
                  </a:lnTo>
                  <a:lnTo>
                    <a:pt x="145915" y="627434"/>
                  </a:lnTo>
                  <a:lnTo>
                    <a:pt x="199417" y="622570"/>
                  </a:lnTo>
                  <a:lnTo>
                    <a:pt x="223736" y="617706"/>
                  </a:lnTo>
                  <a:lnTo>
                    <a:pt x="248056" y="617706"/>
                  </a:lnTo>
                  <a:lnTo>
                    <a:pt x="272375" y="603115"/>
                  </a:lnTo>
                  <a:lnTo>
                    <a:pt x="330741" y="661481"/>
                  </a:lnTo>
                  <a:lnTo>
                    <a:pt x="389107" y="637162"/>
                  </a:lnTo>
                  <a:lnTo>
                    <a:pt x="452336" y="680936"/>
                  </a:lnTo>
                  <a:lnTo>
                    <a:pt x="515566" y="676072"/>
                  </a:lnTo>
                  <a:lnTo>
                    <a:pt x="569068" y="680936"/>
                  </a:lnTo>
                  <a:lnTo>
                    <a:pt x="598251" y="690664"/>
                  </a:lnTo>
                  <a:lnTo>
                    <a:pt x="642026" y="676072"/>
                  </a:lnTo>
                  <a:lnTo>
                    <a:pt x="710119" y="700392"/>
                  </a:lnTo>
                  <a:lnTo>
                    <a:pt x="749030" y="695528"/>
                  </a:lnTo>
                  <a:lnTo>
                    <a:pt x="797668" y="719847"/>
                  </a:lnTo>
                  <a:lnTo>
                    <a:pt x="846307" y="729575"/>
                  </a:lnTo>
                  <a:lnTo>
                    <a:pt x="870626" y="724711"/>
                  </a:lnTo>
                  <a:lnTo>
                    <a:pt x="894945" y="739302"/>
                  </a:lnTo>
                  <a:lnTo>
                    <a:pt x="919264" y="749030"/>
                  </a:lnTo>
                  <a:lnTo>
                    <a:pt x="1006541" y="18237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94" name="Freeform 93"/>
            <p:cNvSpPr/>
            <p:nvPr/>
          </p:nvSpPr>
          <p:spPr>
            <a:xfrm>
              <a:off x="550222" y="2230440"/>
              <a:ext cx="760014" cy="609917"/>
            </a:xfrm>
            <a:custGeom>
              <a:avLst/>
              <a:gdLst>
                <a:gd name="connsiteX0" fmla="*/ 265568 w 1195057"/>
                <a:gd name="connsiteY0" fmla="*/ 0 h 1013988"/>
                <a:gd name="connsiteX1" fmla="*/ 250479 w 1195057"/>
                <a:gd name="connsiteY1" fmla="*/ 72428 h 1013988"/>
                <a:gd name="connsiteX2" fmla="*/ 250479 w 1195057"/>
                <a:gd name="connsiteY2" fmla="*/ 114677 h 1013988"/>
                <a:gd name="connsiteX3" fmla="*/ 232372 w 1195057"/>
                <a:gd name="connsiteY3" fmla="*/ 132784 h 1013988"/>
                <a:gd name="connsiteX4" fmla="*/ 217283 w 1195057"/>
                <a:gd name="connsiteY4" fmla="*/ 193140 h 1013988"/>
                <a:gd name="connsiteX5" fmla="*/ 172016 w 1195057"/>
                <a:gd name="connsiteY5" fmla="*/ 238408 h 1013988"/>
                <a:gd name="connsiteX6" fmla="*/ 162962 w 1195057"/>
                <a:gd name="connsiteY6" fmla="*/ 325925 h 1013988"/>
                <a:gd name="connsiteX7" fmla="*/ 54321 w 1195057"/>
                <a:gd name="connsiteY7" fmla="*/ 476816 h 1013988"/>
                <a:gd name="connsiteX8" fmla="*/ 54321 w 1195057"/>
                <a:gd name="connsiteY8" fmla="*/ 519065 h 1013988"/>
                <a:gd name="connsiteX9" fmla="*/ 21125 w 1195057"/>
                <a:gd name="connsiteY9" fmla="*/ 558297 h 1013988"/>
                <a:gd name="connsiteX10" fmla="*/ 15089 w 1195057"/>
                <a:gd name="connsiteY10" fmla="*/ 615636 h 1013988"/>
                <a:gd name="connsiteX11" fmla="*/ 0 w 1195057"/>
                <a:gd name="connsiteY11" fmla="*/ 688063 h 1013988"/>
                <a:gd name="connsiteX12" fmla="*/ 6036 w 1195057"/>
                <a:gd name="connsiteY12" fmla="*/ 748420 h 1013988"/>
                <a:gd name="connsiteX13" fmla="*/ 591493 w 1195057"/>
                <a:gd name="connsiteY13" fmla="*/ 917418 h 1013988"/>
                <a:gd name="connsiteX14" fmla="*/ 1029077 w 1195057"/>
                <a:gd name="connsiteY14" fmla="*/ 1013988 h 1013988"/>
                <a:gd name="connsiteX15" fmla="*/ 1071327 w 1195057"/>
                <a:gd name="connsiteY15" fmla="*/ 712206 h 1013988"/>
                <a:gd name="connsiteX16" fmla="*/ 1107541 w 1195057"/>
                <a:gd name="connsiteY16" fmla="*/ 642796 h 1013988"/>
                <a:gd name="connsiteX17" fmla="*/ 1092452 w 1195057"/>
                <a:gd name="connsiteY17" fmla="*/ 612618 h 1013988"/>
                <a:gd name="connsiteX18" fmla="*/ 1083398 w 1195057"/>
                <a:gd name="connsiteY18" fmla="*/ 615636 h 1013988"/>
                <a:gd name="connsiteX19" fmla="*/ 1083398 w 1195057"/>
                <a:gd name="connsiteY19" fmla="*/ 543208 h 1013988"/>
                <a:gd name="connsiteX20" fmla="*/ 1134701 w 1195057"/>
                <a:gd name="connsiteY20" fmla="*/ 519065 h 1013988"/>
                <a:gd name="connsiteX21" fmla="*/ 1149790 w 1195057"/>
                <a:gd name="connsiteY21" fmla="*/ 419477 h 1013988"/>
                <a:gd name="connsiteX22" fmla="*/ 1195057 w 1195057"/>
                <a:gd name="connsiteY22" fmla="*/ 392317 h 1013988"/>
                <a:gd name="connsiteX23" fmla="*/ 1195057 w 1195057"/>
                <a:gd name="connsiteY23" fmla="*/ 322907 h 1013988"/>
                <a:gd name="connsiteX24" fmla="*/ 1182986 w 1195057"/>
                <a:gd name="connsiteY24" fmla="*/ 292729 h 1013988"/>
                <a:gd name="connsiteX25" fmla="*/ 1164879 w 1195057"/>
                <a:gd name="connsiteY25" fmla="*/ 292729 h 1013988"/>
                <a:gd name="connsiteX26" fmla="*/ 1131683 w 1195057"/>
                <a:gd name="connsiteY26" fmla="*/ 271604 h 1013988"/>
                <a:gd name="connsiteX27" fmla="*/ 1089434 w 1195057"/>
                <a:gd name="connsiteY27" fmla="*/ 271604 h 1013988"/>
                <a:gd name="connsiteX28" fmla="*/ 1059256 w 1195057"/>
                <a:gd name="connsiteY28" fmla="*/ 268586 h 1013988"/>
                <a:gd name="connsiteX29" fmla="*/ 998899 w 1195057"/>
                <a:gd name="connsiteY29" fmla="*/ 235390 h 1013988"/>
                <a:gd name="connsiteX30" fmla="*/ 968721 w 1195057"/>
                <a:gd name="connsiteY30" fmla="*/ 247461 h 1013988"/>
                <a:gd name="connsiteX31" fmla="*/ 908364 w 1195057"/>
                <a:gd name="connsiteY31" fmla="*/ 220301 h 1013988"/>
                <a:gd name="connsiteX32" fmla="*/ 854044 w 1195057"/>
                <a:gd name="connsiteY32" fmla="*/ 235390 h 1013988"/>
                <a:gd name="connsiteX33" fmla="*/ 832919 w 1195057"/>
                <a:gd name="connsiteY33" fmla="*/ 226336 h 1013988"/>
                <a:gd name="connsiteX34" fmla="*/ 715224 w 1195057"/>
                <a:gd name="connsiteY34" fmla="*/ 226336 h 1013988"/>
                <a:gd name="connsiteX35" fmla="*/ 648832 w 1195057"/>
                <a:gd name="connsiteY35" fmla="*/ 181069 h 1013988"/>
                <a:gd name="connsiteX36" fmla="*/ 588475 w 1195057"/>
                <a:gd name="connsiteY36" fmla="*/ 208230 h 1013988"/>
                <a:gd name="connsiteX37" fmla="*/ 531137 w 1195057"/>
                <a:gd name="connsiteY37" fmla="*/ 144855 h 1013988"/>
                <a:gd name="connsiteX38" fmla="*/ 407406 w 1195057"/>
                <a:gd name="connsiteY38" fmla="*/ 172016 h 1013988"/>
                <a:gd name="connsiteX39" fmla="*/ 392317 w 1195057"/>
                <a:gd name="connsiteY39" fmla="*/ 60356 h 1013988"/>
                <a:gd name="connsiteX40" fmla="*/ 265568 w 1195057"/>
                <a:gd name="connsiteY40" fmla="*/ 0 h 1013988"/>
                <a:gd name="connsiteX0" fmla="*/ 265568 w 1206976"/>
                <a:gd name="connsiteY0" fmla="*/ 0 h 1013988"/>
                <a:gd name="connsiteX1" fmla="*/ 250479 w 1206976"/>
                <a:gd name="connsiteY1" fmla="*/ 72428 h 1013988"/>
                <a:gd name="connsiteX2" fmla="*/ 250479 w 1206976"/>
                <a:gd name="connsiteY2" fmla="*/ 114677 h 1013988"/>
                <a:gd name="connsiteX3" fmla="*/ 232372 w 1206976"/>
                <a:gd name="connsiteY3" fmla="*/ 132784 h 1013988"/>
                <a:gd name="connsiteX4" fmla="*/ 217283 w 1206976"/>
                <a:gd name="connsiteY4" fmla="*/ 193140 h 1013988"/>
                <a:gd name="connsiteX5" fmla="*/ 172016 w 1206976"/>
                <a:gd name="connsiteY5" fmla="*/ 238408 h 1013988"/>
                <a:gd name="connsiteX6" fmla="*/ 162962 w 1206976"/>
                <a:gd name="connsiteY6" fmla="*/ 325925 h 1013988"/>
                <a:gd name="connsiteX7" fmla="*/ 54321 w 1206976"/>
                <a:gd name="connsiteY7" fmla="*/ 476816 h 1013988"/>
                <a:gd name="connsiteX8" fmla="*/ 54321 w 1206976"/>
                <a:gd name="connsiteY8" fmla="*/ 519065 h 1013988"/>
                <a:gd name="connsiteX9" fmla="*/ 21125 w 1206976"/>
                <a:gd name="connsiteY9" fmla="*/ 558297 h 1013988"/>
                <a:gd name="connsiteX10" fmla="*/ 15089 w 1206976"/>
                <a:gd name="connsiteY10" fmla="*/ 615636 h 1013988"/>
                <a:gd name="connsiteX11" fmla="*/ 0 w 1206976"/>
                <a:gd name="connsiteY11" fmla="*/ 688063 h 1013988"/>
                <a:gd name="connsiteX12" fmla="*/ 6036 w 1206976"/>
                <a:gd name="connsiteY12" fmla="*/ 748420 h 1013988"/>
                <a:gd name="connsiteX13" fmla="*/ 591493 w 1206976"/>
                <a:gd name="connsiteY13" fmla="*/ 917418 h 1013988"/>
                <a:gd name="connsiteX14" fmla="*/ 1029077 w 1206976"/>
                <a:gd name="connsiteY14" fmla="*/ 1013988 h 1013988"/>
                <a:gd name="connsiteX15" fmla="*/ 1071327 w 1206976"/>
                <a:gd name="connsiteY15" fmla="*/ 712206 h 1013988"/>
                <a:gd name="connsiteX16" fmla="*/ 1107541 w 1206976"/>
                <a:gd name="connsiteY16" fmla="*/ 642796 h 1013988"/>
                <a:gd name="connsiteX17" fmla="*/ 1092452 w 1206976"/>
                <a:gd name="connsiteY17" fmla="*/ 612618 h 1013988"/>
                <a:gd name="connsiteX18" fmla="*/ 1083398 w 1206976"/>
                <a:gd name="connsiteY18" fmla="*/ 615636 h 1013988"/>
                <a:gd name="connsiteX19" fmla="*/ 1083398 w 1206976"/>
                <a:gd name="connsiteY19" fmla="*/ 543208 h 1013988"/>
                <a:gd name="connsiteX20" fmla="*/ 1134701 w 1206976"/>
                <a:gd name="connsiteY20" fmla="*/ 519065 h 1013988"/>
                <a:gd name="connsiteX21" fmla="*/ 1149790 w 1206976"/>
                <a:gd name="connsiteY21" fmla="*/ 419477 h 1013988"/>
                <a:gd name="connsiteX22" fmla="*/ 1206976 w 1206976"/>
                <a:gd name="connsiteY22" fmla="*/ 392317 h 1013988"/>
                <a:gd name="connsiteX23" fmla="*/ 1195057 w 1206976"/>
                <a:gd name="connsiteY23" fmla="*/ 322907 h 1013988"/>
                <a:gd name="connsiteX24" fmla="*/ 1182986 w 1206976"/>
                <a:gd name="connsiteY24" fmla="*/ 292729 h 1013988"/>
                <a:gd name="connsiteX25" fmla="*/ 1164879 w 1206976"/>
                <a:gd name="connsiteY25" fmla="*/ 292729 h 1013988"/>
                <a:gd name="connsiteX26" fmla="*/ 1131683 w 1206976"/>
                <a:gd name="connsiteY26" fmla="*/ 271604 h 1013988"/>
                <a:gd name="connsiteX27" fmla="*/ 1089434 w 1206976"/>
                <a:gd name="connsiteY27" fmla="*/ 271604 h 1013988"/>
                <a:gd name="connsiteX28" fmla="*/ 1059256 w 1206976"/>
                <a:gd name="connsiteY28" fmla="*/ 268586 h 1013988"/>
                <a:gd name="connsiteX29" fmla="*/ 998899 w 1206976"/>
                <a:gd name="connsiteY29" fmla="*/ 235390 h 1013988"/>
                <a:gd name="connsiteX30" fmla="*/ 968721 w 1206976"/>
                <a:gd name="connsiteY30" fmla="*/ 247461 h 1013988"/>
                <a:gd name="connsiteX31" fmla="*/ 908364 w 1206976"/>
                <a:gd name="connsiteY31" fmla="*/ 220301 h 1013988"/>
                <a:gd name="connsiteX32" fmla="*/ 854044 w 1206976"/>
                <a:gd name="connsiteY32" fmla="*/ 235390 h 1013988"/>
                <a:gd name="connsiteX33" fmla="*/ 832919 w 1206976"/>
                <a:gd name="connsiteY33" fmla="*/ 226336 h 1013988"/>
                <a:gd name="connsiteX34" fmla="*/ 715224 w 1206976"/>
                <a:gd name="connsiteY34" fmla="*/ 226336 h 1013988"/>
                <a:gd name="connsiteX35" fmla="*/ 648832 w 1206976"/>
                <a:gd name="connsiteY35" fmla="*/ 181069 h 1013988"/>
                <a:gd name="connsiteX36" fmla="*/ 588475 w 1206976"/>
                <a:gd name="connsiteY36" fmla="*/ 208230 h 1013988"/>
                <a:gd name="connsiteX37" fmla="*/ 531137 w 1206976"/>
                <a:gd name="connsiteY37" fmla="*/ 144855 h 1013988"/>
                <a:gd name="connsiteX38" fmla="*/ 407406 w 1206976"/>
                <a:gd name="connsiteY38" fmla="*/ 172016 h 1013988"/>
                <a:gd name="connsiteX39" fmla="*/ 392317 w 1206976"/>
                <a:gd name="connsiteY39" fmla="*/ 60356 h 1013988"/>
                <a:gd name="connsiteX40" fmla="*/ 265568 w 1206976"/>
                <a:gd name="connsiteY40" fmla="*/ 0 h 1013988"/>
                <a:gd name="connsiteX0" fmla="*/ 265568 w 1206976"/>
                <a:gd name="connsiteY0" fmla="*/ 0 h 1013988"/>
                <a:gd name="connsiteX1" fmla="*/ 250479 w 1206976"/>
                <a:gd name="connsiteY1" fmla="*/ 72428 h 1013988"/>
                <a:gd name="connsiteX2" fmla="*/ 250479 w 1206976"/>
                <a:gd name="connsiteY2" fmla="*/ 114677 h 1013988"/>
                <a:gd name="connsiteX3" fmla="*/ 232372 w 1206976"/>
                <a:gd name="connsiteY3" fmla="*/ 132784 h 1013988"/>
                <a:gd name="connsiteX4" fmla="*/ 217283 w 1206976"/>
                <a:gd name="connsiteY4" fmla="*/ 193140 h 1013988"/>
                <a:gd name="connsiteX5" fmla="*/ 172016 w 1206976"/>
                <a:gd name="connsiteY5" fmla="*/ 238408 h 1013988"/>
                <a:gd name="connsiteX6" fmla="*/ 162962 w 1206976"/>
                <a:gd name="connsiteY6" fmla="*/ 325925 h 1013988"/>
                <a:gd name="connsiteX7" fmla="*/ 54321 w 1206976"/>
                <a:gd name="connsiteY7" fmla="*/ 476816 h 1013988"/>
                <a:gd name="connsiteX8" fmla="*/ 54321 w 1206976"/>
                <a:gd name="connsiteY8" fmla="*/ 519065 h 1013988"/>
                <a:gd name="connsiteX9" fmla="*/ 21125 w 1206976"/>
                <a:gd name="connsiteY9" fmla="*/ 558297 h 1013988"/>
                <a:gd name="connsiteX10" fmla="*/ 15089 w 1206976"/>
                <a:gd name="connsiteY10" fmla="*/ 615636 h 1013988"/>
                <a:gd name="connsiteX11" fmla="*/ 0 w 1206976"/>
                <a:gd name="connsiteY11" fmla="*/ 688063 h 1013988"/>
                <a:gd name="connsiteX12" fmla="*/ 6036 w 1206976"/>
                <a:gd name="connsiteY12" fmla="*/ 748420 h 1013988"/>
                <a:gd name="connsiteX13" fmla="*/ 591493 w 1206976"/>
                <a:gd name="connsiteY13" fmla="*/ 917418 h 1013988"/>
                <a:gd name="connsiteX14" fmla="*/ 1029077 w 1206976"/>
                <a:gd name="connsiteY14" fmla="*/ 1013988 h 1013988"/>
                <a:gd name="connsiteX15" fmla="*/ 1071327 w 1206976"/>
                <a:gd name="connsiteY15" fmla="*/ 712206 h 1013988"/>
                <a:gd name="connsiteX16" fmla="*/ 1107541 w 1206976"/>
                <a:gd name="connsiteY16" fmla="*/ 642796 h 1013988"/>
                <a:gd name="connsiteX17" fmla="*/ 1092452 w 1206976"/>
                <a:gd name="connsiteY17" fmla="*/ 612618 h 1013988"/>
                <a:gd name="connsiteX18" fmla="*/ 1083398 w 1206976"/>
                <a:gd name="connsiteY18" fmla="*/ 615636 h 1013988"/>
                <a:gd name="connsiteX19" fmla="*/ 1083398 w 1206976"/>
                <a:gd name="connsiteY19" fmla="*/ 543208 h 1013988"/>
                <a:gd name="connsiteX20" fmla="*/ 1134701 w 1206976"/>
                <a:gd name="connsiteY20" fmla="*/ 519065 h 1013988"/>
                <a:gd name="connsiteX21" fmla="*/ 1149790 w 1206976"/>
                <a:gd name="connsiteY21" fmla="*/ 419477 h 1013988"/>
                <a:gd name="connsiteX22" fmla="*/ 1206976 w 1206976"/>
                <a:gd name="connsiteY22" fmla="*/ 392317 h 1013988"/>
                <a:gd name="connsiteX23" fmla="*/ 1204592 w 1206976"/>
                <a:gd name="connsiteY23" fmla="*/ 322907 h 1013988"/>
                <a:gd name="connsiteX24" fmla="*/ 1182986 w 1206976"/>
                <a:gd name="connsiteY24" fmla="*/ 292729 h 1013988"/>
                <a:gd name="connsiteX25" fmla="*/ 1164879 w 1206976"/>
                <a:gd name="connsiteY25" fmla="*/ 292729 h 1013988"/>
                <a:gd name="connsiteX26" fmla="*/ 1131683 w 1206976"/>
                <a:gd name="connsiteY26" fmla="*/ 271604 h 1013988"/>
                <a:gd name="connsiteX27" fmla="*/ 1089434 w 1206976"/>
                <a:gd name="connsiteY27" fmla="*/ 271604 h 1013988"/>
                <a:gd name="connsiteX28" fmla="*/ 1059256 w 1206976"/>
                <a:gd name="connsiteY28" fmla="*/ 268586 h 1013988"/>
                <a:gd name="connsiteX29" fmla="*/ 998899 w 1206976"/>
                <a:gd name="connsiteY29" fmla="*/ 235390 h 1013988"/>
                <a:gd name="connsiteX30" fmla="*/ 968721 w 1206976"/>
                <a:gd name="connsiteY30" fmla="*/ 247461 h 1013988"/>
                <a:gd name="connsiteX31" fmla="*/ 908364 w 1206976"/>
                <a:gd name="connsiteY31" fmla="*/ 220301 h 1013988"/>
                <a:gd name="connsiteX32" fmla="*/ 854044 w 1206976"/>
                <a:gd name="connsiteY32" fmla="*/ 235390 h 1013988"/>
                <a:gd name="connsiteX33" fmla="*/ 832919 w 1206976"/>
                <a:gd name="connsiteY33" fmla="*/ 226336 h 1013988"/>
                <a:gd name="connsiteX34" fmla="*/ 715224 w 1206976"/>
                <a:gd name="connsiteY34" fmla="*/ 226336 h 1013988"/>
                <a:gd name="connsiteX35" fmla="*/ 648832 w 1206976"/>
                <a:gd name="connsiteY35" fmla="*/ 181069 h 1013988"/>
                <a:gd name="connsiteX36" fmla="*/ 588475 w 1206976"/>
                <a:gd name="connsiteY36" fmla="*/ 208230 h 1013988"/>
                <a:gd name="connsiteX37" fmla="*/ 531137 w 1206976"/>
                <a:gd name="connsiteY37" fmla="*/ 144855 h 1013988"/>
                <a:gd name="connsiteX38" fmla="*/ 407406 w 1206976"/>
                <a:gd name="connsiteY38" fmla="*/ 172016 h 1013988"/>
                <a:gd name="connsiteX39" fmla="*/ 392317 w 1206976"/>
                <a:gd name="connsiteY39" fmla="*/ 60356 h 1013988"/>
                <a:gd name="connsiteX40" fmla="*/ 265568 w 1206976"/>
                <a:gd name="connsiteY40" fmla="*/ 0 h 1013988"/>
                <a:gd name="connsiteX0" fmla="*/ 265568 w 1206976"/>
                <a:gd name="connsiteY0" fmla="*/ 0 h 1013988"/>
                <a:gd name="connsiteX1" fmla="*/ 250479 w 1206976"/>
                <a:gd name="connsiteY1" fmla="*/ 72428 h 1013988"/>
                <a:gd name="connsiteX2" fmla="*/ 250479 w 1206976"/>
                <a:gd name="connsiteY2" fmla="*/ 114677 h 1013988"/>
                <a:gd name="connsiteX3" fmla="*/ 232372 w 1206976"/>
                <a:gd name="connsiteY3" fmla="*/ 132784 h 1013988"/>
                <a:gd name="connsiteX4" fmla="*/ 217283 w 1206976"/>
                <a:gd name="connsiteY4" fmla="*/ 193140 h 1013988"/>
                <a:gd name="connsiteX5" fmla="*/ 172016 w 1206976"/>
                <a:gd name="connsiteY5" fmla="*/ 238408 h 1013988"/>
                <a:gd name="connsiteX6" fmla="*/ 162962 w 1206976"/>
                <a:gd name="connsiteY6" fmla="*/ 325925 h 1013988"/>
                <a:gd name="connsiteX7" fmla="*/ 54321 w 1206976"/>
                <a:gd name="connsiteY7" fmla="*/ 476816 h 1013988"/>
                <a:gd name="connsiteX8" fmla="*/ 54321 w 1206976"/>
                <a:gd name="connsiteY8" fmla="*/ 519065 h 1013988"/>
                <a:gd name="connsiteX9" fmla="*/ 21125 w 1206976"/>
                <a:gd name="connsiteY9" fmla="*/ 558297 h 1013988"/>
                <a:gd name="connsiteX10" fmla="*/ 15089 w 1206976"/>
                <a:gd name="connsiteY10" fmla="*/ 615636 h 1013988"/>
                <a:gd name="connsiteX11" fmla="*/ 0 w 1206976"/>
                <a:gd name="connsiteY11" fmla="*/ 688063 h 1013988"/>
                <a:gd name="connsiteX12" fmla="*/ 6036 w 1206976"/>
                <a:gd name="connsiteY12" fmla="*/ 748420 h 1013988"/>
                <a:gd name="connsiteX13" fmla="*/ 591493 w 1206976"/>
                <a:gd name="connsiteY13" fmla="*/ 917418 h 1013988"/>
                <a:gd name="connsiteX14" fmla="*/ 1029077 w 1206976"/>
                <a:gd name="connsiteY14" fmla="*/ 1013988 h 1013988"/>
                <a:gd name="connsiteX15" fmla="*/ 1071327 w 1206976"/>
                <a:gd name="connsiteY15" fmla="*/ 712206 h 1013988"/>
                <a:gd name="connsiteX16" fmla="*/ 1107541 w 1206976"/>
                <a:gd name="connsiteY16" fmla="*/ 642796 h 1013988"/>
                <a:gd name="connsiteX17" fmla="*/ 1092452 w 1206976"/>
                <a:gd name="connsiteY17" fmla="*/ 612618 h 1013988"/>
                <a:gd name="connsiteX18" fmla="*/ 1083398 w 1206976"/>
                <a:gd name="connsiteY18" fmla="*/ 615636 h 1013988"/>
                <a:gd name="connsiteX19" fmla="*/ 1083398 w 1206976"/>
                <a:gd name="connsiteY19" fmla="*/ 543208 h 1013988"/>
                <a:gd name="connsiteX20" fmla="*/ 1134701 w 1206976"/>
                <a:gd name="connsiteY20" fmla="*/ 519065 h 1013988"/>
                <a:gd name="connsiteX21" fmla="*/ 1149790 w 1206976"/>
                <a:gd name="connsiteY21" fmla="*/ 419477 h 1013988"/>
                <a:gd name="connsiteX22" fmla="*/ 1206976 w 1206976"/>
                <a:gd name="connsiteY22" fmla="*/ 392317 h 1013988"/>
                <a:gd name="connsiteX23" fmla="*/ 1204592 w 1206976"/>
                <a:gd name="connsiteY23" fmla="*/ 322907 h 1013988"/>
                <a:gd name="connsiteX24" fmla="*/ 1182986 w 1206976"/>
                <a:gd name="connsiteY24" fmla="*/ 292729 h 1013988"/>
                <a:gd name="connsiteX25" fmla="*/ 1164879 w 1206976"/>
                <a:gd name="connsiteY25" fmla="*/ 292729 h 1013988"/>
                <a:gd name="connsiteX26" fmla="*/ 1131683 w 1206976"/>
                <a:gd name="connsiteY26" fmla="*/ 271604 h 1013988"/>
                <a:gd name="connsiteX27" fmla="*/ 1089434 w 1206976"/>
                <a:gd name="connsiteY27" fmla="*/ 271604 h 1013988"/>
                <a:gd name="connsiteX28" fmla="*/ 1059256 w 1206976"/>
                <a:gd name="connsiteY28" fmla="*/ 268586 h 1013988"/>
                <a:gd name="connsiteX29" fmla="*/ 998899 w 1206976"/>
                <a:gd name="connsiteY29" fmla="*/ 235390 h 1013988"/>
                <a:gd name="connsiteX30" fmla="*/ 968721 w 1206976"/>
                <a:gd name="connsiteY30" fmla="*/ 247461 h 1013988"/>
                <a:gd name="connsiteX31" fmla="*/ 908364 w 1206976"/>
                <a:gd name="connsiteY31" fmla="*/ 220301 h 1013988"/>
                <a:gd name="connsiteX32" fmla="*/ 854044 w 1206976"/>
                <a:gd name="connsiteY32" fmla="*/ 235390 h 1013988"/>
                <a:gd name="connsiteX33" fmla="*/ 832919 w 1206976"/>
                <a:gd name="connsiteY33" fmla="*/ 226336 h 1013988"/>
                <a:gd name="connsiteX34" fmla="*/ 717607 w 1206976"/>
                <a:gd name="connsiteY34" fmla="*/ 214435 h 1013988"/>
                <a:gd name="connsiteX35" fmla="*/ 648832 w 1206976"/>
                <a:gd name="connsiteY35" fmla="*/ 181069 h 1013988"/>
                <a:gd name="connsiteX36" fmla="*/ 588475 w 1206976"/>
                <a:gd name="connsiteY36" fmla="*/ 208230 h 1013988"/>
                <a:gd name="connsiteX37" fmla="*/ 531137 w 1206976"/>
                <a:gd name="connsiteY37" fmla="*/ 144855 h 1013988"/>
                <a:gd name="connsiteX38" fmla="*/ 407406 w 1206976"/>
                <a:gd name="connsiteY38" fmla="*/ 172016 h 1013988"/>
                <a:gd name="connsiteX39" fmla="*/ 392317 w 1206976"/>
                <a:gd name="connsiteY39" fmla="*/ 60356 h 1013988"/>
                <a:gd name="connsiteX40" fmla="*/ 265568 w 1206976"/>
                <a:gd name="connsiteY40" fmla="*/ 0 h 1013988"/>
                <a:gd name="connsiteX0" fmla="*/ 265568 w 1206976"/>
                <a:gd name="connsiteY0" fmla="*/ 0 h 1013988"/>
                <a:gd name="connsiteX1" fmla="*/ 250479 w 1206976"/>
                <a:gd name="connsiteY1" fmla="*/ 72428 h 1013988"/>
                <a:gd name="connsiteX2" fmla="*/ 250479 w 1206976"/>
                <a:gd name="connsiteY2" fmla="*/ 114677 h 1013988"/>
                <a:gd name="connsiteX3" fmla="*/ 232372 w 1206976"/>
                <a:gd name="connsiteY3" fmla="*/ 132784 h 1013988"/>
                <a:gd name="connsiteX4" fmla="*/ 217283 w 1206976"/>
                <a:gd name="connsiteY4" fmla="*/ 193140 h 1013988"/>
                <a:gd name="connsiteX5" fmla="*/ 172016 w 1206976"/>
                <a:gd name="connsiteY5" fmla="*/ 238408 h 1013988"/>
                <a:gd name="connsiteX6" fmla="*/ 162962 w 1206976"/>
                <a:gd name="connsiteY6" fmla="*/ 325925 h 1013988"/>
                <a:gd name="connsiteX7" fmla="*/ 54321 w 1206976"/>
                <a:gd name="connsiteY7" fmla="*/ 476816 h 1013988"/>
                <a:gd name="connsiteX8" fmla="*/ 54321 w 1206976"/>
                <a:gd name="connsiteY8" fmla="*/ 519065 h 1013988"/>
                <a:gd name="connsiteX9" fmla="*/ 21125 w 1206976"/>
                <a:gd name="connsiteY9" fmla="*/ 558297 h 1013988"/>
                <a:gd name="connsiteX10" fmla="*/ 15089 w 1206976"/>
                <a:gd name="connsiteY10" fmla="*/ 615636 h 1013988"/>
                <a:gd name="connsiteX11" fmla="*/ 0 w 1206976"/>
                <a:gd name="connsiteY11" fmla="*/ 688063 h 1013988"/>
                <a:gd name="connsiteX12" fmla="*/ 6036 w 1206976"/>
                <a:gd name="connsiteY12" fmla="*/ 748420 h 1013988"/>
                <a:gd name="connsiteX13" fmla="*/ 591493 w 1206976"/>
                <a:gd name="connsiteY13" fmla="*/ 917418 h 1013988"/>
                <a:gd name="connsiteX14" fmla="*/ 1029077 w 1206976"/>
                <a:gd name="connsiteY14" fmla="*/ 1013988 h 1013988"/>
                <a:gd name="connsiteX15" fmla="*/ 1071327 w 1206976"/>
                <a:gd name="connsiteY15" fmla="*/ 712206 h 1013988"/>
                <a:gd name="connsiteX16" fmla="*/ 1107541 w 1206976"/>
                <a:gd name="connsiteY16" fmla="*/ 642796 h 1013988"/>
                <a:gd name="connsiteX17" fmla="*/ 1092452 w 1206976"/>
                <a:gd name="connsiteY17" fmla="*/ 612618 h 1013988"/>
                <a:gd name="connsiteX18" fmla="*/ 1083398 w 1206976"/>
                <a:gd name="connsiteY18" fmla="*/ 615636 h 1013988"/>
                <a:gd name="connsiteX19" fmla="*/ 1083398 w 1206976"/>
                <a:gd name="connsiteY19" fmla="*/ 543208 h 1013988"/>
                <a:gd name="connsiteX20" fmla="*/ 1134701 w 1206976"/>
                <a:gd name="connsiteY20" fmla="*/ 519065 h 1013988"/>
                <a:gd name="connsiteX21" fmla="*/ 1149790 w 1206976"/>
                <a:gd name="connsiteY21" fmla="*/ 419477 h 1013988"/>
                <a:gd name="connsiteX22" fmla="*/ 1206976 w 1206976"/>
                <a:gd name="connsiteY22" fmla="*/ 392317 h 1013988"/>
                <a:gd name="connsiteX23" fmla="*/ 1204592 w 1206976"/>
                <a:gd name="connsiteY23" fmla="*/ 322907 h 1013988"/>
                <a:gd name="connsiteX24" fmla="*/ 1182986 w 1206976"/>
                <a:gd name="connsiteY24" fmla="*/ 292729 h 1013988"/>
                <a:gd name="connsiteX25" fmla="*/ 1164879 w 1206976"/>
                <a:gd name="connsiteY25" fmla="*/ 292729 h 1013988"/>
                <a:gd name="connsiteX26" fmla="*/ 1131683 w 1206976"/>
                <a:gd name="connsiteY26" fmla="*/ 271604 h 1013988"/>
                <a:gd name="connsiteX27" fmla="*/ 1089434 w 1206976"/>
                <a:gd name="connsiteY27" fmla="*/ 271604 h 1013988"/>
                <a:gd name="connsiteX28" fmla="*/ 1059256 w 1206976"/>
                <a:gd name="connsiteY28" fmla="*/ 268586 h 1013988"/>
                <a:gd name="connsiteX29" fmla="*/ 998899 w 1206976"/>
                <a:gd name="connsiteY29" fmla="*/ 235390 h 1013988"/>
                <a:gd name="connsiteX30" fmla="*/ 968721 w 1206976"/>
                <a:gd name="connsiteY30" fmla="*/ 247461 h 1013988"/>
                <a:gd name="connsiteX31" fmla="*/ 908364 w 1206976"/>
                <a:gd name="connsiteY31" fmla="*/ 220301 h 1013988"/>
                <a:gd name="connsiteX32" fmla="*/ 854044 w 1206976"/>
                <a:gd name="connsiteY32" fmla="*/ 235390 h 1013988"/>
                <a:gd name="connsiteX33" fmla="*/ 823384 w 1206976"/>
                <a:gd name="connsiteY33" fmla="*/ 219195 h 1013988"/>
                <a:gd name="connsiteX34" fmla="*/ 717607 w 1206976"/>
                <a:gd name="connsiteY34" fmla="*/ 214435 h 1013988"/>
                <a:gd name="connsiteX35" fmla="*/ 648832 w 1206976"/>
                <a:gd name="connsiteY35" fmla="*/ 181069 h 1013988"/>
                <a:gd name="connsiteX36" fmla="*/ 588475 w 1206976"/>
                <a:gd name="connsiteY36" fmla="*/ 208230 h 1013988"/>
                <a:gd name="connsiteX37" fmla="*/ 531137 w 1206976"/>
                <a:gd name="connsiteY37" fmla="*/ 144855 h 1013988"/>
                <a:gd name="connsiteX38" fmla="*/ 407406 w 1206976"/>
                <a:gd name="connsiteY38" fmla="*/ 172016 h 1013988"/>
                <a:gd name="connsiteX39" fmla="*/ 392317 w 1206976"/>
                <a:gd name="connsiteY39" fmla="*/ 60356 h 1013988"/>
                <a:gd name="connsiteX40" fmla="*/ 265568 w 1206976"/>
                <a:gd name="connsiteY40" fmla="*/ 0 h 1013988"/>
                <a:gd name="connsiteX0" fmla="*/ 275103 w 1206976"/>
                <a:gd name="connsiteY0" fmla="*/ 0 h 1033030"/>
                <a:gd name="connsiteX1" fmla="*/ 250479 w 1206976"/>
                <a:gd name="connsiteY1" fmla="*/ 91470 h 1033030"/>
                <a:gd name="connsiteX2" fmla="*/ 250479 w 1206976"/>
                <a:gd name="connsiteY2" fmla="*/ 133719 h 1033030"/>
                <a:gd name="connsiteX3" fmla="*/ 232372 w 1206976"/>
                <a:gd name="connsiteY3" fmla="*/ 151826 h 1033030"/>
                <a:gd name="connsiteX4" fmla="*/ 217283 w 1206976"/>
                <a:gd name="connsiteY4" fmla="*/ 212182 h 1033030"/>
                <a:gd name="connsiteX5" fmla="*/ 172016 w 1206976"/>
                <a:gd name="connsiteY5" fmla="*/ 257450 h 1033030"/>
                <a:gd name="connsiteX6" fmla="*/ 162962 w 1206976"/>
                <a:gd name="connsiteY6" fmla="*/ 344967 h 1033030"/>
                <a:gd name="connsiteX7" fmla="*/ 54321 w 1206976"/>
                <a:gd name="connsiteY7" fmla="*/ 495858 h 1033030"/>
                <a:gd name="connsiteX8" fmla="*/ 54321 w 1206976"/>
                <a:gd name="connsiteY8" fmla="*/ 538107 h 1033030"/>
                <a:gd name="connsiteX9" fmla="*/ 21125 w 1206976"/>
                <a:gd name="connsiteY9" fmla="*/ 577339 h 1033030"/>
                <a:gd name="connsiteX10" fmla="*/ 15089 w 1206976"/>
                <a:gd name="connsiteY10" fmla="*/ 634678 h 1033030"/>
                <a:gd name="connsiteX11" fmla="*/ 0 w 1206976"/>
                <a:gd name="connsiteY11" fmla="*/ 707105 h 1033030"/>
                <a:gd name="connsiteX12" fmla="*/ 6036 w 1206976"/>
                <a:gd name="connsiteY12" fmla="*/ 767462 h 1033030"/>
                <a:gd name="connsiteX13" fmla="*/ 591493 w 1206976"/>
                <a:gd name="connsiteY13" fmla="*/ 936460 h 1033030"/>
                <a:gd name="connsiteX14" fmla="*/ 1029077 w 1206976"/>
                <a:gd name="connsiteY14" fmla="*/ 1033030 h 1033030"/>
                <a:gd name="connsiteX15" fmla="*/ 1071327 w 1206976"/>
                <a:gd name="connsiteY15" fmla="*/ 731248 h 1033030"/>
                <a:gd name="connsiteX16" fmla="*/ 1107541 w 1206976"/>
                <a:gd name="connsiteY16" fmla="*/ 661838 h 1033030"/>
                <a:gd name="connsiteX17" fmla="*/ 1092452 w 1206976"/>
                <a:gd name="connsiteY17" fmla="*/ 631660 h 1033030"/>
                <a:gd name="connsiteX18" fmla="*/ 1083398 w 1206976"/>
                <a:gd name="connsiteY18" fmla="*/ 634678 h 1033030"/>
                <a:gd name="connsiteX19" fmla="*/ 1083398 w 1206976"/>
                <a:gd name="connsiteY19" fmla="*/ 562250 h 1033030"/>
                <a:gd name="connsiteX20" fmla="*/ 1134701 w 1206976"/>
                <a:gd name="connsiteY20" fmla="*/ 538107 h 1033030"/>
                <a:gd name="connsiteX21" fmla="*/ 1149790 w 1206976"/>
                <a:gd name="connsiteY21" fmla="*/ 438519 h 1033030"/>
                <a:gd name="connsiteX22" fmla="*/ 1206976 w 1206976"/>
                <a:gd name="connsiteY22" fmla="*/ 411359 h 1033030"/>
                <a:gd name="connsiteX23" fmla="*/ 1204592 w 1206976"/>
                <a:gd name="connsiteY23" fmla="*/ 341949 h 1033030"/>
                <a:gd name="connsiteX24" fmla="*/ 1182986 w 1206976"/>
                <a:gd name="connsiteY24" fmla="*/ 311771 h 1033030"/>
                <a:gd name="connsiteX25" fmla="*/ 1164879 w 1206976"/>
                <a:gd name="connsiteY25" fmla="*/ 311771 h 1033030"/>
                <a:gd name="connsiteX26" fmla="*/ 1131683 w 1206976"/>
                <a:gd name="connsiteY26" fmla="*/ 290646 h 1033030"/>
                <a:gd name="connsiteX27" fmla="*/ 1089434 w 1206976"/>
                <a:gd name="connsiteY27" fmla="*/ 290646 h 1033030"/>
                <a:gd name="connsiteX28" fmla="*/ 1059256 w 1206976"/>
                <a:gd name="connsiteY28" fmla="*/ 287628 h 1033030"/>
                <a:gd name="connsiteX29" fmla="*/ 998899 w 1206976"/>
                <a:gd name="connsiteY29" fmla="*/ 254432 h 1033030"/>
                <a:gd name="connsiteX30" fmla="*/ 968721 w 1206976"/>
                <a:gd name="connsiteY30" fmla="*/ 266503 h 1033030"/>
                <a:gd name="connsiteX31" fmla="*/ 908364 w 1206976"/>
                <a:gd name="connsiteY31" fmla="*/ 239343 h 1033030"/>
                <a:gd name="connsiteX32" fmla="*/ 854044 w 1206976"/>
                <a:gd name="connsiteY32" fmla="*/ 254432 h 1033030"/>
                <a:gd name="connsiteX33" fmla="*/ 823384 w 1206976"/>
                <a:gd name="connsiteY33" fmla="*/ 238237 h 1033030"/>
                <a:gd name="connsiteX34" fmla="*/ 717607 w 1206976"/>
                <a:gd name="connsiteY34" fmla="*/ 233477 h 1033030"/>
                <a:gd name="connsiteX35" fmla="*/ 648832 w 1206976"/>
                <a:gd name="connsiteY35" fmla="*/ 200111 h 1033030"/>
                <a:gd name="connsiteX36" fmla="*/ 588475 w 1206976"/>
                <a:gd name="connsiteY36" fmla="*/ 227272 h 1033030"/>
                <a:gd name="connsiteX37" fmla="*/ 531137 w 1206976"/>
                <a:gd name="connsiteY37" fmla="*/ 163897 h 1033030"/>
                <a:gd name="connsiteX38" fmla="*/ 407406 w 1206976"/>
                <a:gd name="connsiteY38" fmla="*/ 191058 h 1033030"/>
                <a:gd name="connsiteX39" fmla="*/ 392317 w 1206976"/>
                <a:gd name="connsiteY39" fmla="*/ 79398 h 1033030"/>
                <a:gd name="connsiteX40" fmla="*/ 275103 w 1206976"/>
                <a:gd name="connsiteY40" fmla="*/ 0 h 1033030"/>
                <a:gd name="connsiteX0" fmla="*/ 275103 w 1206976"/>
                <a:gd name="connsiteY0" fmla="*/ 0 h 1033030"/>
                <a:gd name="connsiteX1" fmla="*/ 250479 w 1206976"/>
                <a:gd name="connsiteY1" fmla="*/ 91470 h 1033030"/>
                <a:gd name="connsiteX2" fmla="*/ 250479 w 1206976"/>
                <a:gd name="connsiteY2" fmla="*/ 133719 h 1033030"/>
                <a:gd name="connsiteX3" fmla="*/ 232372 w 1206976"/>
                <a:gd name="connsiteY3" fmla="*/ 151826 h 1033030"/>
                <a:gd name="connsiteX4" fmla="*/ 217283 w 1206976"/>
                <a:gd name="connsiteY4" fmla="*/ 212182 h 1033030"/>
                <a:gd name="connsiteX5" fmla="*/ 172016 w 1206976"/>
                <a:gd name="connsiteY5" fmla="*/ 257450 h 1033030"/>
                <a:gd name="connsiteX6" fmla="*/ 162962 w 1206976"/>
                <a:gd name="connsiteY6" fmla="*/ 344967 h 1033030"/>
                <a:gd name="connsiteX7" fmla="*/ 54321 w 1206976"/>
                <a:gd name="connsiteY7" fmla="*/ 495858 h 1033030"/>
                <a:gd name="connsiteX8" fmla="*/ 54321 w 1206976"/>
                <a:gd name="connsiteY8" fmla="*/ 538107 h 1033030"/>
                <a:gd name="connsiteX9" fmla="*/ 21125 w 1206976"/>
                <a:gd name="connsiteY9" fmla="*/ 577339 h 1033030"/>
                <a:gd name="connsiteX10" fmla="*/ 15089 w 1206976"/>
                <a:gd name="connsiteY10" fmla="*/ 634678 h 1033030"/>
                <a:gd name="connsiteX11" fmla="*/ 0 w 1206976"/>
                <a:gd name="connsiteY11" fmla="*/ 707105 h 1033030"/>
                <a:gd name="connsiteX12" fmla="*/ 6036 w 1206976"/>
                <a:gd name="connsiteY12" fmla="*/ 767462 h 1033030"/>
                <a:gd name="connsiteX13" fmla="*/ 591493 w 1206976"/>
                <a:gd name="connsiteY13" fmla="*/ 936460 h 1033030"/>
                <a:gd name="connsiteX14" fmla="*/ 1029077 w 1206976"/>
                <a:gd name="connsiteY14" fmla="*/ 1033030 h 1033030"/>
                <a:gd name="connsiteX15" fmla="*/ 1071327 w 1206976"/>
                <a:gd name="connsiteY15" fmla="*/ 731248 h 1033030"/>
                <a:gd name="connsiteX16" fmla="*/ 1107541 w 1206976"/>
                <a:gd name="connsiteY16" fmla="*/ 661838 h 1033030"/>
                <a:gd name="connsiteX17" fmla="*/ 1092452 w 1206976"/>
                <a:gd name="connsiteY17" fmla="*/ 631660 h 1033030"/>
                <a:gd name="connsiteX18" fmla="*/ 1083398 w 1206976"/>
                <a:gd name="connsiteY18" fmla="*/ 634678 h 1033030"/>
                <a:gd name="connsiteX19" fmla="*/ 1083398 w 1206976"/>
                <a:gd name="connsiteY19" fmla="*/ 562250 h 1033030"/>
                <a:gd name="connsiteX20" fmla="*/ 1134701 w 1206976"/>
                <a:gd name="connsiteY20" fmla="*/ 538107 h 1033030"/>
                <a:gd name="connsiteX21" fmla="*/ 1149790 w 1206976"/>
                <a:gd name="connsiteY21" fmla="*/ 438519 h 1033030"/>
                <a:gd name="connsiteX22" fmla="*/ 1206976 w 1206976"/>
                <a:gd name="connsiteY22" fmla="*/ 411359 h 1033030"/>
                <a:gd name="connsiteX23" fmla="*/ 1204592 w 1206976"/>
                <a:gd name="connsiteY23" fmla="*/ 341949 h 1033030"/>
                <a:gd name="connsiteX24" fmla="*/ 1182986 w 1206976"/>
                <a:gd name="connsiteY24" fmla="*/ 311771 h 1033030"/>
                <a:gd name="connsiteX25" fmla="*/ 1164879 w 1206976"/>
                <a:gd name="connsiteY25" fmla="*/ 311771 h 1033030"/>
                <a:gd name="connsiteX26" fmla="*/ 1131683 w 1206976"/>
                <a:gd name="connsiteY26" fmla="*/ 290646 h 1033030"/>
                <a:gd name="connsiteX27" fmla="*/ 1089434 w 1206976"/>
                <a:gd name="connsiteY27" fmla="*/ 290646 h 1033030"/>
                <a:gd name="connsiteX28" fmla="*/ 1059256 w 1206976"/>
                <a:gd name="connsiteY28" fmla="*/ 287628 h 1033030"/>
                <a:gd name="connsiteX29" fmla="*/ 998899 w 1206976"/>
                <a:gd name="connsiteY29" fmla="*/ 254432 h 1033030"/>
                <a:gd name="connsiteX30" fmla="*/ 968721 w 1206976"/>
                <a:gd name="connsiteY30" fmla="*/ 266503 h 1033030"/>
                <a:gd name="connsiteX31" fmla="*/ 908364 w 1206976"/>
                <a:gd name="connsiteY31" fmla="*/ 239343 h 1033030"/>
                <a:gd name="connsiteX32" fmla="*/ 854044 w 1206976"/>
                <a:gd name="connsiteY32" fmla="*/ 254432 h 1033030"/>
                <a:gd name="connsiteX33" fmla="*/ 823384 w 1206976"/>
                <a:gd name="connsiteY33" fmla="*/ 238237 h 1033030"/>
                <a:gd name="connsiteX34" fmla="*/ 717607 w 1206976"/>
                <a:gd name="connsiteY34" fmla="*/ 233477 h 1033030"/>
                <a:gd name="connsiteX35" fmla="*/ 648832 w 1206976"/>
                <a:gd name="connsiteY35" fmla="*/ 200111 h 1033030"/>
                <a:gd name="connsiteX36" fmla="*/ 593242 w 1206976"/>
                <a:gd name="connsiteY36" fmla="*/ 215370 h 1033030"/>
                <a:gd name="connsiteX37" fmla="*/ 531137 w 1206976"/>
                <a:gd name="connsiteY37" fmla="*/ 163897 h 1033030"/>
                <a:gd name="connsiteX38" fmla="*/ 407406 w 1206976"/>
                <a:gd name="connsiteY38" fmla="*/ 191058 h 1033030"/>
                <a:gd name="connsiteX39" fmla="*/ 392317 w 1206976"/>
                <a:gd name="connsiteY39" fmla="*/ 79398 h 1033030"/>
                <a:gd name="connsiteX40" fmla="*/ 275103 w 1206976"/>
                <a:gd name="connsiteY40" fmla="*/ 0 h 1033030"/>
                <a:gd name="connsiteX0" fmla="*/ 275103 w 1206976"/>
                <a:gd name="connsiteY0" fmla="*/ 0 h 1033030"/>
                <a:gd name="connsiteX1" fmla="*/ 250479 w 1206976"/>
                <a:gd name="connsiteY1" fmla="*/ 91470 h 1033030"/>
                <a:gd name="connsiteX2" fmla="*/ 250479 w 1206976"/>
                <a:gd name="connsiteY2" fmla="*/ 133719 h 1033030"/>
                <a:gd name="connsiteX3" fmla="*/ 232372 w 1206976"/>
                <a:gd name="connsiteY3" fmla="*/ 151826 h 1033030"/>
                <a:gd name="connsiteX4" fmla="*/ 217283 w 1206976"/>
                <a:gd name="connsiteY4" fmla="*/ 212182 h 1033030"/>
                <a:gd name="connsiteX5" fmla="*/ 172016 w 1206976"/>
                <a:gd name="connsiteY5" fmla="*/ 257450 h 1033030"/>
                <a:gd name="connsiteX6" fmla="*/ 162962 w 1206976"/>
                <a:gd name="connsiteY6" fmla="*/ 344967 h 1033030"/>
                <a:gd name="connsiteX7" fmla="*/ 54321 w 1206976"/>
                <a:gd name="connsiteY7" fmla="*/ 495858 h 1033030"/>
                <a:gd name="connsiteX8" fmla="*/ 54321 w 1206976"/>
                <a:gd name="connsiteY8" fmla="*/ 538107 h 1033030"/>
                <a:gd name="connsiteX9" fmla="*/ 21125 w 1206976"/>
                <a:gd name="connsiteY9" fmla="*/ 577339 h 1033030"/>
                <a:gd name="connsiteX10" fmla="*/ 15089 w 1206976"/>
                <a:gd name="connsiteY10" fmla="*/ 634678 h 1033030"/>
                <a:gd name="connsiteX11" fmla="*/ 0 w 1206976"/>
                <a:gd name="connsiteY11" fmla="*/ 707105 h 1033030"/>
                <a:gd name="connsiteX12" fmla="*/ 6036 w 1206976"/>
                <a:gd name="connsiteY12" fmla="*/ 767462 h 1033030"/>
                <a:gd name="connsiteX13" fmla="*/ 591493 w 1206976"/>
                <a:gd name="connsiteY13" fmla="*/ 936460 h 1033030"/>
                <a:gd name="connsiteX14" fmla="*/ 1029077 w 1206976"/>
                <a:gd name="connsiteY14" fmla="*/ 1033030 h 1033030"/>
                <a:gd name="connsiteX15" fmla="*/ 1071327 w 1206976"/>
                <a:gd name="connsiteY15" fmla="*/ 731248 h 1033030"/>
                <a:gd name="connsiteX16" fmla="*/ 1107541 w 1206976"/>
                <a:gd name="connsiteY16" fmla="*/ 661838 h 1033030"/>
                <a:gd name="connsiteX17" fmla="*/ 1092452 w 1206976"/>
                <a:gd name="connsiteY17" fmla="*/ 631660 h 1033030"/>
                <a:gd name="connsiteX18" fmla="*/ 1083398 w 1206976"/>
                <a:gd name="connsiteY18" fmla="*/ 634678 h 1033030"/>
                <a:gd name="connsiteX19" fmla="*/ 1083398 w 1206976"/>
                <a:gd name="connsiteY19" fmla="*/ 562250 h 1033030"/>
                <a:gd name="connsiteX20" fmla="*/ 1134701 w 1206976"/>
                <a:gd name="connsiteY20" fmla="*/ 538107 h 1033030"/>
                <a:gd name="connsiteX21" fmla="*/ 1149790 w 1206976"/>
                <a:gd name="connsiteY21" fmla="*/ 438519 h 1033030"/>
                <a:gd name="connsiteX22" fmla="*/ 1206976 w 1206976"/>
                <a:gd name="connsiteY22" fmla="*/ 411359 h 1033030"/>
                <a:gd name="connsiteX23" fmla="*/ 1204592 w 1206976"/>
                <a:gd name="connsiteY23" fmla="*/ 341949 h 1033030"/>
                <a:gd name="connsiteX24" fmla="*/ 1182986 w 1206976"/>
                <a:gd name="connsiteY24" fmla="*/ 311771 h 1033030"/>
                <a:gd name="connsiteX25" fmla="*/ 1164879 w 1206976"/>
                <a:gd name="connsiteY25" fmla="*/ 311771 h 1033030"/>
                <a:gd name="connsiteX26" fmla="*/ 1131683 w 1206976"/>
                <a:gd name="connsiteY26" fmla="*/ 290646 h 1033030"/>
                <a:gd name="connsiteX27" fmla="*/ 1089434 w 1206976"/>
                <a:gd name="connsiteY27" fmla="*/ 290646 h 1033030"/>
                <a:gd name="connsiteX28" fmla="*/ 1061640 w 1206976"/>
                <a:gd name="connsiteY28" fmla="*/ 275727 h 1033030"/>
                <a:gd name="connsiteX29" fmla="*/ 998899 w 1206976"/>
                <a:gd name="connsiteY29" fmla="*/ 254432 h 1033030"/>
                <a:gd name="connsiteX30" fmla="*/ 968721 w 1206976"/>
                <a:gd name="connsiteY30" fmla="*/ 266503 h 1033030"/>
                <a:gd name="connsiteX31" fmla="*/ 908364 w 1206976"/>
                <a:gd name="connsiteY31" fmla="*/ 239343 h 1033030"/>
                <a:gd name="connsiteX32" fmla="*/ 854044 w 1206976"/>
                <a:gd name="connsiteY32" fmla="*/ 254432 h 1033030"/>
                <a:gd name="connsiteX33" fmla="*/ 823384 w 1206976"/>
                <a:gd name="connsiteY33" fmla="*/ 238237 h 1033030"/>
                <a:gd name="connsiteX34" fmla="*/ 717607 w 1206976"/>
                <a:gd name="connsiteY34" fmla="*/ 233477 h 1033030"/>
                <a:gd name="connsiteX35" fmla="*/ 648832 w 1206976"/>
                <a:gd name="connsiteY35" fmla="*/ 200111 h 1033030"/>
                <a:gd name="connsiteX36" fmla="*/ 593242 w 1206976"/>
                <a:gd name="connsiteY36" fmla="*/ 215370 h 1033030"/>
                <a:gd name="connsiteX37" fmla="*/ 531137 w 1206976"/>
                <a:gd name="connsiteY37" fmla="*/ 163897 h 1033030"/>
                <a:gd name="connsiteX38" fmla="*/ 407406 w 1206976"/>
                <a:gd name="connsiteY38" fmla="*/ 191058 h 1033030"/>
                <a:gd name="connsiteX39" fmla="*/ 392317 w 1206976"/>
                <a:gd name="connsiteY39" fmla="*/ 79398 h 1033030"/>
                <a:gd name="connsiteX40" fmla="*/ 275103 w 1206976"/>
                <a:gd name="connsiteY40" fmla="*/ 0 h 1033030"/>
                <a:gd name="connsiteX0" fmla="*/ 275103 w 1206976"/>
                <a:gd name="connsiteY0" fmla="*/ 0 h 1033030"/>
                <a:gd name="connsiteX1" fmla="*/ 250479 w 1206976"/>
                <a:gd name="connsiteY1" fmla="*/ 91470 h 1033030"/>
                <a:gd name="connsiteX2" fmla="*/ 250479 w 1206976"/>
                <a:gd name="connsiteY2" fmla="*/ 133719 h 1033030"/>
                <a:gd name="connsiteX3" fmla="*/ 232372 w 1206976"/>
                <a:gd name="connsiteY3" fmla="*/ 151826 h 1033030"/>
                <a:gd name="connsiteX4" fmla="*/ 217283 w 1206976"/>
                <a:gd name="connsiteY4" fmla="*/ 212182 h 1033030"/>
                <a:gd name="connsiteX5" fmla="*/ 172016 w 1206976"/>
                <a:gd name="connsiteY5" fmla="*/ 257450 h 1033030"/>
                <a:gd name="connsiteX6" fmla="*/ 162962 w 1206976"/>
                <a:gd name="connsiteY6" fmla="*/ 344967 h 1033030"/>
                <a:gd name="connsiteX7" fmla="*/ 54321 w 1206976"/>
                <a:gd name="connsiteY7" fmla="*/ 495858 h 1033030"/>
                <a:gd name="connsiteX8" fmla="*/ 54321 w 1206976"/>
                <a:gd name="connsiteY8" fmla="*/ 538107 h 1033030"/>
                <a:gd name="connsiteX9" fmla="*/ 21125 w 1206976"/>
                <a:gd name="connsiteY9" fmla="*/ 577339 h 1033030"/>
                <a:gd name="connsiteX10" fmla="*/ 15089 w 1206976"/>
                <a:gd name="connsiteY10" fmla="*/ 634678 h 1033030"/>
                <a:gd name="connsiteX11" fmla="*/ 0 w 1206976"/>
                <a:gd name="connsiteY11" fmla="*/ 707105 h 1033030"/>
                <a:gd name="connsiteX12" fmla="*/ 6036 w 1206976"/>
                <a:gd name="connsiteY12" fmla="*/ 767462 h 1033030"/>
                <a:gd name="connsiteX13" fmla="*/ 591493 w 1206976"/>
                <a:gd name="connsiteY13" fmla="*/ 936460 h 1033030"/>
                <a:gd name="connsiteX14" fmla="*/ 1029077 w 1206976"/>
                <a:gd name="connsiteY14" fmla="*/ 1033030 h 1033030"/>
                <a:gd name="connsiteX15" fmla="*/ 1071327 w 1206976"/>
                <a:gd name="connsiteY15" fmla="*/ 731248 h 1033030"/>
                <a:gd name="connsiteX16" fmla="*/ 1107541 w 1206976"/>
                <a:gd name="connsiteY16" fmla="*/ 661838 h 1033030"/>
                <a:gd name="connsiteX17" fmla="*/ 1092452 w 1206976"/>
                <a:gd name="connsiteY17" fmla="*/ 631660 h 1033030"/>
                <a:gd name="connsiteX18" fmla="*/ 1083398 w 1206976"/>
                <a:gd name="connsiteY18" fmla="*/ 634678 h 1033030"/>
                <a:gd name="connsiteX19" fmla="*/ 1083398 w 1206976"/>
                <a:gd name="connsiteY19" fmla="*/ 562250 h 1033030"/>
                <a:gd name="connsiteX20" fmla="*/ 1134701 w 1206976"/>
                <a:gd name="connsiteY20" fmla="*/ 538107 h 1033030"/>
                <a:gd name="connsiteX21" fmla="*/ 1149790 w 1206976"/>
                <a:gd name="connsiteY21" fmla="*/ 438519 h 1033030"/>
                <a:gd name="connsiteX22" fmla="*/ 1206976 w 1206976"/>
                <a:gd name="connsiteY22" fmla="*/ 411359 h 1033030"/>
                <a:gd name="connsiteX23" fmla="*/ 1204592 w 1206976"/>
                <a:gd name="connsiteY23" fmla="*/ 341949 h 1033030"/>
                <a:gd name="connsiteX24" fmla="*/ 1182986 w 1206976"/>
                <a:gd name="connsiteY24" fmla="*/ 311771 h 1033030"/>
                <a:gd name="connsiteX25" fmla="*/ 1164879 w 1206976"/>
                <a:gd name="connsiteY25" fmla="*/ 311771 h 1033030"/>
                <a:gd name="connsiteX26" fmla="*/ 1131683 w 1206976"/>
                <a:gd name="connsiteY26" fmla="*/ 290646 h 1033030"/>
                <a:gd name="connsiteX27" fmla="*/ 1089434 w 1206976"/>
                <a:gd name="connsiteY27" fmla="*/ 290646 h 1033030"/>
                <a:gd name="connsiteX28" fmla="*/ 1061640 w 1206976"/>
                <a:gd name="connsiteY28" fmla="*/ 275727 h 1033030"/>
                <a:gd name="connsiteX29" fmla="*/ 1006050 w 1206976"/>
                <a:gd name="connsiteY29" fmla="*/ 247291 h 1033030"/>
                <a:gd name="connsiteX30" fmla="*/ 968721 w 1206976"/>
                <a:gd name="connsiteY30" fmla="*/ 266503 h 1033030"/>
                <a:gd name="connsiteX31" fmla="*/ 908364 w 1206976"/>
                <a:gd name="connsiteY31" fmla="*/ 239343 h 1033030"/>
                <a:gd name="connsiteX32" fmla="*/ 854044 w 1206976"/>
                <a:gd name="connsiteY32" fmla="*/ 254432 h 1033030"/>
                <a:gd name="connsiteX33" fmla="*/ 823384 w 1206976"/>
                <a:gd name="connsiteY33" fmla="*/ 238237 h 1033030"/>
                <a:gd name="connsiteX34" fmla="*/ 717607 w 1206976"/>
                <a:gd name="connsiteY34" fmla="*/ 233477 h 1033030"/>
                <a:gd name="connsiteX35" fmla="*/ 648832 w 1206976"/>
                <a:gd name="connsiteY35" fmla="*/ 200111 h 1033030"/>
                <a:gd name="connsiteX36" fmla="*/ 593242 w 1206976"/>
                <a:gd name="connsiteY36" fmla="*/ 215370 h 1033030"/>
                <a:gd name="connsiteX37" fmla="*/ 531137 w 1206976"/>
                <a:gd name="connsiteY37" fmla="*/ 163897 h 1033030"/>
                <a:gd name="connsiteX38" fmla="*/ 407406 w 1206976"/>
                <a:gd name="connsiteY38" fmla="*/ 191058 h 1033030"/>
                <a:gd name="connsiteX39" fmla="*/ 392317 w 1206976"/>
                <a:gd name="connsiteY39" fmla="*/ 79398 h 1033030"/>
                <a:gd name="connsiteX40" fmla="*/ 275103 w 1206976"/>
                <a:gd name="connsiteY40" fmla="*/ 0 h 1033030"/>
                <a:gd name="connsiteX0" fmla="*/ 275103 w 1206976"/>
                <a:gd name="connsiteY0" fmla="*/ 0 h 1033030"/>
                <a:gd name="connsiteX1" fmla="*/ 250479 w 1206976"/>
                <a:gd name="connsiteY1" fmla="*/ 91470 h 1033030"/>
                <a:gd name="connsiteX2" fmla="*/ 250479 w 1206976"/>
                <a:gd name="connsiteY2" fmla="*/ 133719 h 1033030"/>
                <a:gd name="connsiteX3" fmla="*/ 232372 w 1206976"/>
                <a:gd name="connsiteY3" fmla="*/ 151826 h 1033030"/>
                <a:gd name="connsiteX4" fmla="*/ 217283 w 1206976"/>
                <a:gd name="connsiteY4" fmla="*/ 212182 h 1033030"/>
                <a:gd name="connsiteX5" fmla="*/ 172016 w 1206976"/>
                <a:gd name="connsiteY5" fmla="*/ 257450 h 1033030"/>
                <a:gd name="connsiteX6" fmla="*/ 162962 w 1206976"/>
                <a:gd name="connsiteY6" fmla="*/ 344967 h 1033030"/>
                <a:gd name="connsiteX7" fmla="*/ 54321 w 1206976"/>
                <a:gd name="connsiteY7" fmla="*/ 495858 h 1033030"/>
                <a:gd name="connsiteX8" fmla="*/ 54321 w 1206976"/>
                <a:gd name="connsiteY8" fmla="*/ 538107 h 1033030"/>
                <a:gd name="connsiteX9" fmla="*/ 21125 w 1206976"/>
                <a:gd name="connsiteY9" fmla="*/ 577339 h 1033030"/>
                <a:gd name="connsiteX10" fmla="*/ 15089 w 1206976"/>
                <a:gd name="connsiteY10" fmla="*/ 634678 h 1033030"/>
                <a:gd name="connsiteX11" fmla="*/ 0 w 1206976"/>
                <a:gd name="connsiteY11" fmla="*/ 707105 h 1033030"/>
                <a:gd name="connsiteX12" fmla="*/ 6036 w 1206976"/>
                <a:gd name="connsiteY12" fmla="*/ 767462 h 1033030"/>
                <a:gd name="connsiteX13" fmla="*/ 591493 w 1206976"/>
                <a:gd name="connsiteY13" fmla="*/ 936460 h 1033030"/>
                <a:gd name="connsiteX14" fmla="*/ 1029077 w 1206976"/>
                <a:gd name="connsiteY14" fmla="*/ 1033030 h 1033030"/>
                <a:gd name="connsiteX15" fmla="*/ 1071327 w 1206976"/>
                <a:gd name="connsiteY15" fmla="*/ 731248 h 1033030"/>
                <a:gd name="connsiteX16" fmla="*/ 1107541 w 1206976"/>
                <a:gd name="connsiteY16" fmla="*/ 661838 h 1033030"/>
                <a:gd name="connsiteX17" fmla="*/ 1092452 w 1206976"/>
                <a:gd name="connsiteY17" fmla="*/ 631660 h 1033030"/>
                <a:gd name="connsiteX18" fmla="*/ 1083398 w 1206976"/>
                <a:gd name="connsiteY18" fmla="*/ 634678 h 1033030"/>
                <a:gd name="connsiteX19" fmla="*/ 1083398 w 1206976"/>
                <a:gd name="connsiteY19" fmla="*/ 562250 h 1033030"/>
                <a:gd name="connsiteX20" fmla="*/ 1134701 w 1206976"/>
                <a:gd name="connsiteY20" fmla="*/ 538107 h 1033030"/>
                <a:gd name="connsiteX21" fmla="*/ 1149790 w 1206976"/>
                <a:gd name="connsiteY21" fmla="*/ 438519 h 1033030"/>
                <a:gd name="connsiteX22" fmla="*/ 1206976 w 1206976"/>
                <a:gd name="connsiteY22" fmla="*/ 411359 h 1033030"/>
                <a:gd name="connsiteX23" fmla="*/ 1204592 w 1206976"/>
                <a:gd name="connsiteY23" fmla="*/ 341949 h 1033030"/>
                <a:gd name="connsiteX24" fmla="*/ 1182986 w 1206976"/>
                <a:gd name="connsiteY24" fmla="*/ 311771 h 1033030"/>
                <a:gd name="connsiteX25" fmla="*/ 1164879 w 1206976"/>
                <a:gd name="connsiteY25" fmla="*/ 311771 h 1033030"/>
                <a:gd name="connsiteX26" fmla="*/ 1131683 w 1206976"/>
                <a:gd name="connsiteY26" fmla="*/ 290646 h 1033030"/>
                <a:gd name="connsiteX27" fmla="*/ 1089434 w 1206976"/>
                <a:gd name="connsiteY27" fmla="*/ 290646 h 1033030"/>
                <a:gd name="connsiteX28" fmla="*/ 1061640 w 1206976"/>
                <a:gd name="connsiteY28" fmla="*/ 275727 h 1033030"/>
                <a:gd name="connsiteX29" fmla="*/ 1006050 w 1206976"/>
                <a:gd name="connsiteY29" fmla="*/ 247291 h 1033030"/>
                <a:gd name="connsiteX30" fmla="*/ 968721 w 1206976"/>
                <a:gd name="connsiteY30" fmla="*/ 266503 h 1033030"/>
                <a:gd name="connsiteX31" fmla="*/ 966217 w 1206976"/>
                <a:gd name="connsiteY31" fmla="*/ 261034 h 1033030"/>
                <a:gd name="connsiteX32" fmla="*/ 908364 w 1206976"/>
                <a:gd name="connsiteY32" fmla="*/ 239343 h 1033030"/>
                <a:gd name="connsiteX33" fmla="*/ 854044 w 1206976"/>
                <a:gd name="connsiteY33" fmla="*/ 254432 h 1033030"/>
                <a:gd name="connsiteX34" fmla="*/ 823384 w 1206976"/>
                <a:gd name="connsiteY34" fmla="*/ 238237 h 1033030"/>
                <a:gd name="connsiteX35" fmla="*/ 717607 w 1206976"/>
                <a:gd name="connsiteY35" fmla="*/ 233477 h 1033030"/>
                <a:gd name="connsiteX36" fmla="*/ 648832 w 1206976"/>
                <a:gd name="connsiteY36" fmla="*/ 200111 h 1033030"/>
                <a:gd name="connsiteX37" fmla="*/ 593242 w 1206976"/>
                <a:gd name="connsiteY37" fmla="*/ 215370 h 1033030"/>
                <a:gd name="connsiteX38" fmla="*/ 531137 w 1206976"/>
                <a:gd name="connsiteY38" fmla="*/ 163897 h 1033030"/>
                <a:gd name="connsiteX39" fmla="*/ 407406 w 1206976"/>
                <a:gd name="connsiteY39" fmla="*/ 191058 h 1033030"/>
                <a:gd name="connsiteX40" fmla="*/ 392317 w 1206976"/>
                <a:gd name="connsiteY40" fmla="*/ 79398 h 1033030"/>
                <a:gd name="connsiteX41" fmla="*/ 275103 w 1206976"/>
                <a:gd name="connsiteY41" fmla="*/ 0 h 1033030"/>
                <a:gd name="connsiteX0" fmla="*/ 275103 w 1206976"/>
                <a:gd name="connsiteY0" fmla="*/ 0 h 1033030"/>
                <a:gd name="connsiteX1" fmla="*/ 250479 w 1206976"/>
                <a:gd name="connsiteY1" fmla="*/ 91470 h 1033030"/>
                <a:gd name="connsiteX2" fmla="*/ 250479 w 1206976"/>
                <a:gd name="connsiteY2" fmla="*/ 133719 h 1033030"/>
                <a:gd name="connsiteX3" fmla="*/ 232372 w 1206976"/>
                <a:gd name="connsiteY3" fmla="*/ 151826 h 1033030"/>
                <a:gd name="connsiteX4" fmla="*/ 217283 w 1206976"/>
                <a:gd name="connsiteY4" fmla="*/ 212182 h 1033030"/>
                <a:gd name="connsiteX5" fmla="*/ 172016 w 1206976"/>
                <a:gd name="connsiteY5" fmla="*/ 257450 h 1033030"/>
                <a:gd name="connsiteX6" fmla="*/ 162962 w 1206976"/>
                <a:gd name="connsiteY6" fmla="*/ 344967 h 1033030"/>
                <a:gd name="connsiteX7" fmla="*/ 54321 w 1206976"/>
                <a:gd name="connsiteY7" fmla="*/ 495858 h 1033030"/>
                <a:gd name="connsiteX8" fmla="*/ 54321 w 1206976"/>
                <a:gd name="connsiteY8" fmla="*/ 538107 h 1033030"/>
                <a:gd name="connsiteX9" fmla="*/ 21125 w 1206976"/>
                <a:gd name="connsiteY9" fmla="*/ 577339 h 1033030"/>
                <a:gd name="connsiteX10" fmla="*/ 15089 w 1206976"/>
                <a:gd name="connsiteY10" fmla="*/ 634678 h 1033030"/>
                <a:gd name="connsiteX11" fmla="*/ 0 w 1206976"/>
                <a:gd name="connsiteY11" fmla="*/ 707105 h 1033030"/>
                <a:gd name="connsiteX12" fmla="*/ 6036 w 1206976"/>
                <a:gd name="connsiteY12" fmla="*/ 767462 h 1033030"/>
                <a:gd name="connsiteX13" fmla="*/ 591493 w 1206976"/>
                <a:gd name="connsiteY13" fmla="*/ 936460 h 1033030"/>
                <a:gd name="connsiteX14" fmla="*/ 1029077 w 1206976"/>
                <a:gd name="connsiteY14" fmla="*/ 1033030 h 1033030"/>
                <a:gd name="connsiteX15" fmla="*/ 1071327 w 1206976"/>
                <a:gd name="connsiteY15" fmla="*/ 731248 h 1033030"/>
                <a:gd name="connsiteX16" fmla="*/ 1107541 w 1206976"/>
                <a:gd name="connsiteY16" fmla="*/ 661838 h 1033030"/>
                <a:gd name="connsiteX17" fmla="*/ 1092452 w 1206976"/>
                <a:gd name="connsiteY17" fmla="*/ 631660 h 1033030"/>
                <a:gd name="connsiteX18" fmla="*/ 1083398 w 1206976"/>
                <a:gd name="connsiteY18" fmla="*/ 634678 h 1033030"/>
                <a:gd name="connsiteX19" fmla="*/ 1083398 w 1206976"/>
                <a:gd name="connsiteY19" fmla="*/ 562250 h 1033030"/>
                <a:gd name="connsiteX20" fmla="*/ 1134701 w 1206976"/>
                <a:gd name="connsiteY20" fmla="*/ 538107 h 1033030"/>
                <a:gd name="connsiteX21" fmla="*/ 1149790 w 1206976"/>
                <a:gd name="connsiteY21" fmla="*/ 438519 h 1033030"/>
                <a:gd name="connsiteX22" fmla="*/ 1206976 w 1206976"/>
                <a:gd name="connsiteY22" fmla="*/ 411359 h 1033030"/>
                <a:gd name="connsiteX23" fmla="*/ 1204592 w 1206976"/>
                <a:gd name="connsiteY23" fmla="*/ 341949 h 1033030"/>
                <a:gd name="connsiteX24" fmla="*/ 1182986 w 1206976"/>
                <a:gd name="connsiteY24" fmla="*/ 311771 h 1033030"/>
                <a:gd name="connsiteX25" fmla="*/ 1167263 w 1206976"/>
                <a:gd name="connsiteY25" fmla="*/ 287969 h 1033030"/>
                <a:gd name="connsiteX26" fmla="*/ 1131683 w 1206976"/>
                <a:gd name="connsiteY26" fmla="*/ 290646 h 1033030"/>
                <a:gd name="connsiteX27" fmla="*/ 1089434 w 1206976"/>
                <a:gd name="connsiteY27" fmla="*/ 290646 h 1033030"/>
                <a:gd name="connsiteX28" fmla="*/ 1061640 w 1206976"/>
                <a:gd name="connsiteY28" fmla="*/ 275727 h 1033030"/>
                <a:gd name="connsiteX29" fmla="*/ 1006050 w 1206976"/>
                <a:gd name="connsiteY29" fmla="*/ 247291 h 1033030"/>
                <a:gd name="connsiteX30" fmla="*/ 968721 w 1206976"/>
                <a:gd name="connsiteY30" fmla="*/ 266503 h 1033030"/>
                <a:gd name="connsiteX31" fmla="*/ 966217 w 1206976"/>
                <a:gd name="connsiteY31" fmla="*/ 261034 h 1033030"/>
                <a:gd name="connsiteX32" fmla="*/ 908364 w 1206976"/>
                <a:gd name="connsiteY32" fmla="*/ 239343 h 1033030"/>
                <a:gd name="connsiteX33" fmla="*/ 854044 w 1206976"/>
                <a:gd name="connsiteY33" fmla="*/ 254432 h 1033030"/>
                <a:gd name="connsiteX34" fmla="*/ 823384 w 1206976"/>
                <a:gd name="connsiteY34" fmla="*/ 238237 h 1033030"/>
                <a:gd name="connsiteX35" fmla="*/ 717607 w 1206976"/>
                <a:gd name="connsiteY35" fmla="*/ 233477 h 1033030"/>
                <a:gd name="connsiteX36" fmla="*/ 648832 w 1206976"/>
                <a:gd name="connsiteY36" fmla="*/ 200111 h 1033030"/>
                <a:gd name="connsiteX37" fmla="*/ 593242 w 1206976"/>
                <a:gd name="connsiteY37" fmla="*/ 215370 h 1033030"/>
                <a:gd name="connsiteX38" fmla="*/ 531137 w 1206976"/>
                <a:gd name="connsiteY38" fmla="*/ 163897 h 1033030"/>
                <a:gd name="connsiteX39" fmla="*/ 407406 w 1206976"/>
                <a:gd name="connsiteY39" fmla="*/ 191058 h 1033030"/>
                <a:gd name="connsiteX40" fmla="*/ 392317 w 1206976"/>
                <a:gd name="connsiteY40" fmla="*/ 79398 h 1033030"/>
                <a:gd name="connsiteX41" fmla="*/ 275103 w 1206976"/>
                <a:gd name="connsiteY41" fmla="*/ 0 h 1033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206976" h="1033030">
                  <a:moveTo>
                    <a:pt x="275103" y="0"/>
                  </a:moveTo>
                  <a:lnTo>
                    <a:pt x="250479" y="91470"/>
                  </a:lnTo>
                  <a:lnTo>
                    <a:pt x="250479" y="133719"/>
                  </a:lnTo>
                  <a:lnTo>
                    <a:pt x="232372" y="151826"/>
                  </a:lnTo>
                  <a:lnTo>
                    <a:pt x="217283" y="212182"/>
                  </a:lnTo>
                  <a:lnTo>
                    <a:pt x="172016" y="257450"/>
                  </a:lnTo>
                  <a:lnTo>
                    <a:pt x="162962" y="344967"/>
                  </a:lnTo>
                  <a:lnTo>
                    <a:pt x="54321" y="495858"/>
                  </a:lnTo>
                  <a:lnTo>
                    <a:pt x="54321" y="538107"/>
                  </a:lnTo>
                  <a:lnTo>
                    <a:pt x="21125" y="577339"/>
                  </a:lnTo>
                  <a:lnTo>
                    <a:pt x="15089" y="634678"/>
                  </a:lnTo>
                  <a:lnTo>
                    <a:pt x="0" y="707105"/>
                  </a:lnTo>
                  <a:lnTo>
                    <a:pt x="6036" y="767462"/>
                  </a:lnTo>
                  <a:lnTo>
                    <a:pt x="591493" y="936460"/>
                  </a:lnTo>
                  <a:lnTo>
                    <a:pt x="1029077" y="1033030"/>
                  </a:lnTo>
                  <a:lnTo>
                    <a:pt x="1071327" y="731248"/>
                  </a:lnTo>
                  <a:lnTo>
                    <a:pt x="1107541" y="661838"/>
                  </a:lnTo>
                  <a:lnTo>
                    <a:pt x="1092452" y="631660"/>
                  </a:lnTo>
                  <a:lnTo>
                    <a:pt x="1083398" y="634678"/>
                  </a:lnTo>
                  <a:lnTo>
                    <a:pt x="1083398" y="562250"/>
                  </a:lnTo>
                  <a:lnTo>
                    <a:pt x="1134701" y="538107"/>
                  </a:lnTo>
                  <a:lnTo>
                    <a:pt x="1149790" y="438519"/>
                  </a:lnTo>
                  <a:lnTo>
                    <a:pt x="1206976" y="411359"/>
                  </a:lnTo>
                  <a:cubicBezTo>
                    <a:pt x="1206181" y="388222"/>
                    <a:pt x="1205387" y="365086"/>
                    <a:pt x="1204592" y="341949"/>
                  </a:cubicBezTo>
                  <a:lnTo>
                    <a:pt x="1182986" y="311771"/>
                  </a:lnTo>
                  <a:lnTo>
                    <a:pt x="1167263" y="287969"/>
                  </a:lnTo>
                  <a:lnTo>
                    <a:pt x="1131683" y="290646"/>
                  </a:lnTo>
                  <a:lnTo>
                    <a:pt x="1089434" y="290646"/>
                  </a:lnTo>
                  <a:lnTo>
                    <a:pt x="1061640" y="275727"/>
                  </a:lnTo>
                  <a:lnTo>
                    <a:pt x="1006050" y="247291"/>
                  </a:lnTo>
                  <a:lnTo>
                    <a:pt x="968721" y="266503"/>
                  </a:lnTo>
                  <a:cubicBezTo>
                    <a:pt x="965502" y="266267"/>
                    <a:pt x="969436" y="261270"/>
                    <a:pt x="966217" y="261034"/>
                  </a:cubicBezTo>
                  <a:lnTo>
                    <a:pt x="908364" y="239343"/>
                  </a:lnTo>
                  <a:lnTo>
                    <a:pt x="854044" y="254432"/>
                  </a:lnTo>
                  <a:lnTo>
                    <a:pt x="823384" y="238237"/>
                  </a:lnTo>
                  <a:lnTo>
                    <a:pt x="717607" y="233477"/>
                  </a:lnTo>
                  <a:lnTo>
                    <a:pt x="648832" y="200111"/>
                  </a:lnTo>
                  <a:lnTo>
                    <a:pt x="593242" y="215370"/>
                  </a:lnTo>
                  <a:lnTo>
                    <a:pt x="531137" y="163897"/>
                  </a:lnTo>
                  <a:lnTo>
                    <a:pt x="407406" y="191058"/>
                  </a:lnTo>
                  <a:lnTo>
                    <a:pt x="392317" y="79398"/>
                  </a:lnTo>
                  <a:lnTo>
                    <a:pt x="275103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95" name="Freeform 94"/>
            <p:cNvSpPr/>
            <p:nvPr/>
          </p:nvSpPr>
          <p:spPr>
            <a:xfrm>
              <a:off x="847227" y="2786955"/>
              <a:ext cx="617011" cy="883491"/>
            </a:xfrm>
            <a:custGeom>
              <a:avLst/>
              <a:gdLst>
                <a:gd name="connsiteX0" fmla="*/ 111660 w 965703"/>
                <a:gd name="connsiteY0" fmla="*/ 0 h 1481751"/>
                <a:gd name="connsiteX1" fmla="*/ 0 w 965703"/>
                <a:gd name="connsiteY1" fmla="*/ 552262 h 1481751"/>
                <a:gd name="connsiteX2" fmla="*/ 669957 w 965703"/>
                <a:gd name="connsiteY2" fmla="*/ 1481751 h 1481751"/>
                <a:gd name="connsiteX3" fmla="*/ 700135 w 965703"/>
                <a:gd name="connsiteY3" fmla="*/ 1421394 h 1481751"/>
                <a:gd name="connsiteX4" fmla="*/ 688064 w 965703"/>
                <a:gd name="connsiteY4" fmla="*/ 1351984 h 1481751"/>
                <a:gd name="connsiteX5" fmla="*/ 712206 w 965703"/>
                <a:gd name="connsiteY5" fmla="*/ 1276539 h 1481751"/>
                <a:gd name="connsiteX6" fmla="*/ 808777 w 965703"/>
                <a:gd name="connsiteY6" fmla="*/ 1309735 h 1481751"/>
                <a:gd name="connsiteX7" fmla="*/ 965703 w 965703"/>
                <a:gd name="connsiteY7" fmla="*/ 178052 h 1481751"/>
                <a:gd name="connsiteX8" fmla="*/ 111660 w 965703"/>
                <a:gd name="connsiteY8" fmla="*/ 0 h 1481751"/>
                <a:gd name="connsiteX0" fmla="*/ 125955 w 979998"/>
                <a:gd name="connsiteY0" fmla="*/ 0 h 1481751"/>
                <a:gd name="connsiteX1" fmla="*/ 0 w 979998"/>
                <a:gd name="connsiteY1" fmla="*/ 552491 h 1481751"/>
                <a:gd name="connsiteX2" fmla="*/ 684252 w 979998"/>
                <a:gd name="connsiteY2" fmla="*/ 1481751 h 1481751"/>
                <a:gd name="connsiteX3" fmla="*/ 714430 w 979998"/>
                <a:gd name="connsiteY3" fmla="*/ 1421394 h 1481751"/>
                <a:gd name="connsiteX4" fmla="*/ 702359 w 979998"/>
                <a:gd name="connsiteY4" fmla="*/ 1351984 h 1481751"/>
                <a:gd name="connsiteX5" fmla="*/ 726501 w 979998"/>
                <a:gd name="connsiteY5" fmla="*/ 1276539 h 1481751"/>
                <a:gd name="connsiteX6" fmla="*/ 823072 w 979998"/>
                <a:gd name="connsiteY6" fmla="*/ 1309735 h 1481751"/>
                <a:gd name="connsiteX7" fmla="*/ 979998 w 979998"/>
                <a:gd name="connsiteY7" fmla="*/ 178052 h 1481751"/>
                <a:gd name="connsiteX8" fmla="*/ 125955 w 979998"/>
                <a:gd name="connsiteY8" fmla="*/ 0 h 1481751"/>
                <a:gd name="connsiteX0" fmla="*/ 125955 w 979998"/>
                <a:gd name="connsiteY0" fmla="*/ 0 h 1496659"/>
                <a:gd name="connsiteX1" fmla="*/ 0 w 979998"/>
                <a:gd name="connsiteY1" fmla="*/ 552491 h 1496659"/>
                <a:gd name="connsiteX2" fmla="*/ 684608 w 979998"/>
                <a:gd name="connsiteY2" fmla="*/ 1496659 h 1496659"/>
                <a:gd name="connsiteX3" fmla="*/ 714430 w 979998"/>
                <a:gd name="connsiteY3" fmla="*/ 1421394 h 1496659"/>
                <a:gd name="connsiteX4" fmla="*/ 702359 w 979998"/>
                <a:gd name="connsiteY4" fmla="*/ 1351984 h 1496659"/>
                <a:gd name="connsiteX5" fmla="*/ 726501 w 979998"/>
                <a:gd name="connsiteY5" fmla="*/ 1276539 h 1496659"/>
                <a:gd name="connsiteX6" fmla="*/ 823072 w 979998"/>
                <a:gd name="connsiteY6" fmla="*/ 1309735 h 1496659"/>
                <a:gd name="connsiteX7" fmla="*/ 979998 w 979998"/>
                <a:gd name="connsiteY7" fmla="*/ 178052 h 1496659"/>
                <a:gd name="connsiteX8" fmla="*/ 125955 w 979998"/>
                <a:gd name="connsiteY8" fmla="*/ 0 h 1496659"/>
                <a:gd name="connsiteX0" fmla="*/ 125955 w 979998"/>
                <a:gd name="connsiteY0" fmla="*/ 0 h 1496659"/>
                <a:gd name="connsiteX1" fmla="*/ 0 w 979998"/>
                <a:gd name="connsiteY1" fmla="*/ 552491 h 1496659"/>
                <a:gd name="connsiteX2" fmla="*/ 684608 w 979998"/>
                <a:gd name="connsiteY2" fmla="*/ 1496659 h 1496659"/>
                <a:gd name="connsiteX3" fmla="*/ 714430 w 979998"/>
                <a:gd name="connsiteY3" fmla="*/ 1421394 h 1496659"/>
                <a:gd name="connsiteX4" fmla="*/ 712255 w 979998"/>
                <a:gd name="connsiteY4" fmla="*/ 1359690 h 1496659"/>
                <a:gd name="connsiteX5" fmla="*/ 726501 w 979998"/>
                <a:gd name="connsiteY5" fmla="*/ 1276539 h 1496659"/>
                <a:gd name="connsiteX6" fmla="*/ 823072 w 979998"/>
                <a:gd name="connsiteY6" fmla="*/ 1309735 h 1496659"/>
                <a:gd name="connsiteX7" fmla="*/ 979998 w 979998"/>
                <a:gd name="connsiteY7" fmla="*/ 178052 h 1496659"/>
                <a:gd name="connsiteX8" fmla="*/ 125955 w 979998"/>
                <a:gd name="connsiteY8" fmla="*/ 0 h 1496659"/>
                <a:gd name="connsiteX0" fmla="*/ 125955 w 979998"/>
                <a:gd name="connsiteY0" fmla="*/ 0 h 1496659"/>
                <a:gd name="connsiteX1" fmla="*/ 0 w 979998"/>
                <a:gd name="connsiteY1" fmla="*/ 552491 h 1496659"/>
                <a:gd name="connsiteX2" fmla="*/ 684608 w 979998"/>
                <a:gd name="connsiteY2" fmla="*/ 1496659 h 1496659"/>
                <a:gd name="connsiteX3" fmla="*/ 714430 w 979998"/>
                <a:gd name="connsiteY3" fmla="*/ 1421394 h 1496659"/>
                <a:gd name="connsiteX4" fmla="*/ 712255 w 979998"/>
                <a:gd name="connsiteY4" fmla="*/ 1359690 h 1496659"/>
                <a:gd name="connsiteX5" fmla="*/ 743557 w 979998"/>
                <a:gd name="connsiteY5" fmla="*/ 1288979 h 1496659"/>
                <a:gd name="connsiteX6" fmla="*/ 823072 w 979998"/>
                <a:gd name="connsiteY6" fmla="*/ 1309735 h 1496659"/>
                <a:gd name="connsiteX7" fmla="*/ 979998 w 979998"/>
                <a:gd name="connsiteY7" fmla="*/ 178052 h 1496659"/>
                <a:gd name="connsiteX8" fmla="*/ 125955 w 979998"/>
                <a:gd name="connsiteY8" fmla="*/ 0 h 149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9998" h="1496659">
                  <a:moveTo>
                    <a:pt x="125955" y="0"/>
                  </a:moveTo>
                  <a:lnTo>
                    <a:pt x="0" y="552491"/>
                  </a:lnTo>
                  <a:lnTo>
                    <a:pt x="684608" y="1496659"/>
                  </a:lnTo>
                  <a:lnTo>
                    <a:pt x="714430" y="1421394"/>
                  </a:lnTo>
                  <a:lnTo>
                    <a:pt x="712255" y="1359690"/>
                  </a:lnTo>
                  <a:lnTo>
                    <a:pt x="743557" y="1288979"/>
                  </a:lnTo>
                  <a:lnTo>
                    <a:pt x="823072" y="1309735"/>
                  </a:lnTo>
                  <a:lnTo>
                    <a:pt x="979998" y="178052"/>
                  </a:lnTo>
                  <a:lnTo>
                    <a:pt x="125955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96" name="Freeform 95"/>
            <p:cNvSpPr/>
            <p:nvPr/>
          </p:nvSpPr>
          <p:spPr>
            <a:xfrm>
              <a:off x="1380238" y="2891886"/>
              <a:ext cx="527009" cy="635215"/>
            </a:xfrm>
            <a:custGeom>
              <a:avLst/>
              <a:gdLst>
                <a:gd name="connsiteX0" fmla="*/ 132784 w 835937"/>
                <a:gd name="connsiteY0" fmla="*/ 0 h 1059255"/>
                <a:gd name="connsiteX1" fmla="*/ 0 w 835937"/>
                <a:gd name="connsiteY1" fmla="*/ 956649 h 1059255"/>
                <a:gd name="connsiteX2" fmla="*/ 775580 w 835937"/>
                <a:gd name="connsiteY2" fmla="*/ 1059255 h 1059255"/>
                <a:gd name="connsiteX3" fmla="*/ 835937 w 835937"/>
                <a:gd name="connsiteY3" fmla="*/ 286693 h 1059255"/>
                <a:gd name="connsiteX4" fmla="*/ 540190 w 835937"/>
                <a:gd name="connsiteY4" fmla="*/ 250479 h 1059255"/>
                <a:gd name="connsiteX5" fmla="*/ 555279 w 835937"/>
                <a:gd name="connsiteY5" fmla="*/ 69410 h 1059255"/>
                <a:gd name="connsiteX6" fmla="*/ 132784 w 835937"/>
                <a:gd name="connsiteY6" fmla="*/ 0 h 1059255"/>
                <a:gd name="connsiteX0" fmla="*/ 132784 w 835937"/>
                <a:gd name="connsiteY0" fmla="*/ 0 h 1075929"/>
                <a:gd name="connsiteX1" fmla="*/ 0 w 835937"/>
                <a:gd name="connsiteY1" fmla="*/ 956649 h 1075929"/>
                <a:gd name="connsiteX2" fmla="*/ 763683 w 835937"/>
                <a:gd name="connsiteY2" fmla="*/ 1075929 h 1075929"/>
                <a:gd name="connsiteX3" fmla="*/ 835937 w 835937"/>
                <a:gd name="connsiteY3" fmla="*/ 286693 h 1075929"/>
                <a:gd name="connsiteX4" fmla="*/ 540190 w 835937"/>
                <a:gd name="connsiteY4" fmla="*/ 250479 h 1075929"/>
                <a:gd name="connsiteX5" fmla="*/ 555279 w 835937"/>
                <a:gd name="connsiteY5" fmla="*/ 69410 h 1075929"/>
                <a:gd name="connsiteX6" fmla="*/ 132784 w 835937"/>
                <a:gd name="connsiteY6" fmla="*/ 0 h 1075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5937" h="1075929">
                  <a:moveTo>
                    <a:pt x="132784" y="0"/>
                  </a:moveTo>
                  <a:lnTo>
                    <a:pt x="0" y="956649"/>
                  </a:lnTo>
                  <a:lnTo>
                    <a:pt x="763683" y="1075929"/>
                  </a:lnTo>
                  <a:lnTo>
                    <a:pt x="835937" y="286693"/>
                  </a:lnTo>
                  <a:lnTo>
                    <a:pt x="540190" y="250479"/>
                  </a:lnTo>
                  <a:lnTo>
                    <a:pt x="555279" y="69410"/>
                  </a:lnTo>
                  <a:lnTo>
                    <a:pt x="13278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97" name="Freeform 96"/>
            <p:cNvSpPr/>
            <p:nvPr/>
          </p:nvSpPr>
          <p:spPr>
            <a:xfrm>
              <a:off x="1240235" y="3457771"/>
              <a:ext cx="625011" cy="709228"/>
            </a:xfrm>
            <a:custGeom>
              <a:avLst/>
              <a:gdLst>
                <a:gd name="connsiteX0" fmla="*/ 223319 w 995882"/>
                <a:gd name="connsiteY0" fmla="*/ 0 h 1201093"/>
                <a:gd name="connsiteX1" fmla="*/ 199177 w 995882"/>
                <a:gd name="connsiteY1" fmla="*/ 172016 h 1201093"/>
                <a:gd name="connsiteX2" fmla="*/ 108642 w 995882"/>
                <a:gd name="connsiteY2" fmla="*/ 147873 h 1201093"/>
                <a:gd name="connsiteX3" fmla="*/ 75446 w 995882"/>
                <a:gd name="connsiteY3" fmla="*/ 223319 h 1201093"/>
                <a:gd name="connsiteX4" fmla="*/ 84499 w 995882"/>
                <a:gd name="connsiteY4" fmla="*/ 286693 h 1201093"/>
                <a:gd name="connsiteX5" fmla="*/ 66392 w 995882"/>
                <a:gd name="connsiteY5" fmla="*/ 344032 h 1201093"/>
                <a:gd name="connsiteX6" fmla="*/ 78464 w 995882"/>
                <a:gd name="connsiteY6" fmla="*/ 383264 h 1201093"/>
                <a:gd name="connsiteX7" fmla="*/ 132785 w 995882"/>
                <a:gd name="connsiteY7" fmla="*/ 510012 h 1201093"/>
                <a:gd name="connsiteX8" fmla="*/ 132785 w 995882"/>
                <a:gd name="connsiteY8" fmla="*/ 528119 h 1201093"/>
                <a:gd name="connsiteX9" fmla="*/ 78464 w 995882"/>
                <a:gd name="connsiteY9" fmla="*/ 552262 h 1201093"/>
                <a:gd name="connsiteX10" fmla="*/ 66392 w 995882"/>
                <a:gd name="connsiteY10" fmla="*/ 633743 h 1201093"/>
                <a:gd name="connsiteX11" fmla="*/ 15089 w 995882"/>
                <a:gd name="connsiteY11" fmla="*/ 715224 h 1201093"/>
                <a:gd name="connsiteX12" fmla="*/ 45268 w 995882"/>
                <a:gd name="connsiteY12" fmla="*/ 802741 h 1201093"/>
                <a:gd name="connsiteX13" fmla="*/ 21125 w 995882"/>
                <a:gd name="connsiteY13" fmla="*/ 787652 h 1201093"/>
                <a:gd name="connsiteX14" fmla="*/ 0 w 995882"/>
                <a:gd name="connsiteY14" fmla="*/ 811794 h 1201093"/>
                <a:gd name="connsiteX15" fmla="*/ 0 w 995882"/>
                <a:gd name="connsiteY15" fmla="*/ 838955 h 1201093"/>
                <a:gd name="connsiteX16" fmla="*/ 576404 w 995882"/>
                <a:gd name="connsiteY16" fmla="*/ 1170915 h 1201093"/>
                <a:gd name="connsiteX17" fmla="*/ 908365 w 995882"/>
                <a:gd name="connsiteY17" fmla="*/ 1201093 h 1201093"/>
                <a:gd name="connsiteX18" fmla="*/ 995882 w 995882"/>
                <a:gd name="connsiteY18" fmla="*/ 102606 h 1201093"/>
                <a:gd name="connsiteX19" fmla="*/ 223319 w 995882"/>
                <a:gd name="connsiteY19" fmla="*/ 0 h 1201093"/>
                <a:gd name="connsiteX0" fmla="*/ 223319 w 995882"/>
                <a:gd name="connsiteY0" fmla="*/ 0 h 1201093"/>
                <a:gd name="connsiteX1" fmla="*/ 199177 w 995882"/>
                <a:gd name="connsiteY1" fmla="*/ 172016 h 1201093"/>
                <a:gd name="connsiteX2" fmla="*/ 108642 w 995882"/>
                <a:gd name="connsiteY2" fmla="*/ 147873 h 1201093"/>
                <a:gd name="connsiteX3" fmla="*/ 75446 w 995882"/>
                <a:gd name="connsiteY3" fmla="*/ 223319 h 1201093"/>
                <a:gd name="connsiteX4" fmla="*/ 84499 w 995882"/>
                <a:gd name="connsiteY4" fmla="*/ 286693 h 1201093"/>
                <a:gd name="connsiteX5" fmla="*/ 66392 w 995882"/>
                <a:gd name="connsiteY5" fmla="*/ 344032 h 1201093"/>
                <a:gd name="connsiteX6" fmla="*/ 78464 w 995882"/>
                <a:gd name="connsiteY6" fmla="*/ 383264 h 1201093"/>
                <a:gd name="connsiteX7" fmla="*/ 132785 w 995882"/>
                <a:gd name="connsiteY7" fmla="*/ 510012 h 1201093"/>
                <a:gd name="connsiteX8" fmla="*/ 132785 w 995882"/>
                <a:gd name="connsiteY8" fmla="*/ 528119 h 1201093"/>
                <a:gd name="connsiteX9" fmla="*/ 78464 w 995882"/>
                <a:gd name="connsiteY9" fmla="*/ 552262 h 1201093"/>
                <a:gd name="connsiteX10" fmla="*/ 66392 w 995882"/>
                <a:gd name="connsiteY10" fmla="*/ 633743 h 1201093"/>
                <a:gd name="connsiteX11" fmla="*/ 15089 w 995882"/>
                <a:gd name="connsiteY11" fmla="*/ 715224 h 1201093"/>
                <a:gd name="connsiteX12" fmla="*/ 21125 w 995882"/>
                <a:gd name="connsiteY12" fmla="*/ 787652 h 1201093"/>
                <a:gd name="connsiteX13" fmla="*/ 0 w 995882"/>
                <a:gd name="connsiteY13" fmla="*/ 811794 h 1201093"/>
                <a:gd name="connsiteX14" fmla="*/ 0 w 995882"/>
                <a:gd name="connsiteY14" fmla="*/ 838955 h 1201093"/>
                <a:gd name="connsiteX15" fmla="*/ 576404 w 995882"/>
                <a:gd name="connsiteY15" fmla="*/ 1170915 h 1201093"/>
                <a:gd name="connsiteX16" fmla="*/ 908365 w 995882"/>
                <a:gd name="connsiteY16" fmla="*/ 1201093 h 1201093"/>
                <a:gd name="connsiteX17" fmla="*/ 995882 w 995882"/>
                <a:gd name="connsiteY17" fmla="*/ 102606 h 1201093"/>
                <a:gd name="connsiteX18" fmla="*/ 223319 w 995882"/>
                <a:gd name="connsiteY18" fmla="*/ 0 h 1201093"/>
                <a:gd name="connsiteX0" fmla="*/ 223319 w 991638"/>
                <a:gd name="connsiteY0" fmla="*/ 0 h 1201093"/>
                <a:gd name="connsiteX1" fmla="*/ 199177 w 991638"/>
                <a:gd name="connsiteY1" fmla="*/ 172016 h 1201093"/>
                <a:gd name="connsiteX2" fmla="*/ 108642 w 991638"/>
                <a:gd name="connsiteY2" fmla="*/ 147873 h 1201093"/>
                <a:gd name="connsiteX3" fmla="*/ 75446 w 991638"/>
                <a:gd name="connsiteY3" fmla="*/ 223319 h 1201093"/>
                <a:gd name="connsiteX4" fmla="*/ 84499 w 991638"/>
                <a:gd name="connsiteY4" fmla="*/ 286693 h 1201093"/>
                <a:gd name="connsiteX5" fmla="*/ 66392 w 991638"/>
                <a:gd name="connsiteY5" fmla="*/ 344032 h 1201093"/>
                <a:gd name="connsiteX6" fmla="*/ 78464 w 991638"/>
                <a:gd name="connsiteY6" fmla="*/ 383264 h 1201093"/>
                <a:gd name="connsiteX7" fmla="*/ 132785 w 991638"/>
                <a:gd name="connsiteY7" fmla="*/ 510012 h 1201093"/>
                <a:gd name="connsiteX8" fmla="*/ 132785 w 991638"/>
                <a:gd name="connsiteY8" fmla="*/ 528119 h 1201093"/>
                <a:gd name="connsiteX9" fmla="*/ 78464 w 991638"/>
                <a:gd name="connsiteY9" fmla="*/ 552262 h 1201093"/>
                <a:gd name="connsiteX10" fmla="*/ 66392 w 991638"/>
                <a:gd name="connsiteY10" fmla="*/ 633743 h 1201093"/>
                <a:gd name="connsiteX11" fmla="*/ 15089 w 991638"/>
                <a:gd name="connsiteY11" fmla="*/ 715224 h 1201093"/>
                <a:gd name="connsiteX12" fmla="*/ 21125 w 991638"/>
                <a:gd name="connsiteY12" fmla="*/ 787652 h 1201093"/>
                <a:gd name="connsiteX13" fmla="*/ 0 w 991638"/>
                <a:gd name="connsiteY13" fmla="*/ 811794 h 1201093"/>
                <a:gd name="connsiteX14" fmla="*/ 0 w 991638"/>
                <a:gd name="connsiteY14" fmla="*/ 838955 h 1201093"/>
                <a:gd name="connsiteX15" fmla="*/ 576404 w 991638"/>
                <a:gd name="connsiteY15" fmla="*/ 1170915 h 1201093"/>
                <a:gd name="connsiteX16" fmla="*/ 908365 w 991638"/>
                <a:gd name="connsiteY16" fmla="*/ 1201093 h 1201093"/>
                <a:gd name="connsiteX17" fmla="*/ 991638 w 991638"/>
                <a:gd name="connsiteY17" fmla="*/ 112071 h 1201093"/>
                <a:gd name="connsiteX18" fmla="*/ 223319 w 991638"/>
                <a:gd name="connsiteY18" fmla="*/ 0 h 120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91638" h="1201093">
                  <a:moveTo>
                    <a:pt x="223319" y="0"/>
                  </a:moveTo>
                  <a:lnTo>
                    <a:pt x="199177" y="172016"/>
                  </a:lnTo>
                  <a:lnTo>
                    <a:pt x="108642" y="147873"/>
                  </a:lnTo>
                  <a:lnTo>
                    <a:pt x="75446" y="223319"/>
                  </a:lnTo>
                  <a:lnTo>
                    <a:pt x="84499" y="286693"/>
                  </a:lnTo>
                  <a:lnTo>
                    <a:pt x="66392" y="344032"/>
                  </a:lnTo>
                  <a:lnTo>
                    <a:pt x="78464" y="383264"/>
                  </a:lnTo>
                  <a:lnTo>
                    <a:pt x="132785" y="510012"/>
                  </a:lnTo>
                  <a:lnTo>
                    <a:pt x="132785" y="528119"/>
                  </a:lnTo>
                  <a:lnTo>
                    <a:pt x="78464" y="552262"/>
                  </a:lnTo>
                  <a:lnTo>
                    <a:pt x="66392" y="633743"/>
                  </a:lnTo>
                  <a:lnTo>
                    <a:pt x="15089" y="715224"/>
                  </a:lnTo>
                  <a:lnTo>
                    <a:pt x="21125" y="787652"/>
                  </a:lnTo>
                  <a:lnTo>
                    <a:pt x="0" y="811794"/>
                  </a:lnTo>
                  <a:lnTo>
                    <a:pt x="0" y="838955"/>
                  </a:lnTo>
                  <a:lnTo>
                    <a:pt x="576404" y="1170915"/>
                  </a:lnTo>
                  <a:lnTo>
                    <a:pt x="908365" y="1201093"/>
                  </a:lnTo>
                  <a:lnTo>
                    <a:pt x="991638" y="112071"/>
                  </a:lnTo>
                  <a:lnTo>
                    <a:pt x="22331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98" name="Freeform 97"/>
            <p:cNvSpPr/>
            <p:nvPr/>
          </p:nvSpPr>
          <p:spPr>
            <a:xfrm>
              <a:off x="1808245" y="3522416"/>
              <a:ext cx="646012" cy="653015"/>
            </a:xfrm>
            <a:custGeom>
              <a:avLst/>
              <a:gdLst>
                <a:gd name="connsiteX0" fmla="*/ 87517 w 1026059"/>
                <a:gd name="connsiteY0" fmla="*/ 0 h 1107540"/>
                <a:gd name="connsiteX1" fmla="*/ 0 w 1026059"/>
                <a:gd name="connsiteY1" fmla="*/ 1098487 h 1107540"/>
                <a:gd name="connsiteX2" fmla="*/ 165980 w 1026059"/>
                <a:gd name="connsiteY2" fmla="*/ 1107540 h 1107540"/>
                <a:gd name="connsiteX3" fmla="*/ 172016 w 1026059"/>
                <a:gd name="connsiteY3" fmla="*/ 1029077 h 1107540"/>
                <a:gd name="connsiteX4" fmla="*/ 416459 w 1026059"/>
                <a:gd name="connsiteY4" fmla="*/ 1032095 h 1107540"/>
                <a:gd name="connsiteX5" fmla="*/ 425513 w 1026059"/>
                <a:gd name="connsiteY5" fmla="*/ 992863 h 1107540"/>
                <a:gd name="connsiteX6" fmla="*/ 1010970 w 1026059"/>
                <a:gd name="connsiteY6" fmla="*/ 1020023 h 1107540"/>
                <a:gd name="connsiteX7" fmla="*/ 1026059 w 1026059"/>
                <a:gd name="connsiteY7" fmla="*/ 54321 h 1107540"/>
                <a:gd name="connsiteX8" fmla="*/ 377228 w 1026059"/>
                <a:gd name="connsiteY8" fmla="*/ 24142 h 1107540"/>
                <a:gd name="connsiteX9" fmla="*/ 238408 w 1026059"/>
                <a:gd name="connsiteY9" fmla="*/ 9053 h 1107540"/>
                <a:gd name="connsiteX10" fmla="*/ 87517 w 1026059"/>
                <a:gd name="connsiteY10" fmla="*/ 0 h 1107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6059" h="1107540">
                  <a:moveTo>
                    <a:pt x="87517" y="0"/>
                  </a:moveTo>
                  <a:lnTo>
                    <a:pt x="0" y="1098487"/>
                  </a:lnTo>
                  <a:lnTo>
                    <a:pt x="165980" y="1107540"/>
                  </a:lnTo>
                  <a:lnTo>
                    <a:pt x="172016" y="1029077"/>
                  </a:lnTo>
                  <a:lnTo>
                    <a:pt x="416459" y="1032095"/>
                  </a:lnTo>
                  <a:lnTo>
                    <a:pt x="425513" y="992863"/>
                  </a:lnTo>
                  <a:lnTo>
                    <a:pt x="1010970" y="1020023"/>
                  </a:lnTo>
                  <a:lnTo>
                    <a:pt x="1026059" y="54321"/>
                  </a:lnTo>
                  <a:lnTo>
                    <a:pt x="377228" y="24142"/>
                  </a:lnTo>
                  <a:lnTo>
                    <a:pt x="238408" y="9053"/>
                  </a:lnTo>
                  <a:lnTo>
                    <a:pt x="8751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99" name="Freeform 98"/>
            <p:cNvSpPr/>
            <p:nvPr/>
          </p:nvSpPr>
          <p:spPr>
            <a:xfrm>
              <a:off x="1862246" y="3060527"/>
              <a:ext cx="691012" cy="495616"/>
            </a:xfrm>
            <a:custGeom>
              <a:avLst/>
              <a:gdLst>
                <a:gd name="connsiteX0" fmla="*/ 54321 w 1083398"/>
                <a:gd name="connsiteY0" fmla="*/ 0 h 838954"/>
                <a:gd name="connsiteX1" fmla="*/ 0 w 1083398"/>
                <a:gd name="connsiteY1" fmla="*/ 778598 h 838954"/>
                <a:gd name="connsiteX2" fmla="*/ 359121 w 1083398"/>
                <a:gd name="connsiteY2" fmla="*/ 811794 h 838954"/>
                <a:gd name="connsiteX3" fmla="*/ 926471 w 1083398"/>
                <a:gd name="connsiteY3" fmla="*/ 838954 h 838954"/>
                <a:gd name="connsiteX4" fmla="*/ 1071327 w 1083398"/>
                <a:gd name="connsiteY4" fmla="*/ 832919 h 838954"/>
                <a:gd name="connsiteX5" fmla="*/ 1083398 w 1083398"/>
                <a:gd name="connsiteY5" fmla="*/ 69410 h 838954"/>
                <a:gd name="connsiteX6" fmla="*/ 639778 w 1083398"/>
                <a:gd name="connsiteY6" fmla="*/ 45267 h 838954"/>
                <a:gd name="connsiteX7" fmla="*/ 416460 w 1083398"/>
                <a:gd name="connsiteY7" fmla="*/ 27160 h 838954"/>
                <a:gd name="connsiteX8" fmla="*/ 54321 w 1083398"/>
                <a:gd name="connsiteY8" fmla="*/ 0 h 838954"/>
                <a:gd name="connsiteX0" fmla="*/ 68618 w 1097695"/>
                <a:gd name="connsiteY0" fmla="*/ 0 h 838954"/>
                <a:gd name="connsiteX1" fmla="*/ 0 w 1097695"/>
                <a:gd name="connsiteY1" fmla="*/ 780977 h 838954"/>
                <a:gd name="connsiteX2" fmla="*/ 373418 w 1097695"/>
                <a:gd name="connsiteY2" fmla="*/ 811794 h 838954"/>
                <a:gd name="connsiteX3" fmla="*/ 940768 w 1097695"/>
                <a:gd name="connsiteY3" fmla="*/ 838954 h 838954"/>
                <a:gd name="connsiteX4" fmla="*/ 1085624 w 1097695"/>
                <a:gd name="connsiteY4" fmla="*/ 832919 h 838954"/>
                <a:gd name="connsiteX5" fmla="*/ 1097695 w 1097695"/>
                <a:gd name="connsiteY5" fmla="*/ 69410 h 838954"/>
                <a:gd name="connsiteX6" fmla="*/ 654075 w 1097695"/>
                <a:gd name="connsiteY6" fmla="*/ 45267 h 838954"/>
                <a:gd name="connsiteX7" fmla="*/ 430757 w 1097695"/>
                <a:gd name="connsiteY7" fmla="*/ 27160 h 838954"/>
                <a:gd name="connsiteX8" fmla="*/ 68618 w 1097695"/>
                <a:gd name="connsiteY8" fmla="*/ 0 h 838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7695" h="838954">
                  <a:moveTo>
                    <a:pt x="68618" y="0"/>
                  </a:moveTo>
                  <a:lnTo>
                    <a:pt x="0" y="780977"/>
                  </a:lnTo>
                  <a:lnTo>
                    <a:pt x="373418" y="811794"/>
                  </a:lnTo>
                  <a:lnTo>
                    <a:pt x="940768" y="838954"/>
                  </a:lnTo>
                  <a:lnTo>
                    <a:pt x="1085624" y="832919"/>
                  </a:lnTo>
                  <a:lnTo>
                    <a:pt x="1097695" y="69410"/>
                  </a:lnTo>
                  <a:lnTo>
                    <a:pt x="654075" y="45267"/>
                  </a:lnTo>
                  <a:lnTo>
                    <a:pt x="430757" y="27160"/>
                  </a:lnTo>
                  <a:lnTo>
                    <a:pt x="6861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0" name="Freeform 99"/>
            <p:cNvSpPr/>
            <p:nvPr/>
          </p:nvSpPr>
          <p:spPr>
            <a:xfrm>
              <a:off x="1724243" y="2593954"/>
              <a:ext cx="660012" cy="502175"/>
            </a:xfrm>
            <a:custGeom>
              <a:avLst/>
              <a:gdLst>
                <a:gd name="connsiteX0" fmla="*/ 81481 w 1047184"/>
                <a:gd name="connsiteY0" fmla="*/ 0 h 851025"/>
                <a:gd name="connsiteX1" fmla="*/ 12071 w 1047184"/>
                <a:gd name="connsiteY1" fmla="*/ 576404 h 851025"/>
                <a:gd name="connsiteX2" fmla="*/ 0 w 1047184"/>
                <a:gd name="connsiteY2" fmla="*/ 751437 h 851025"/>
                <a:gd name="connsiteX3" fmla="*/ 289711 w 1047184"/>
                <a:gd name="connsiteY3" fmla="*/ 796705 h 851025"/>
                <a:gd name="connsiteX4" fmla="*/ 1017006 w 1047184"/>
                <a:gd name="connsiteY4" fmla="*/ 851025 h 851025"/>
                <a:gd name="connsiteX5" fmla="*/ 1047184 w 1047184"/>
                <a:gd name="connsiteY5" fmla="*/ 78463 h 851025"/>
                <a:gd name="connsiteX6" fmla="*/ 81481 w 1047184"/>
                <a:gd name="connsiteY6" fmla="*/ 0 h 85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184" h="851025">
                  <a:moveTo>
                    <a:pt x="81481" y="0"/>
                  </a:moveTo>
                  <a:lnTo>
                    <a:pt x="12071" y="576404"/>
                  </a:lnTo>
                  <a:lnTo>
                    <a:pt x="0" y="751437"/>
                  </a:lnTo>
                  <a:lnTo>
                    <a:pt x="289711" y="796705"/>
                  </a:lnTo>
                  <a:lnTo>
                    <a:pt x="1017006" y="851025"/>
                  </a:lnTo>
                  <a:lnTo>
                    <a:pt x="1047184" y="78463"/>
                  </a:lnTo>
                  <a:lnTo>
                    <a:pt x="81481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1" name="Freeform 100"/>
            <p:cNvSpPr/>
            <p:nvPr/>
          </p:nvSpPr>
          <p:spPr>
            <a:xfrm>
              <a:off x="1417237" y="2091779"/>
              <a:ext cx="992017" cy="562137"/>
            </a:xfrm>
            <a:custGeom>
              <a:avLst/>
              <a:gdLst>
                <a:gd name="connsiteX0" fmla="*/ 27160 w 1572285"/>
                <a:gd name="connsiteY0" fmla="*/ 0 h 944578"/>
                <a:gd name="connsiteX1" fmla="*/ 24142 w 1572285"/>
                <a:gd name="connsiteY1" fmla="*/ 63374 h 944578"/>
                <a:gd name="connsiteX2" fmla="*/ 0 w 1572285"/>
                <a:gd name="connsiteY2" fmla="*/ 129766 h 944578"/>
                <a:gd name="connsiteX3" fmla="*/ 12071 w 1572285"/>
                <a:gd name="connsiteY3" fmla="*/ 301782 h 944578"/>
                <a:gd name="connsiteX4" fmla="*/ 69410 w 1572285"/>
                <a:gd name="connsiteY4" fmla="*/ 374210 h 944578"/>
                <a:gd name="connsiteX5" fmla="*/ 93552 w 1572285"/>
                <a:gd name="connsiteY5" fmla="*/ 422495 h 944578"/>
                <a:gd name="connsiteX6" fmla="*/ 132784 w 1572285"/>
                <a:gd name="connsiteY6" fmla="*/ 455691 h 944578"/>
                <a:gd name="connsiteX7" fmla="*/ 162962 w 1572285"/>
                <a:gd name="connsiteY7" fmla="*/ 485869 h 944578"/>
                <a:gd name="connsiteX8" fmla="*/ 135802 w 1572285"/>
                <a:gd name="connsiteY8" fmla="*/ 567350 h 944578"/>
                <a:gd name="connsiteX9" fmla="*/ 144855 w 1572285"/>
                <a:gd name="connsiteY9" fmla="*/ 618653 h 944578"/>
                <a:gd name="connsiteX10" fmla="*/ 111659 w 1572285"/>
                <a:gd name="connsiteY10" fmla="*/ 645814 h 944578"/>
                <a:gd name="connsiteX11" fmla="*/ 117695 w 1572285"/>
                <a:gd name="connsiteY11" fmla="*/ 679010 h 944578"/>
                <a:gd name="connsiteX12" fmla="*/ 190122 w 1572285"/>
                <a:gd name="connsiteY12" fmla="*/ 675992 h 944578"/>
                <a:gd name="connsiteX13" fmla="*/ 208229 w 1572285"/>
                <a:gd name="connsiteY13" fmla="*/ 739366 h 944578"/>
                <a:gd name="connsiteX14" fmla="*/ 214265 w 1572285"/>
                <a:gd name="connsiteY14" fmla="*/ 775580 h 944578"/>
                <a:gd name="connsiteX15" fmla="*/ 235390 w 1572285"/>
                <a:gd name="connsiteY15" fmla="*/ 817830 h 944578"/>
                <a:gd name="connsiteX16" fmla="*/ 235390 w 1572285"/>
                <a:gd name="connsiteY16" fmla="*/ 848008 h 944578"/>
                <a:gd name="connsiteX17" fmla="*/ 307817 w 1572285"/>
                <a:gd name="connsiteY17" fmla="*/ 935525 h 944578"/>
                <a:gd name="connsiteX18" fmla="*/ 404388 w 1572285"/>
                <a:gd name="connsiteY18" fmla="*/ 917418 h 944578"/>
                <a:gd name="connsiteX19" fmla="*/ 422495 w 1572285"/>
                <a:gd name="connsiteY19" fmla="*/ 938542 h 944578"/>
                <a:gd name="connsiteX20" fmla="*/ 506994 w 1572285"/>
                <a:gd name="connsiteY20" fmla="*/ 899311 h 944578"/>
                <a:gd name="connsiteX21" fmla="*/ 546225 w 1572285"/>
                <a:gd name="connsiteY21" fmla="*/ 944578 h 944578"/>
                <a:gd name="connsiteX22" fmla="*/ 564332 w 1572285"/>
                <a:gd name="connsiteY22" fmla="*/ 844990 h 944578"/>
                <a:gd name="connsiteX23" fmla="*/ 1530035 w 1572285"/>
                <a:gd name="connsiteY23" fmla="*/ 935525 h 944578"/>
                <a:gd name="connsiteX24" fmla="*/ 1572285 w 1572285"/>
                <a:gd name="connsiteY24" fmla="*/ 190123 h 944578"/>
                <a:gd name="connsiteX25" fmla="*/ 1189021 w 1572285"/>
                <a:gd name="connsiteY25" fmla="*/ 156927 h 944578"/>
                <a:gd name="connsiteX26" fmla="*/ 1007952 w 1572285"/>
                <a:gd name="connsiteY26" fmla="*/ 141837 h 944578"/>
                <a:gd name="connsiteX27" fmla="*/ 908364 w 1572285"/>
                <a:gd name="connsiteY27" fmla="*/ 138820 h 944578"/>
                <a:gd name="connsiteX28" fmla="*/ 742384 w 1572285"/>
                <a:gd name="connsiteY28" fmla="*/ 111659 h 944578"/>
                <a:gd name="connsiteX29" fmla="*/ 597528 w 1572285"/>
                <a:gd name="connsiteY29" fmla="*/ 93552 h 944578"/>
                <a:gd name="connsiteX30" fmla="*/ 27160 w 1572285"/>
                <a:gd name="connsiteY30" fmla="*/ 0 h 944578"/>
                <a:gd name="connsiteX0" fmla="*/ 27160 w 1572285"/>
                <a:gd name="connsiteY0" fmla="*/ 0 h 944594"/>
                <a:gd name="connsiteX1" fmla="*/ 24142 w 1572285"/>
                <a:gd name="connsiteY1" fmla="*/ 63374 h 944594"/>
                <a:gd name="connsiteX2" fmla="*/ 0 w 1572285"/>
                <a:gd name="connsiteY2" fmla="*/ 129766 h 944594"/>
                <a:gd name="connsiteX3" fmla="*/ 12071 w 1572285"/>
                <a:gd name="connsiteY3" fmla="*/ 301782 h 944594"/>
                <a:gd name="connsiteX4" fmla="*/ 69410 w 1572285"/>
                <a:gd name="connsiteY4" fmla="*/ 374210 h 944594"/>
                <a:gd name="connsiteX5" fmla="*/ 93552 w 1572285"/>
                <a:gd name="connsiteY5" fmla="*/ 422495 h 944594"/>
                <a:gd name="connsiteX6" fmla="*/ 132784 w 1572285"/>
                <a:gd name="connsiteY6" fmla="*/ 455691 h 944594"/>
                <a:gd name="connsiteX7" fmla="*/ 162962 w 1572285"/>
                <a:gd name="connsiteY7" fmla="*/ 485869 h 944594"/>
                <a:gd name="connsiteX8" fmla="*/ 135802 w 1572285"/>
                <a:gd name="connsiteY8" fmla="*/ 567350 h 944594"/>
                <a:gd name="connsiteX9" fmla="*/ 144855 w 1572285"/>
                <a:gd name="connsiteY9" fmla="*/ 618653 h 944594"/>
                <a:gd name="connsiteX10" fmla="*/ 111659 w 1572285"/>
                <a:gd name="connsiteY10" fmla="*/ 645814 h 944594"/>
                <a:gd name="connsiteX11" fmla="*/ 117695 w 1572285"/>
                <a:gd name="connsiteY11" fmla="*/ 679010 h 944594"/>
                <a:gd name="connsiteX12" fmla="*/ 190122 w 1572285"/>
                <a:gd name="connsiteY12" fmla="*/ 675992 h 944594"/>
                <a:gd name="connsiteX13" fmla="*/ 208229 w 1572285"/>
                <a:gd name="connsiteY13" fmla="*/ 739366 h 944594"/>
                <a:gd name="connsiteX14" fmla="*/ 214265 w 1572285"/>
                <a:gd name="connsiteY14" fmla="*/ 775580 h 944594"/>
                <a:gd name="connsiteX15" fmla="*/ 235390 w 1572285"/>
                <a:gd name="connsiteY15" fmla="*/ 817830 h 944594"/>
                <a:gd name="connsiteX16" fmla="*/ 235390 w 1572285"/>
                <a:gd name="connsiteY16" fmla="*/ 848008 h 944594"/>
                <a:gd name="connsiteX17" fmla="*/ 307817 w 1572285"/>
                <a:gd name="connsiteY17" fmla="*/ 935525 h 944594"/>
                <a:gd name="connsiteX18" fmla="*/ 404388 w 1572285"/>
                <a:gd name="connsiteY18" fmla="*/ 917418 h 944594"/>
                <a:gd name="connsiteX19" fmla="*/ 422495 w 1572285"/>
                <a:gd name="connsiteY19" fmla="*/ 938542 h 944594"/>
                <a:gd name="connsiteX20" fmla="*/ 506994 w 1572285"/>
                <a:gd name="connsiteY20" fmla="*/ 899311 h 944594"/>
                <a:gd name="connsiteX21" fmla="*/ 557802 w 1572285"/>
                <a:gd name="connsiteY21" fmla="*/ 944594 h 944594"/>
                <a:gd name="connsiteX22" fmla="*/ 564332 w 1572285"/>
                <a:gd name="connsiteY22" fmla="*/ 844990 h 944594"/>
                <a:gd name="connsiteX23" fmla="*/ 1530035 w 1572285"/>
                <a:gd name="connsiteY23" fmla="*/ 935525 h 944594"/>
                <a:gd name="connsiteX24" fmla="*/ 1572285 w 1572285"/>
                <a:gd name="connsiteY24" fmla="*/ 190123 h 944594"/>
                <a:gd name="connsiteX25" fmla="*/ 1189021 w 1572285"/>
                <a:gd name="connsiteY25" fmla="*/ 156927 h 944594"/>
                <a:gd name="connsiteX26" fmla="*/ 1007952 w 1572285"/>
                <a:gd name="connsiteY26" fmla="*/ 141837 h 944594"/>
                <a:gd name="connsiteX27" fmla="*/ 908364 w 1572285"/>
                <a:gd name="connsiteY27" fmla="*/ 138820 h 944594"/>
                <a:gd name="connsiteX28" fmla="*/ 742384 w 1572285"/>
                <a:gd name="connsiteY28" fmla="*/ 111659 h 944594"/>
                <a:gd name="connsiteX29" fmla="*/ 597528 w 1572285"/>
                <a:gd name="connsiteY29" fmla="*/ 93552 h 944594"/>
                <a:gd name="connsiteX30" fmla="*/ 27160 w 1572285"/>
                <a:gd name="connsiteY30" fmla="*/ 0 h 944594"/>
                <a:gd name="connsiteX0" fmla="*/ 29375 w 1574500"/>
                <a:gd name="connsiteY0" fmla="*/ 0 h 944594"/>
                <a:gd name="connsiteX1" fmla="*/ 26357 w 1574500"/>
                <a:gd name="connsiteY1" fmla="*/ 63374 h 944594"/>
                <a:gd name="connsiteX2" fmla="*/ 2215 w 1574500"/>
                <a:gd name="connsiteY2" fmla="*/ 129766 h 944594"/>
                <a:gd name="connsiteX3" fmla="*/ 0 w 1574500"/>
                <a:gd name="connsiteY3" fmla="*/ 308931 h 944594"/>
                <a:gd name="connsiteX4" fmla="*/ 71625 w 1574500"/>
                <a:gd name="connsiteY4" fmla="*/ 374210 h 944594"/>
                <a:gd name="connsiteX5" fmla="*/ 95767 w 1574500"/>
                <a:gd name="connsiteY5" fmla="*/ 422495 h 944594"/>
                <a:gd name="connsiteX6" fmla="*/ 134999 w 1574500"/>
                <a:gd name="connsiteY6" fmla="*/ 455691 h 944594"/>
                <a:gd name="connsiteX7" fmla="*/ 165177 w 1574500"/>
                <a:gd name="connsiteY7" fmla="*/ 485869 h 944594"/>
                <a:gd name="connsiteX8" fmla="*/ 138017 w 1574500"/>
                <a:gd name="connsiteY8" fmla="*/ 567350 h 944594"/>
                <a:gd name="connsiteX9" fmla="*/ 147070 w 1574500"/>
                <a:gd name="connsiteY9" fmla="*/ 618653 h 944594"/>
                <a:gd name="connsiteX10" fmla="*/ 113874 w 1574500"/>
                <a:gd name="connsiteY10" fmla="*/ 645814 h 944594"/>
                <a:gd name="connsiteX11" fmla="*/ 119910 w 1574500"/>
                <a:gd name="connsiteY11" fmla="*/ 679010 h 944594"/>
                <a:gd name="connsiteX12" fmla="*/ 192337 w 1574500"/>
                <a:gd name="connsiteY12" fmla="*/ 675992 h 944594"/>
                <a:gd name="connsiteX13" fmla="*/ 210444 w 1574500"/>
                <a:gd name="connsiteY13" fmla="*/ 739366 h 944594"/>
                <a:gd name="connsiteX14" fmla="*/ 216480 w 1574500"/>
                <a:gd name="connsiteY14" fmla="*/ 775580 h 944594"/>
                <a:gd name="connsiteX15" fmla="*/ 237605 w 1574500"/>
                <a:gd name="connsiteY15" fmla="*/ 817830 h 944594"/>
                <a:gd name="connsiteX16" fmla="*/ 237605 w 1574500"/>
                <a:gd name="connsiteY16" fmla="*/ 848008 h 944594"/>
                <a:gd name="connsiteX17" fmla="*/ 310032 w 1574500"/>
                <a:gd name="connsiteY17" fmla="*/ 935525 h 944594"/>
                <a:gd name="connsiteX18" fmla="*/ 406603 w 1574500"/>
                <a:gd name="connsiteY18" fmla="*/ 917418 h 944594"/>
                <a:gd name="connsiteX19" fmla="*/ 424710 w 1574500"/>
                <a:gd name="connsiteY19" fmla="*/ 938542 h 944594"/>
                <a:gd name="connsiteX20" fmla="*/ 509209 w 1574500"/>
                <a:gd name="connsiteY20" fmla="*/ 899311 h 944594"/>
                <a:gd name="connsiteX21" fmla="*/ 560017 w 1574500"/>
                <a:gd name="connsiteY21" fmla="*/ 944594 h 944594"/>
                <a:gd name="connsiteX22" fmla="*/ 566547 w 1574500"/>
                <a:gd name="connsiteY22" fmla="*/ 844990 h 944594"/>
                <a:gd name="connsiteX23" fmla="*/ 1532250 w 1574500"/>
                <a:gd name="connsiteY23" fmla="*/ 935525 h 944594"/>
                <a:gd name="connsiteX24" fmla="*/ 1574500 w 1574500"/>
                <a:gd name="connsiteY24" fmla="*/ 190123 h 944594"/>
                <a:gd name="connsiteX25" fmla="*/ 1191236 w 1574500"/>
                <a:gd name="connsiteY25" fmla="*/ 156927 h 944594"/>
                <a:gd name="connsiteX26" fmla="*/ 1010167 w 1574500"/>
                <a:gd name="connsiteY26" fmla="*/ 141837 h 944594"/>
                <a:gd name="connsiteX27" fmla="*/ 910579 w 1574500"/>
                <a:gd name="connsiteY27" fmla="*/ 138820 h 944594"/>
                <a:gd name="connsiteX28" fmla="*/ 744599 w 1574500"/>
                <a:gd name="connsiteY28" fmla="*/ 111659 h 944594"/>
                <a:gd name="connsiteX29" fmla="*/ 599743 w 1574500"/>
                <a:gd name="connsiteY29" fmla="*/ 93552 h 944594"/>
                <a:gd name="connsiteX30" fmla="*/ 29375 w 1574500"/>
                <a:gd name="connsiteY30" fmla="*/ 0 h 944594"/>
                <a:gd name="connsiteX0" fmla="*/ 29375 w 1574500"/>
                <a:gd name="connsiteY0" fmla="*/ 0 h 944594"/>
                <a:gd name="connsiteX1" fmla="*/ 26357 w 1574500"/>
                <a:gd name="connsiteY1" fmla="*/ 63374 h 944594"/>
                <a:gd name="connsiteX2" fmla="*/ 2215 w 1574500"/>
                <a:gd name="connsiteY2" fmla="*/ 129766 h 944594"/>
                <a:gd name="connsiteX3" fmla="*/ 0 w 1574500"/>
                <a:gd name="connsiteY3" fmla="*/ 308931 h 944594"/>
                <a:gd name="connsiteX4" fmla="*/ 95767 w 1574500"/>
                <a:gd name="connsiteY4" fmla="*/ 422495 h 944594"/>
                <a:gd name="connsiteX5" fmla="*/ 134999 w 1574500"/>
                <a:gd name="connsiteY5" fmla="*/ 455691 h 944594"/>
                <a:gd name="connsiteX6" fmla="*/ 165177 w 1574500"/>
                <a:gd name="connsiteY6" fmla="*/ 485869 h 944594"/>
                <a:gd name="connsiteX7" fmla="*/ 138017 w 1574500"/>
                <a:gd name="connsiteY7" fmla="*/ 567350 h 944594"/>
                <a:gd name="connsiteX8" fmla="*/ 147070 w 1574500"/>
                <a:gd name="connsiteY8" fmla="*/ 618653 h 944594"/>
                <a:gd name="connsiteX9" fmla="*/ 113874 w 1574500"/>
                <a:gd name="connsiteY9" fmla="*/ 645814 h 944594"/>
                <a:gd name="connsiteX10" fmla="*/ 119910 w 1574500"/>
                <a:gd name="connsiteY10" fmla="*/ 679010 h 944594"/>
                <a:gd name="connsiteX11" fmla="*/ 192337 w 1574500"/>
                <a:gd name="connsiteY11" fmla="*/ 675992 h 944594"/>
                <a:gd name="connsiteX12" fmla="*/ 210444 w 1574500"/>
                <a:gd name="connsiteY12" fmla="*/ 739366 h 944594"/>
                <a:gd name="connsiteX13" fmla="*/ 216480 w 1574500"/>
                <a:gd name="connsiteY13" fmla="*/ 775580 h 944594"/>
                <a:gd name="connsiteX14" fmla="*/ 237605 w 1574500"/>
                <a:gd name="connsiteY14" fmla="*/ 817830 h 944594"/>
                <a:gd name="connsiteX15" fmla="*/ 237605 w 1574500"/>
                <a:gd name="connsiteY15" fmla="*/ 848008 h 944594"/>
                <a:gd name="connsiteX16" fmla="*/ 310032 w 1574500"/>
                <a:gd name="connsiteY16" fmla="*/ 935525 h 944594"/>
                <a:gd name="connsiteX17" fmla="*/ 406603 w 1574500"/>
                <a:gd name="connsiteY17" fmla="*/ 917418 h 944594"/>
                <a:gd name="connsiteX18" fmla="*/ 424710 w 1574500"/>
                <a:gd name="connsiteY18" fmla="*/ 938542 h 944594"/>
                <a:gd name="connsiteX19" fmla="*/ 509209 w 1574500"/>
                <a:gd name="connsiteY19" fmla="*/ 899311 h 944594"/>
                <a:gd name="connsiteX20" fmla="*/ 560017 w 1574500"/>
                <a:gd name="connsiteY20" fmla="*/ 944594 h 944594"/>
                <a:gd name="connsiteX21" fmla="*/ 566547 w 1574500"/>
                <a:gd name="connsiteY21" fmla="*/ 844990 h 944594"/>
                <a:gd name="connsiteX22" fmla="*/ 1532250 w 1574500"/>
                <a:gd name="connsiteY22" fmla="*/ 935525 h 944594"/>
                <a:gd name="connsiteX23" fmla="*/ 1574500 w 1574500"/>
                <a:gd name="connsiteY23" fmla="*/ 190123 h 944594"/>
                <a:gd name="connsiteX24" fmla="*/ 1191236 w 1574500"/>
                <a:gd name="connsiteY24" fmla="*/ 156927 h 944594"/>
                <a:gd name="connsiteX25" fmla="*/ 1010167 w 1574500"/>
                <a:gd name="connsiteY25" fmla="*/ 141837 h 944594"/>
                <a:gd name="connsiteX26" fmla="*/ 910579 w 1574500"/>
                <a:gd name="connsiteY26" fmla="*/ 138820 h 944594"/>
                <a:gd name="connsiteX27" fmla="*/ 744599 w 1574500"/>
                <a:gd name="connsiteY27" fmla="*/ 111659 h 944594"/>
                <a:gd name="connsiteX28" fmla="*/ 599743 w 1574500"/>
                <a:gd name="connsiteY28" fmla="*/ 93552 h 944594"/>
                <a:gd name="connsiteX29" fmla="*/ 29375 w 1574500"/>
                <a:gd name="connsiteY29" fmla="*/ 0 h 944594"/>
                <a:gd name="connsiteX0" fmla="*/ 29375 w 1574500"/>
                <a:gd name="connsiteY0" fmla="*/ 0 h 944594"/>
                <a:gd name="connsiteX1" fmla="*/ 26357 w 1574500"/>
                <a:gd name="connsiteY1" fmla="*/ 63374 h 944594"/>
                <a:gd name="connsiteX2" fmla="*/ 2215 w 1574500"/>
                <a:gd name="connsiteY2" fmla="*/ 129766 h 944594"/>
                <a:gd name="connsiteX3" fmla="*/ 0 w 1574500"/>
                <a:gd name="connsiteY3" fmla="*/ 308931 h 944594"/>
                <a:gd name="connsiteX4" fmla="*/ 95767 w 1574500"/>
                <a:gd name="connsiteY4" fmla="*/ 422495 h 944594"/>
                <a:gd name="connsiteX5" fmla="*/ 165177 w 1574500"/>
                <a:gd name="connsiteY5" fmla="*/ 485869 h 944594"/>
                <a:gd name="connsiteX6" fmla="*/ 138017 w 1574500"/>
                <a:gd name="connsiteY6" fmla="*/ 567350 h 944594"/>
                <a:gd name="connsiteX7" fmla="*/ 147070 w 1574500"/>
                <a:gd name="connsiteY7" fmla="*/ 618653 h 944594"/>
                <a:gd name="connsiteX8" fmla="*/ 113874 w 1574500"/>
                <a:gd name="connsiteY8" fmla="*/ 645814 h 944594"/>
                <a:gd name="connsiteX9" fmla="*/ 119910 w 1574500"/>
                <a:gd name="connsiteY9" fmla="*/ 679010 h 944594"/>
                <a:gd name="connsiteX10" fmla="*/ 192337 w 1574500"/>
                <a:gd name="connsiteY10" fmla="*/ 675992 h 944594"/>
                <a:gd name="connsiteX11" fmla="*/ 210444 w 1574500"/>
                <a:gd name="connsiteY11" fmla="*/ 739366 h 944594"/>
                <a:gd name="connsiteX12" fmla="*/ 216480 w 1574500"/>
                <a:gd name="connsiteY12" fmla="*/ 775580 h 944594"/>
                <a:gd name="connsiteX13" fmla="*/ 237605 w 1574500"/>
                <a:gd name="connsiteY13" fmla="*/ 817830 h 944594"/>
                <a:gd name="connsiteX14" fmla="*/ 237605 w 1574500"/>
                <a:gd name="connsiteY14" fmla="*/ 848008 h 944594"/>
                <a:gd name="connsiteX15" fmla="*/ 310032 w 1574500"/>
                <a:gd name="connsiteY15" fmla="*/ 935525 h 944594"/>
                <a:gd name="connsiteX16" fmla="*/ 406603 w 1574500"/>
                <a:gd name="connsiteY16" fmla="*/ 917418 h 944594"/>
                <a:gd name="connsiteX17" fmla="*/ 424710 w 1574500"/>
                <a:gd name="connsiteY17" fmla="*/ 938542 h 944594"/>
                <a:gd name="connsiteX18" fmla="*/ 509209 w 1574500"/>
                <a:gd name="connsiteY18" fmla="*/ 899311 h 944594"/>
                <a:gd name="connsiteX19" fmla="*/ 560017 w 1574500"/>
                <a:gd name="connsiteY19" fmla="*/ 944594 h 944594"/>
                <a:gd name="connsiteX20" fmla="*/ 566547 w 1574500"/>
                <a:gd name="connsiteY20" fmla="*/ 844990 h 944594"/>
                <a:gd name="connsiteX21" fmla="*/ 1532250 w 1574500"/>
                <a:gd name="connsiteY21" fmla="*/ 935525 h 944594"/>
                <a:gd name="connsiteX22" fmla="*/ 1574500 w 1574500"/>
                <a:gd name="connsiteY22" fmla="*/ 190123 h 944594"/>
                <a:gd name="connsiteX23" fmla="*/ 1191236 w 1574500"/>
                <a:gd name="connsiteY23" fmla="*/ 156927 h 944594"/>
                <a:gd name="connsiteX24" fmla="*/ 1010167 w 1574500"/>
                <a:gd name="connsiteY24" fmla="*/ 141837 h 944594"/>
                <a:gd name="connsiteX25" fmla="*/ 910579 w 1574500"/>
                <a:gd name="connsiteY25" fmla="*/ 138820 h 944594"/>
                <a:gd name="connsiteX26" fmla="*/ 744599 w 1574500"/>
                <a:gd name="connsiteY26" fmla="*/ 111659 h 944594"/>
                <a:gd name="connsiteX27" fmla="*/ 599743 w 1574500"/>
                <a:gd name="connsiteY27" fmla="*/ 93552 h 944594"/>
                <a:gd name="connsiteX28" fmla="*/ 29375 w 1574500"/>
                <a:gd name="connsiteY28" fmla="*/ 0 h 944594"/>
                <a:gd name="connsiteX0" fmla="*/ 29375 w 1574500"/>
                <a:gd name="connsiteY0" fmla="*/ 0 h 944594"/>
                <a:gd name="connsiteX1" fmla="*/ 26357 w 1574500"/>
                <a:gd name="connsiteY1" fmla="*/ 63374 h 944594"/>
                <a:gd name="connsiteX2" fmla="*/ 2215 w 1574500"/>
                <a:gd name="connsiteY2" fmla="*/ 129766 h 944594"/>
                <a:gd name="connsiteX3" fmla="*/ 0 w 1574500"/>
                <a:gd name="connsiteY3" fmla="*/ 308931 h 944594"/>
                <a:gd name="connsiteX4" fmla="*/ 86191 w 1574500"/>
                <a:gd name="connsiteY4" fmla="*/ 429646 h 944594"/>
                <a:gd name="connsiteX5" fmla="*/ 165177 w 1574500"/>
                <a:gd name="connsiteY5" fmla="*/ 485869 h 944594"/>
                <a:gd name="connsiteX6" fmla="*/ 138017 w 1574500"/>
                <a:gd name="connsiteY6" fmla="*/ 567350 h 944594"/>
                <a:gd name="connsiteX7" fmla="*/ 147070 w 1574500"/>
                <a:gd name="connsiteY7" fmla="*/ 618653 h 944594"/>
                <a:gd name="connsiteX8" fmla="*/ 113874 w 1574500"/>
                <a:gd name="connsiteY8" fmla="*/ 645814 h 944594"/>
                <a:gd name="connsiteX9" fmla="*/ 119910 w 1574500"/>
                <a:gd name="connsiteY9" fmla="*/ 679010 h 944594"/>
                <a:gd name="connsiteX10" fmla="*/ 192337 w 1574500"/>
                <a:gd name="connsiteY10" fmla="*/ 675992 h 944594"/>
                <a:gd name="connsiteX11" fmla="*/ 210444 w 1574500"/>
                <a:gd name="connsiteY11" fmla="*/ 739366 h 944594"/>
                <a:gd name="connsiteX12" fmla="*/ 216480 w 1574500"/>
                <a:gd name="connsiteY12" fmla="*/ 775580 h 944594"/>
                <a:gd name="connsiteX13" fmla="*/ 237605 w 1574500"/>
                <a:gd name="connsiteY13" fmla="*/ 817830 h 944594"/>
                <a:gd name="connsiteX14" fmla="*/ 237605 w 1574500"/>
                <a:gd name="connsiteY14" fmla="*/ 848008 h 944594"/>
                <a:gd name="connsiteX15" fmla="*/ 310032 w 1574500"/>
                <a:gd name="connsiteY15" fmla="*/ 935525 h 944594"/>
                <a:gd name="connsiteX16" fmla="*/ 406603 w 1574500"/>
                <a:gd name="connsiteY16" fmla="*/ 917418 h 944594"/>
                <a:gd name="connsiteX17" fmla="*/ 424710 w 1574500"/>
                <a:gd name="connsiteY17" fmla="*/ 938542 h 944594"/>
                <a:gd name="connsiteX18" fmla="*/ 509209 w 1574500"/>
                <a:gd name="connsiteY18" fmla="*/ 899311 h 944594"/>
                <a:gd name="connsiteX19" fmla="*/ 560017 w 1574500"/>
                <a:gd name="connsiteY19" fmla="*/ 944594 h 944594"/>
                <a:gd name="connsiteX20" fmla="*/ 566547 w 1574500"/>
                <a:gd name="connsiteY20" fmla="*/ 844990 h 944594"/>
                <a:gd name="connsiteX21" fmla="*/ 1532250 w 1574500"/>
                <a:gd name="connsiteY21" fmla="*/ 935525 h 944594"/>
                <a:gd name="connsiteX22" fmla="*/ 1574500 w 1574500"/>
                <a:gd name="connsiteY22" fmla="*/ 190123 h 944594"/>
                <a:gd name="connsiteX23" fmla="*/ 1191236 w 1574500"/>
                <a:gd name="connsiteY23" fmla="*/ 156927 h 944594"/>
                <a:gd name="connsiteX24" fmla="*/ 1010167 w 1574500"/>
                <a:gd name="connsiteY24" fmla="*/ 141837 h 944594"/>
                <a:gd name="connsiteX25" fmla="*/ 910579 w 1574500"/>
                <a:gd name="connsiteY25" fmla="*/ 138820 h 944594"/>
                <a:gd name="connsiteX26" fmla="*/ 744599 w 1574500"/>
                <a:gd name="connsiteY26" fmla="*/ 111659 h 944594"/>
                <a:gd name="connsiteX27" fmla="*/ 599743 w 1574500"/>
                <a:gd name="connsiteY27" fmla="*/ 93552 h 944594"/>
                <a:gd name="connsiteX28" fmla="*/ 29375 w 1574500"/>
                <a:gd name="connsiteY28" fmla="*/ 0 h 944594"/>
                <a:gd name="connsiteX0" fmla="*/ 29375 w 1574500"/>
                <a:gd name="connsiteY0" fmla="*/ 0 h 944594"/>
                <a:gd name="connsiteX1" fmla="*/ 26357 w 1574500"/>
                <a:gd name="connsiteY1" fmla="*/ 63374 h 944594"/>
                <a:gd name="connsiteX2" fmla="*/ 2215 w 1574500"/>
                <a:gd name="connsiteY2" fmla="*/ 129766 h 944594"/>
                <a:gd name="connsiteX3" fmla="*/ 0 w 1574500"/>
                <a:gd name="connsiteY3" fmla="*/ 308931 h 944594"/>
                <a:gd name="connsiteX4" fmla="*/ 86191 w 1574500"/>
                <a:gd name="connsiteY4" fmla="*/ 429646 h 944594"/>
                <a:gd name="connsiteX5" fmla="*/ 148421 w 1574500"/>
                <a:gd name="connsiteY5" fmla="*/ 485877 h 944594"/>
                <a:gd name="connsiteX6" fmla="*/ 138017 w 1574500"/>
                <a:gd name="connsiteY6" fmla="*/ 567350 h 944594"/>
                <a:gd name="connsiteX7" fmla="*/ 147070 w 1574500"/>
                <a:gd name="connsiteY7" fmla="*/ 618653 h 944594"/>
                <a:gd name="connsiteX8" fmla="*/ 113874 w 1574500"/>
                <a:gd name="connsiteY8" fmla="*/ 645814 h 944594"/>
                <a:gd name="connsiteX9" fmla="*/ 119910 w 1574500"/>
                <a:gd name="connsiteY9" fmla="*/ 679010 h 944594"/>
                <a:gd name="connsiteX10" fmla="*/ 192337 w 1574500"/>
                <a:gd name="connsiteY10" fmla="*/ 675992 h 944594"/>
                <a:gd name="connsiteX11" fmla="*/ 210444 w 1574500"/>
                <a:gd name="connsiteY11" fmla="*/ 739366 h 944594"/>
                <a:gd name="connsiteX12" fmla="*/ 216480 w 1574500"/>
                <a:gd name="connsiteY12" fmla="*/ 775580 h 944594"/>
                <a:gd name="connsiteX13" fmla="*/ 237605 w 1574500"/>
                <a:gd name="connsiteY13" fmla="*/ 817830 h 944594"/>
                <a:gd name="connsiteX14" fmla="*/ 237605 w 1574500"/>
                <a:gd name="connsiteY14" fmla="*/ 848008 h 944594"/>
                <a:gd name="connsiteX15" fmla="*/ 310032 w 1574500"/>
                <a:gd name="connsiteY15" fmla="*/ 935525 h 944594"/>
                <a:gd name="connsiteX16" fmla="*/ 406603 w 1574500"/>
                <a:gd name="connsiteY16" fmla="*/ 917418 h 944594"/>
                <a:gd name="connsiteX17" fmla="*/ 424710 w 1574500"/>
                <a:gd name="connsiteY17" fmla="*/ 938542 h 944594"/>
                <a:gd name="connsiteX18" fmla="*/ 509209 w 1574500"/>
                <a:gd name="connsiteY18" fmla="*/ 899311 h 944594"/>
                <a:gd name="connsiteX19" fmla="*/ 560017 w 1574500"/>
                <a:gd name="connsiteY19" fmla="*/ 944594 h 944594"/>
                <a:gd name="connsiteX20" fmla="*/ 566547 w 1574500"/>
                <a:gd name="connsiteY20" fmla="*/ 844990 h 944594"/>
                <a:gd name="connsiteX21" fmla="*/ 1532250 w 1574500"/>
                <a:gd name="connsiteY21" fmla="*/ 935525 h 944594"/>
                <a:gd name="connsiteX22" fmla="*/ 1574500 w 1574500"/>
                <a:gd name="connsiteY22" fmla="*/ 190123 h 944594"/>
                <a:gd name="connsiteX23" fmla="*/ 1191236 w 1574500"/>
                <a:gd name="connsiteY23" fmla="*/ 156927 h 944594"/>
                <a:gd name="connsiteX24" fmla="*/ 1010167 w 1574500"/>
                <a:gd name="connsiteY24" fmla="*/ 141837 h 944594"/>
                <a:gd name="connsiteX25" fmla="*/ 910579 w 1574500"/>
                <a:gd name="connsiteY25" fmla="*/ 138820 h 944594"/>
                <a:gd name="connsiteX26" fmla="*/ 744599 w 1574500"/>
                <a:gd name="connsiteY26" fmla="*/ 111659 h 944594"/>
                <a:gd name="connsiteX27" fmla="*/ 599743 w 1574500"/>
                <a:gd name="connsiteY27" fmla="*/ 93552 h 944594"/>
                <a:gd name="connsiteX28" fmla="*/ 29375 w 1574500"/>
                <a:gd name="connsiteY28" fmla="*/ 0 h 944594"/>
                <a:gd name="connsiteX0" fmla="*/ 29375 w 1574500"/>
                <a:gd name="connsiteY0" fmla="*/ 0 h 944594"/>
                <a:gd name="connsiteX1" fmla="*/ 26357 w 1574500"/>
                <a:gd name="connsiteY1" fmla="*/ 63374 h 944594"/>
                <a:gd name="connsiteX2" fmla="*/ 2215 w 1574500"/>
                <a:gd name="connsiteY2" fmla="*/ 129766 h 944594"/>
                <a:gd name="connsiteX3" fmla="*/ 0 w 1574500"/>
                <a:gd name="connsiteY3" fmla="*/ 308931 h 944594"/>
                <a:gd name="connsiteX4" fmla="*/ 86191 w 1574500"/>
                <a:gd name="connsiteY4" fmla="*/ 429646 h 944594"/>
                <a:gd name="connsiteX5" fmla="*/ 148421 w 1574500"/>
                <a:gd name="connsiteY5" fmla="*/ 485877 h 944594"/>
                <a:gd name="connsiteX6" fmla="*/ 123656 w 1574500"/>
                <a:gd name="connsiteY6" fmla="*/ 567360 h 944594"/>
                <a:gd name="connsiteX7" fmla="*/ 147070 w 1574500"/>
                <a:gd name="connsiteY7" fmla="*/ 618653 h 944594"/>
                <a:gd name="connsiteX8" fmla="*/ 113874 w 1574500"/>
                <a:gd name="connsiteY8" fmla="*/ 645814 h 944594"/>
                <a:gd name="connsiteX9" fmla="*/ 119910 w 1574500"/>
                <a:gd name="connsiteY9" fmla="*/ 679010 h 944594"/>
                <a:gd name="connsiteX10" fmla="*/ 192337 w 1574500"/>
                <a:gd name="connsiteY10" fmla="*/ 675992 h 944594"/>
                <a:gd name="connsiteX11" fmla="*/ 210444 w 1574500"/>
                <a:gd name="connsiteY11" fmla="*/ 739366 h 944594"/>
                <a:gd name="connsiteX12" fmla="*/ 216480 w 1574500"/>
                <a:gd name="connsiteY12" fmla="*/ 775580 h 944594"/>
                <a:gd name="connsiteX13" fmla="*/ 237605 w 1574500"/>
                <a:gd name="connsiteY13" fmla="*/ 817830 h 944594"/>
                <a:gd name="connsiteX14" fmla="*/ 237605 w 1574500"/>
                <a:gd name="connsiteY14" fmla="*/ 848008 h 944594"/>
                <a:gd name="connsiteX15" fmla="*/ 310032 w 1574500"/>
                <a:gd name="connsiteY15" fmla="*/ 935525 h 944594"/>
                <a:gd name="connsiteX16" fmla="*/ 406603 w 1574500"/>
                <a:gd name="connsiteY16" fmla="*/ 917418 h 944594"/>
                <a:gd name="connsiteX17" fmla="*/ 424710 w 1574500"/>
                <a:gd name="connsiteY17" fmla="*/ 938542 h 944594"/>
                <a:gd name="connsiteX18" fmla="*/ 509209 w 1574500"/>
                <a:gd name="connsiteY18" fmla="*/ 899311 h 944594"/>
                <a:gd name="connsiteX19" fmla="*/ 560017 w 1574500"/>
                <a:gd name="connsiteY19" fmla="*/ 944594 h 944594"/>
                <a:gd name="connsiteX20" fmla="*/ 566547 w 1574500"/>
                <a:gd name="connsiteY20" fmla="*/ 844990 h 944594"/>
                <a:gd name="connsiteX21" fmla="*/ 1532250 w 1574500"/>
                <a:gd name="connsiteY21" fmla="*/ 935525 h 944594"/>
                <a:gd name="connsiteX22" fmla="*/ 1574500 w 1574500"/>
                <a:gd name="connsiteY22" fmla="*/ 190123 h 944594"/>
                <a:gd name="connsiteX23" fmla="*/ 1191236 w 1574500"/>
                <a:gd name="connsiteY23" fmla="*/ 156927 h 944594"/>
                <a:gd name="connsiteX24" fmla="*/ 1010167 w 1574500"/>
                <a:gd name="connsiteY24" fmla="*/ 141837 h 944594"/>
                <a:gd name="connsiteX25" fmla="*/ 910579 w 1574500"/>
                <a:gd name="connsiteY25" fmla="*/ 138820 h 944594"/>
                <a:gd name="connsiteX26" fmla="*/ 744599 w 1574500"/>
                <a:gd name="connsiteY26" fmla="*/ 111659 h 944594"/>
                <a:gd name="connsiteX27" fmla="*/ 599743 w 1574500"/>
                <a:gd name="connsiteY27" fmla="*/ 93552 h 944594"/>
                <a:gd name="connsiteX28" fmla="*/ 29375 w 1574500"/>
                <a:gd name="connsiteY28" fmla="*/ 0 h 944594"/>
                <a:gd name="connsiteX0" fmla="*/ 29375 w 1574500"/>
                <a:gd name="connsiteY0" fmla="*/ 0 h 944594"/>
                <a:gd name="connsiteX1" fmla="*/ 26357 w 1574500"/>
                <a:gd name="connsiteY1" fmla="*/ 63374 h 944594"/>
                <a:gd name="connsiteX2" fmla="*/ 2215 w 1574500"/>
                <a:gd name="connsiteY2" fmla="*/ 129766 h 944594"/>
                <a:gd name="connsiteX3" fmla="*/ 0 w 1574500"/>
                <a:gd name="connsiteY3" fmla="*/ 308931 h 944594"/>
                <a:gd name="connsiteX4" fmla="*/ 86191 w 1574500"/>
                <a:gd name="connsiteY4" fmla="*/ 429646 h 944594"/>
                <a:gd name="connsiteX5" fmla="*/ 148421 w 1574500"/>
                <a:gd name="connsiteY5" fmla="*/ 485877 h 944594"/>
                <a:gd name="connsiteX6" fmla="*/ 123656 w 1574500"/>
                <a:gd name="connsiteY6" fmla="*/ 567360 h 944594"/>
                <a:gd name="connsiteX7" fmla="*/ 132705 w 1574500"/>
                <a:gd name="connsiteY7" fmla="*/ 618663 h 944594"/>
                <a:gd name="connsiteX8" fmla="*/ 113874 w 1574500"/>
                <a:gd name="connsiteY8" fmla="*/ 645814 h 944594"/>
                <a:gd name="connsiteX9" fmla="*/ 119910 w 1574500"/>
                <a:gd name="connsiteY9" fmla="*/ 679010 h 944594"/>
                <a:gd name="connsiteX10" fmla="*/ 192337 w 1574500"/>
                <a:gd name="connsiteY10" fmla="*/ 675992 h 944594"/>
                <a:gd name="connsiteX11" fmla="*/ 210444 w 1574500"/>
                <a:gd name="connsiteY11" fmla="*/ 739366 h 944594"/>
                <a:gd name="connsiteX12" fmla="*/ 216480 w 1574500"/>
                <a:gd name="connsiteY12" fmla="*/ 775580 h 944594"/>
                <a:gd name="connsiteX13" fmla="*/ 237605 w 1574500"/>
                <a:gd name="connsiteY13" fmla="*/ 817830 h 944594"/>
                <a:gd name="connsiteX14" fmla="*/ 237605 w 1574500"/>
                <a:gd name="connsiteY14" fmla="*/ 848008 h 944594"/>
                <a:gd name="connsiteX15" fmla="*/ 310032 w 1574500"/>
                <a:gd name="connsiteY15" fmla="*/ 935525 h 944594"/>
                <a:gd name="connsiteX16" fmla="*/ 406603 w 1574500"/>
                <a:gd name="connsiteY16" fmla="*/ 917418 h 944594"/>
                <a:gd name="connsiteX17" fmla="*/ 424710 w 1574500"/>
                <a:gd name="connsiteY17" fmla="*/ 938542 h 944594"/>
                <a:gd name="connsiteX18" fmla="*/ 509209 w 1574500"/>
                <a:gd name="connsiteY18" fmla="*/ 899311 h 944594"/>
                <a:gd name="connsiteX19" fmla="*/ 560017 w 1574500"/>
                <a:gd name="connsiteY19" fmla="*/ 944594 h 944594"/>
                <a:gd name="connsiteX20" fmla="*/ 566547 w 1574500"/>
                <a:gd name="connsiteY20" fmla="*/ 844990 h 944594"/>
                <a:gd name="connsiteX21" fmla="*/ 1532250 w 1574500"/>
                <a:gd name="connsiteY21" fmla="*/ 935525 h 944594"/>
                <a:gd name="connsiteX22" fmla="*/ 1574500 w 1574500"/>
                <a:gd name="connsiteY22" fmla="*/ 190123 h 944594"/>
                <a:gd name="connsiteX23" fmla="*/ 1191236 w 1574500"/>
                <a:gd name="connsiteY23" fmla="*/ 156927 h 944594"/>
                <a:gd name="connsiteX24" fmla="*/ 1010167 w 1574500"/>
                <a:gd name="connsiteY24" fmla="*/ 141837 h 944594"/>
                <a:gd name="connsiteX25" fmla="*/ 910579 w 1574500"/>
                <a:gd name="connsiteY25" fmla="*/ 138820 h 944594"/>
                <a:gd name="connsiteX26" fmla="*/ 744599 w 1574500"/>
                <a:gd name="connsiteY26" fmla="*/ 111659 h 944594"/>
                <a:gd name="connsiteX27" fmla="*/ 599743 w 1574500"/>
                <a:gd name="connsiteY27" fmla="*/ 93552 h 944594"/>
                <a:gd name="connsiteX28" fmla="*/ 29375 w 1574500"/>
                <a:gd name="connsiteY28" fmla="*/ 0 h 944594"/>
                <a:gd name="connsiteX0" fmla="*/ 29375 w 1574500"/>
                <a:gd name="connsiteY0" fmla="*/ 0 h 944594"/>
                <a:gd name="connsiteX1" fmla="*/ 26357 w 1574500"/>
                <a:gd name="connsiteY1" fmla="*/ 63374 h 944594"/>
                <a:gd name="connsiteX2" fmla="*/ 2215 w 1574500"/>
                <a:gd name="connsiteY2" fmla="*/ 129766 h 944594"/>
                <a:gd name="connsiteX3" fmla="*/ 0 w 1574500"/>
                <a:gd name="connsiteY3" fmla="*/ 308931 h 944594"/>
                <a:gd name="connsiteX4" fmla="*/ 86191 w 1574500"/>
                <a:gd name="connsiteY4" fmla="*/ 429646 h 944594"/>
                <a:gd name="connsiteX5" fmla="*/ 148421 w 1574500"/>
                <a:gd name="connsiteY5" fmla="*/ 485877 h 944594"/>
                <a:gd name="connsiteX6" fmla="*/ 123656 w 1574500"/>
                <a:gd name="connsiteY6" fmla="*/ 567360 h 944594"/>
                <a:gd name="connsiteX7" fmla="*/ 132705 w 1574500"/>
                <a:gd name="connsiteY7" fmla="*/ 618663 h 944594"/>
                <a:gd name="connsiteX8" fmla="*/ 113874 w 1574500"/>
                <a:gd name="connsiteY8" fmla="*/ 645814 h 944594"/>
                <a:gd name="connsiteX9" fmla="*/ 119910 w 1574500"/>
                <a:gd name="connsiteY9" fmla="*/ 679010 h 944594"/>
                <a:gd name="connsiteX10" fmla="*/ 192337 w 1574500"/>
                <a:gd name="connsiteY10" fmla="*/ 675992 h 944594"/>
                <a:gd name="connsiteX11" fmla="*/ 210444 w 1574500"/>
                <a:gd name="connsiteY11" fmla="*/ 739366 h 944594"/>
                <a:gd name="connsiteX12" fmla="*/ 216480 w 1574500"/>
                <a:gd name="connsiteY12" fmla="*/ 775580 h 944594"/>
                <a:gd name="connsiteX13" fmla="*/ 237605 w 1574500"/>
                <a:gd name="connsiteY13" fmla="*/ 817830 h 944594"/>
                <a:gd name="connsiteX14" fmla="*/ 227946 w 1574500"/>
                <a:gd name="connsiteY14" fmla="*/ 874216 h 944594"/>
                <a:gd name="connsiteX15" fmla="*/ 310032 w 1574500"/>
                <a:gd name="connsiteY15" fmla="*/ 935525 h 944594"/>
                <a:gd name="connsiteX16" fmla="*/ 406603 w 1574500"/>
                <a:gd name="connsiteY16" fmla="*/ 917418 h 944594"/>
                <a:gd name="connsiteX17" fmla="*/ 424710 w 1574500"/>
                <a:gd name="connsiteY17" fmla="*/ 938542 h 944594"/>
                <a:gd name="connsiteX18" fmla="*/ 509209 w 1574500"/>
                <a:gd name="connsiteY18" fmla="*/ 899311 h 944594"/>
                <a:gd name="connsiteX19" fmla="*/ 560017 w 1574500"/>
                <a:gd name="connsiteY19" fmla="*/ 944594 h 944594"/>
                <a:gd name="connsiteX20" fmla="*/ 566547 w 1574500"/>
                <a:gd name="connsiteY20" fmla="*/ 844990 h 944594"/>
                <a:gd name="connsiteX21" fmla="*/ 1532250 w 1574500"/>
                <a:gd name="connsiteY21" fmla="*/ 935525 h 944594"/>
                <a:gd name="connsiteX22" fmla="*/ 1574500 w 1574500"/>
                <a:gd name="connsiteY22" fmla="*/ 190123 h 944594"/>
                <a:gd name="connsiteX23" fmla="*/ 1191236 w 1574500"/>
                <a:gd name="connsiteY23" fmla="*/ 156927 h 944594"/>
                <a:gd name="connsiteX24" fmla="*/ 1010167 w 1574500"/>
                <a:gd name="connsiteY24" fmla="*/ 141837 h 944594"/>
                <a:gd name="connsiteX25" fmla="*/ 910579 w 1574500"/>
                <a:gd name="connsiteY25" fmla="*/ 138820 h 944594"/>
                <a:gd name="connsiteX26" fmla="*/ 744599 w 1574500"/>
                <a:gd name="connsiteY26" fmla="*/ 111659 h 944594"/>
                <a:gd name="connsiteX27" fmla="*/ 599743 w 1574500"/>
                <a:gd name="connsiteY27" fmla="*/ 93552 h 944594"/>
                <a:gd name="connsiteX28" fmla="*/ 29375 w 1574500"/>
                <a:gd name="connsiteY28" fmla="*/ 0 h 944594"/>
                <a:gd name="connsiteX0" fmla="*/ 29375 w 1574500"/>
                <a:gd name="connsiteY0" fmla="*/ 0 h 952209"/>
                <a:gd name="connsiteX1" fmla="*/ 26357 w 1574500"/>
                <a:gd name="connsiteY1" fmla="*/ 63374 h 952209"/>
                <a:gd name="connsiteX2" fmla="*/ 2215 w 1574500"/>
                <a:gd name="connsiteY2" fmla="*/ 129766 h 952209"/>
                <a:gd name="connsiteX3" fmla="*/ 0 w 1574500"/>
                <a:gd name="connsiteY3" fmla="*/ 308931 h 952209"/>
                <a:gd name="connsiteX4" fmla="*/ 86191 w 1574500"/>
                <a:gd name="connsiteY4" fmla="*/ 429646 h 952209"/>
                <a:gd name="connsiteX5" fmla="*/ 148421 w 1574500"/>
                <a:gd name="connsiteY5" fmla="*/ 485877 h 952209"/>
                <a:gd name="connsiteX6" fmla="*/ 123656 w 1574500"/>
                <a:gd name="connsiteY6" fmla="*/ 567360 h 952209"/>
                <a:gd name="connsiteX7" fmla="*/ 132705 w 1574500"/>
                <a:gd name="connsiteY7" fmla="*/ 618663 h 952209"/>
                <a:gd name="connsiteX8" fmla="*/ 113874 w 1574500"/>
                <a:gd name="connsiteY8" fmla="*/ 645814 h 952209"/>
                <a:gd name="connsiteX9" fmla="*/ 119910 w 1574500"/>
                <a:gd name="connsiteY9" fmla="*/ 679010 h 952209"/>
                <a:gd name="connsiteX10" fmla="*/ 192337 w 1574500"/>
                <a:gd name="connsiteY10" fmla="*/ 675992 h 952209"/>
                <a:gd name="connsiteX11" fmla="*/ 210444 w 1574500"/>
                <a:gd name="connsiteY11" fmla="*/ 739366 h 952209"/>
                <a:gd name="connsiteX12" fmla="*/ 216480 w 1574500"/>
                <a:gd name="connsiteY12" fmla="*/ 775580 h 952209"/>
                <a:gd name="connsiteX13" fmla="*/ 237605 w 1574500"/>
                <a:gd name="connsiteY13" fmla="*/ 817830 h 952209"/>
                <a:gd name="connsiteX14" fmla="*/ 227946 w 1574500"/>
                <a:gd name="connsiteY14" fmla="*/ 874216 h 952209"/>
                <a:gd name="connsiteX15" fmla="*/ 312230 w 1574500"/>
                <a:gd name="connsiteY15" fmla="*/ 952209 h 952209"/>
                <a:gd name="connsiteX16" fmla="*/ 406603 w 1574500"/>
                <a:gd name="connsiteY16" fmla="*/ 917418 h 952209"/>
                <a:gd name="connsiteX17" fmla="*/ 424710 w 1574500"/>
                <a:gd name="connsiteY17" fmla="*/ 938542 h 952209"/>
                <a:gd name="connsiteX18" fmla="*/ 509209 w 1574500"/>
                <a:gd name="connsiteY18" fmla="*/ 899311 h 952209"/>
                <a:gd name="connsiteX19" fmla="*/ 560017 w 1574500"/>
                <a:gd name="connsiteY19" fmla="*/ 944594 h 952209"/>
                <a:gd name="connsiteX20" fmla="*/ 566547 w 1574500"/>
                <a:gd name="connsiteY20" fmla="*/ 844990 h 952209"/>
                <a:gd name="connsiteX21" fmla="*/ 1532250 w 1574500"/>
                <a:gd name="connsiteY21" fmla="*/ 935525 h 952209"/>
                <a:gd name="connsiteX22" fmla="*/ 1574500 w 1574500"/>
                <a:gd name="connsiteY22" fmla="*/ 190123 h 952209"/>
                <a:gd name="connsiteX23" fmla="*/ 1191236 w 1574500"/>
                <a:gd name="connsiteY23" fmla="*/ 156927 h 952209"/>
                <a:gd name="connsiteX24" fmla="*/ 1010167 w 1574500"/>
                <a:gd name="connsiteY24" fmla="*/ 141837 h 952209"/>
                <a:gd name="connsiteX25" fmla="*/ 910579 w 1574500"/>
                <a:gd name="connsiteY25" fmla="*/ 138820 h 952209"/>
                <a:gd name="connsiteX26" fmla="*/ 744599 w 1574500"/>
                <a:gd name="connsiteY26" fmla="*/ 111659 h 952209"/>
                <a:gd name="connsiteX27" fmla="*/ 599743 w 1574500"/>
                <a:gd name="connsiteY27" fmla="*/ 93552 h 952209"/>
                <a:gd name="connsiteX28" fmla="*/ 29375 w 1574500"/>
                <a:gd name="connsiteY28" fmla="*/ 0 h 952209"/>
                <a:gd name="connsiteX0" fmla="*/ 29375 w 1574500"/>
                <a:gd name="connsiteY0" fmla="*/ 0 h 952845"/>
                <a:gd name="connsiteX1" fmla="*/ 26357 w 1574500"/>
                <a:gd name="connsiteY1" fmla="*/ 63374 h 952845"/>
                <a:gd name="connsiteX2" fmla="*/ 2215 w 1574500"/>
                <a:gd name="connsiteY2" fmla="*/ 129766 h 952845"/>
                <a:gd name="connsiteX3" fmla="*/ 0 w 1574500"/>
                <a:gd name="connsiteY3" fmla="*/ 308931 h 952845"/>
                <a:gd name="connsiteX4" fmla="*/ 86191 w 1574500"/>
                <a:gd name="connsiteY4" fmla="*/ 429646 h 952845"/>
                <a:gd name="connsiteX5" fmla="*/ 148421 w 1574500"/>
                <a:gd name="connsiteY5" fmla="*/ 485877 h 952845"/>
                <a:gd name="connsiteX6" fmla="*/ 123656 w 1574500"/>
                <a:gd name="connsiteY6" fmla="*/ 567360 h 952845"/>
                <a:gd name="connsiteX7" fmla="*/ 132705 w 1574500"/>
                <a:gd name="connsiteY7" fmla="*/ 618663 h 952845"/>
                <a:gd name="connsiteX8" fmla="*/ 113874 w 1574500"/>
                <a:gd name="connsiteY8" fmla="*/ 645814 h 952845"/>
                <a:gd name="connsiteX9" fmla="*/ 119910 w 1574500"/>
                <a:gd name="connsiteY9" fmla="*/ 679010 h 952845"/>
                <a:gd name="connsiteX10" fmla="*/ 192337 w 1574500"/>
                <a:gd name="connsiteY10" fmla="*/ 675992 h 952845"/>
                <a:gd name="connsiteX11" fmla="*/ 210444 w 1574500"/>
                <a:gd name="connsiteY11" fmla="*/ 739366 h 952845"/>
                <a:gd name="connsiteX12" fmla="*/ 216480 w 1574500"/>
                <a:gd name="connsiteY12" fmla="*/ 775580 h 952845"/>
                <a:gd name="connsiteX13" fmla="*/ 237605 w 1574500"/>
                <a:gd name="connsiteY13" fmla="*/ 817830 h 952845"/>
                <a:gd name="connsiteX14" fmla="*/ 227946 w 1574500"/>
                <a:gd name="connsiteY14" fmla="*/ 874216 h 952845"/>
                <a:gd name="connsiteX15" fmla="*/ 312230 w 1574500"/>
                <a:gd name="connsiteY15" fmla="*/ 952209 h 952845"/>
                <a:gd name="connsiteX16" fmla="*/ 406603 w 1574500"/>
                <a:gd name="connsiteY16" fmla="*/ 917418 h 952845"/>
                <a:gd name="connsiteX17" fmla="*/ 455399 w 1574500"/>
                <a:gd name="connsiteY17" fmla="*/ 952845 h 952845"/>
                <a:gd name="connsiteX18" fmla="*/ 509209 w 1574500"/>
                <a:gd name="connsiteY18" fmla="*/ 899311 h 952845"/>
                <a:gd name="connsiteX19" fmla="*/ 560017 w 1574500"/>
                <a:gd name="connsiteY19" fmla="*/ 944594 h 952845"/>
                <a:gd name="connsiteX20" fmla="*/ 566547 w 1574500"/>
                <a:gd name="connsiteY20" fmla="*/ 844990 h 952845"/>
                <a:gd name="connsiteX21" fmla="*/ 1532250 w 1574500"/>
                <a:gd name="connsiteY21" fmla="*/ 935525 h 952845"/>
                <a:gd name="connsiteX22" fmla="*/ 1574500 w 1574500"/>
                <a:gd name="connsiteY22" fmla="*/ 190123 h 952845"/>
                <a:gd name="connsiteX23" fmla="*/ 1191236 w 1574500"/>
                <a:gd name="connsiteY23" fmla="*/ 156927 h 952845"/>
                <a:gd name="connsiteX24" fmla="*/ 1010167 w 1574500"/>
                <a:gd name="connsiteY24" fmla="*/ 141837 h 952845"/>
                <a:gd name="connsiteX25" fmla="*/ 910579 w 1574500"/>
                <a:gd name="connsiteY25" fmla="*/ 138820 h 952845"/>
                <a:gd name="connsiteX26" fmla="*/ 744599 w 1574500"/>
                <a:gd name="connsiteY26" fmla="*/ 111659 h 952845"/>
                <a:gd name="connsiteX27" fmla="*/ 599743 w 1574500"/>
                <a:gd name="connsiteY27" fmla="*/ 93552 h 952845"/>
                <a:gd name="connsiteX28" fmla="*/ 29375 w 1574500"/>
                <a:gd name="connsiteY28" fmla="*/ 0 h 952845"/>
                <a:gd name="connsiteX0" fmla="*/ 29375 w 1574500"/>
                <a:gd name="connsiteY0" fmla="*/ 0 h 952845"/>
                <a:gd name="connsiteX1" fmla="*/ 26357 w 1574500"/>
                <a:gd name="connsiteY1" fmla="*/ 63374 h 952845"/>
                <a:gd name="connsiteX2" fmla="*/ 2215 w 1574500"/>
                <a:gd name="connsiteY2" fmla="*/ 129766 h 952845"/>
                <a:gd name="connsiteX3" fmla="*/ 0 w 1574500"/>
                <a:gd name="connsiteY3" fmla="*/ 308931 h 952845"/>
                <a:gd name="connsiteX4" fmla="*/ 86191 w 1574500"/>
                <a:gd name="connsiteY4" fmla="*/ 429646 h 952845"/>
                <a:gd name="connsiteX5" fmla="*/ 148421 w 1574500"/>
                <a:gd name="connsiteY5" fmla="*/ 485877 h 952845"/>
                <a:gd name="connsiteX6" fmla="*/ 123656 w 1574500"/>
                <a:gd name="connsiteY6" fmla="*/ 567360 h 952845"/>
                <a:gd name="connsiteX7" fmla="*/ 132705 w 1574500"/>
                <a:gd name="connsiteY7" fmla="*/ 618663 h 952845"/>
                <a:gd name="connsiteX8" fmla="*/ 113874 w 1574500"/>
                <a:gd name="connsiteY8" fmla="*/ 645814 h 952845"/>
                <a:gd name="connsiteX9" fmla="*/ 119910 w 1574500"/>
                <a:gd name="connsiteY9" fmla="*/ 679010 h 952845"/>
                <a:gd name="connsiteX10" fmla="*/ 192337 w 1574500"/>
                <a:gd name="connsiteY10" fmla="*/ 675992 h 952845"/>
                <a:gd name="connsiteX11" fmla="*/ 210444 w 1574500"/>
                <a:gd name="connsiteY11" fmla="*/ 739366 h 952845"/>
                <a:gd name="connsiteX12" fmla="*/ 216480 w 1574500"/>
                <a:gd name="connsiteY12" fmla="*/ 775580 h 952845"/>
                <a:gd name="connsiteX13" fmla="*/ 237605 w 1574500"/>
                <a:gd name="connsiteY13" fmla="*/ 817830 h 952845"/>
                <a:gd name="connsiteX14" fmla="*/ 227946 w 1574500"/>
                <a:gd name="connsiteY14" fmla="*/ 874216 h 952845"/>
                <a:gd name="connsiteX15" fmla="*/ 312230 w 1574500"/>
                <a:gd name="connsiteY15" fmla="*/ 952209 h 952845"/>
                <a:gd name="connsiteX16" fmla="*/ 396844 w 1574500"/>
                <a:gd name="connsiteY16" fmla="*/ 938866 h 952845"/>
                <a:gd name="connsiteX17" fmla="*/ 455399 w 1574500"/>
                <a:gd name="connsiteY17" fmla="*/ 952845 h 952845"/>
                <a:gd name="connsiteX18" fmla="*/ 509209 w 1574500"/>
                <a:gd name="connsiteY18" fmla="*/ 899311 h 952845"/>
                <a:gd name="connsiteX19" fmla="*/ 560017 w 1574500"/>
                <a:gd name="connsiteY19" fmla="*/ 944594 h 952845"/>
                <a:gd name="connsiteX20" fmla="*/ 566547 w 1574500"/>
                <a:gd name="connsiteY20" fmla="*/ 844990 h 952845"/>
                <a:gd name="connsiteX21" fmla="*/ 1532250 w 1574500"/>
                <a:gd name="connsiteY21" fmla="*/ 935525 h 952845"/>
                <a:gd name="connsiteX22" fmla="*/ 1574500 w 1574500"/>
                <a:gd name="connsiteY22" fmla="*/ 190123 h 952845"/>
                <a:gd name="connsiteX23" fmla="*/ 1191236 w 1574500"/>
                <a:gd name="connsiteY23" fmla="*/ 156927 h 952845"/>
                <a:gd name="connsiteX24" fmla="*/ 1010167 w 1574500"/>
                <a:gd name="connsiteY24" fmla="*/ 141837 h 952845"/>
                <a:gd name="connsiteX25" fmla="*/ 910579 w 1574500"/>
                <a:gd name="connsiteY25" fmla="*/ 138820 h 952845"/>
                <a:gd name="connsiteX26" fmla="*/ 744599 w 1574500"/>
                <a:gd name="connsiteY26" fmla="*/ 111659 h 952845"/>
                <a:gd name="connsiteX27" fmla="*/ 599743 w 1574500"/>
                <a:gd name="connsiteY27" fmla="*/ 93552 h 952845"/>
                <a:gd name="connsiteX28" fmla="*/ 29375 w 1574500"/>
                <a:gd name="connsiteY28" fmla="*/ 0 h 952845"/>
                <a:gd name="connsiteX0" fmla="*/ 29375 w 1574500"/>
                <a:gd name="connsiteY0" fmla="*/ 0 h 952845"/>
                <a:gd name="connsiteX1" fmla="*/ 26357 w 1574500"/>
                <a:gd name="connsiteY1" fmla="*/ 63374 h 952845"/>
                <a:gd name="connsiteX2" fmla="*/ 2215 w 1574500"/>
                <a:gd name="connsiteY2" fmla="*/ 129766 h 952845"/>
                <a:gd name="connsiteX3" fmla="*/ 0 w 1574500"/>
                <a:gd name="connsiteY3" fmla="*/ 308931 h 952845"/>
                <a:gd name="connsiteX4" fmla="*/ 86191 w 1574500"/>
                <a:gd name="connsiteY4" fmla="*/ 429646 h 952845"/>
                <a:gd name="connsiteX5" fmla="*/ 148421 w 1574500"/>
                <a:gd name="connsiteY5" fmla="*/ 485877 h 952845"/>
                <a:gd name="connsiteX6" fmla="*/ 123656 w 1574500"/>
                <a:gd name="connsiteY6" fmla="*/ 567360 h 952845"/>
                <a:gd name="connsiteX7" fmla="*/ 132705 w 1574500"/>
                <a:gd name="connsiteY7" fmla="*/ 618663 h 952845"/>
                <a:gd name="connsiteX8" fmla="*/ 113874 w 1574500"/>
                <a:gd name="connsiteY8" fmla="*/ 645814 h 952845"/>
                <a:gd name="connsiteX9" fmla="*/ 119910 w 1574500"/>
                <a:gd name="connsiteY9" fmla="*/ 679010 h 952845"/>
                <a:gd name="connsiteX10" fmla="*/ 192337 w 1574500"/>
                <a:gd name="connsiteY10" fmla="*/ 675992 h 952845"/>
                <a:gd name="connsiteX11" fmla="*/ 210444 w 1574500"/>
                <a:gd name="connsiteY11" fmla="*/ 739366 h 952845"/>
                <a:gd name="connsiteX12" fmla="*/ 216480 w 1574500"/>
                <a:gd name="connsiteY12" fmla="*/ 775580 h 952845"/>
                <a:gd name="connsiteX13" fmla="*/ 237605 w 1574500"/>
                <a:gd name="connsiteY13" fmla="*/ 817830 h 952845"/>
                <a:gd name="connsiteX14" fmla="*/ 227946 w 1574500"/>
                <a:gd name="connsiteY14" fmla="*/ 874216 h 952845"/>
                <a:gd name="connsiteX15" fmla="*/ 312230 w 1574500"/>
                <a:gd name="connsiteY15" fmla="*/ 952209 h 952845"/>
                <a:gd name="connsiteX16" fmla="*/ 396844 w 1574500"/>
                <a:gd name="connsiteY16" fmla="*/ 938866 h 952845"/>
                <a:gd name="connsiteX17" fmla="*/ 455399 w 1574500"/>
                <a:gd name="connsiteY17" fmla="*/ 952845 h 952845"/>
                <a:gd name="connsiteX18" fmla="*/ 513669 w 1574500"/>
                <a:gd name="connsiteY18" fmla="*/ 904089 h 952845"/>
                <a:gd name="connsiteX19" fmla="*/ 560017 w 1574500"/>
                <a:gd name="connsiteY19" fmla="*/ 944594 h 952845"/>
                <a:gd name="connsiteX20" fmla="*/ 566547 w 1574500"/>
                <a:gd name="connsiteY20" fmla="*/ 844990 h 952845"/>
                <a:gd name="connsiteX21" fmla="*/ 1532250 w 1574500"/>
                <a:gd name="connsiteY21" fmla="*/ 935525 h 952845"/>
                <a:gd name="connsiteX22" fmla="*/ 1574500 w 1574500"/>
                <a:gd name="connsiteY22" fmla="*/ 190123 h 952845"/>
                <a:gd name="connsiteX23" fmla="*/ 1191236 w 1574500"/>
                <a:gd name="connsiteY23" fmla="*/ 156927 h 952845"/>
                <a:gd name="connsiteX24" fmla="*/ 1010167 w 1574500"/>
                <a:gd name="connsiteY24" fmla="*/ 141837 h 952845"/>
                <a:gd name="connsiteX25" fmla="*/ 910579 w 1574500"/>
                <a:gd name="connsiteY25" fmla="*/ 138820 h 952845"/>
                <a:gd name="connsiteX26" fmla="*/ 744599 w 1574500"/>
                <a:gd name="connsiteY26" fmla="*/ 111659 h 952845"/>
                <a:gd name="connsiteX27" fmla="*/ 599743 w 1574500"/>
                <a:gd name="connsiteY27" fmla="*/ 93552 h 952845"/>
                <a:gd name="connsiteX28" fmla="*/ 29375 w 1574500"/>
                <a:gd name="connsiteY28" fmla="*/ 0 h 95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574500" h="952845">
                  <a:moveTo>
                    <a:pt x="29375" y="0"/>
                  </a:moveTo>
                  <a:lnTo>
                    <a:pt x="26357" y="63374"/>
                  </a:lnTo>
                  <a:lnTo>
                    <a:pt x="2215" y="129766"/>
                  </a:lnTo>
                  <a:cubicBezTo>
                    <a:pt x="1477" y="189488"/>
                    <a:pt x="738" y="249209"/>
                    <a:pt x="0" y="308931"/>
                  </a:cubicBezTo>
                  <a:lnTo>
                    <a:pt x="86191" y="429646"/>
                  </a:lnTo>
                  <a:lnTo>
                    <a:pt x="148421" y="485877"/>
                  </a:lnTo>
                  <a:lnTo>
                    <a:pt x="123656" y="567360"/>
                  </a:lnTo>
                  <a:lnTo>
                    <a:pt x="132705" y="618663"/>
                  </a:lnTo>
                  <a:lnTo>
                    <a:pt x="113874" y="645814"/>
                  </a:lnTo>
                  <a:lnTo>
                    <a:pt x="119910" y="679010"/>
                  </a:lnTo>
                  <a:lnTo>
                    <a:pt x="192337" y="675992"/>
                  </a:lnTo>
                  <a:lnTo>
                    <a:pt x="210444" y="739366"/>
                  </a:lnTo>
                  <a:lnTo>
                    <a:pt x="216480" y="775580"/>
                  </a:lnTo>
                  <a:lnTo>
                    <a:pt x="237605" y="817830"/>
                  </a:lnTo>
                  <a:lnTo>
                    <a:pt x="227946" y="874216"/>
                  </a:lnTo>
                  <a:lnTo>
                    <a:pt x="312230" y="952209"/>
                  </a:lnTo>
                  <a:lnTo>
                    <a:pt x="396844" y="938866"/>
                  </a:lnTo>
                  <a:lnTo>
                    <a:pt x="455399" y="952845"/>
                  </a:lnTo>
                  <a:lnTo>
                    <a:pt x="513669" y="904089"/>
                  </a:lnTo>
                  <a:lnTo>
                    <a:pt x="560017" y="944594"/>
                  </a:lnTo>
                  <a:lnTo>
                    <a:pt x="566547" y="844990"/>
                  </a:lnTo>
                  <a:lnTo>
                    <a:pt x="1532250" y="935525"/>
                  </a:lnTo>
                  <a:lnTo>
                    <a:pt x="1574500" y="190123"/>
                  </a:lnTo>
                  <a:lnTo>
                    <a:pt x="1191236" y="156927"/>
                  </a:lnTo>
                  <a:lnTo>
                    <a:pt x="1010167" y="141837"/>
                  </a:lnTo>
                  <a:lnTo>
                    <a:pt x="910579" y="138820"/>
                  </a:lnTo>
                  <a:lnTo>
                    <a:pt x="744599" y="111659"/>
                  </a:lnTo>
                  <a:lnTo>
                    <a:pt x="599743" y="93552"/>
                  </a:lnTo>
                  <a:lnTo>
                    <a:pt x="29375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2" name="Freeform 101"/>
            <p:cNvSpPr/>
            <p:nvPr/>
          </p:nvSpPr>
          <p:spPr>
            <a:xfrm>
              <a:off x="2390255" y="2190153"/>
              <a:ext cx="631011" cy="352272"/>
            </a:xfrm>
            <a:custGeom>
              <a:avLst/>
              <a:gdLst>
                <a:gd name="connsiteX0" fmla="*/ 27160 w 1001916"/>
                <a:gd name="connsiteY0" fmla="*/ 18107 h 597529"/>
                <a:gd name="connsiteX1" fmla="*/ 0 w 1001916"/>
                <a:gd name="connsiteY1" fmla="*/ 597529 h 597529"/>
                <a:gd name="connsiteX2" fmla="*/ 998899 w 1001916"/>
                <a:gd name="connsiteY2" fmla="*/ 588475 h 597529"/>
                <a:gd name="connsiteX3" fmla="*/ 1001916 w 1001916"/>
                <a:gd name="connsiteY3" fmla="*/ 537172 h 597529"/>
                <a:gd name="connsiteX4" fmla="*/ 974756 w 1001916"/>
                <a:gd name="connsiteY4" fmla="*/ 416459 h 597529"/>
                <a:gd name="connsiteX5" fmla="*/ 971738 w 1001916"/>
                <a:gd name="connsiteY5" fmla="*/ 316871 h 597529"/>
                <a:gd name="connsiteX6" fmla="*/ 932506 w 1001916"/>
                <a:gd name="connsiteY6" fmla="*/ 223319 h 597529"/>
                <a:gd name="connsiteX7" fmla="*/ 905346 w 1001916"/>
                <a:gd name="connsiteY7" fmla="*/ 196158 h 597529"/>
                <a:gd name="connsiteX8" fmla="*/ 911382 w 1001916"/>
                <a:gd name="connsiteY8" fmla="*/ 78463 h 597529"/>
                <a:gd name="connsiteX9" fmla="*/ 878186 w 1001916"/>
                <a:gd name="connsiteY9" fmla="*/ 0 h 597529"/>
                <a:gd name="connsiteX10" fmla="*/ 485869 w 1001916"/>
                <a:gd name="connsiteY10" fmla="*/ 27160 h 597529"/>
                <a:gd name="connsiteX11" fmla="*/ 350067 w 1001916"/>
                <a:gd name="connsiteY11" fmla="*/ 30178 h 597529"/>
                <a:gd name="connsiteX12" fmla="*/ 27160 w 1001916"/>
                <a:gd name="connsiteY12" fmla="*/ 18107 h 59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1916" h="597529">
                  <a:moveTo>
                    <a:pt x="27160" y="18107"/>
                  </a:moveTo>
                  <a:lnTo>
                    <a:pt x="0" y="597529"/>
                  </a:lnTo>
                  <a:lnTo>
                    <a:pt x="998899" y="588475"/>
                  </a:lnTo>
                  <a:lnTo>
                    <a:pt x="1001916" y="537172"/>
                  </a:lnTo>
                  <a:lnTo>
                    <a:pt x="974756" y="416459"/>
                  </a:lnTo>
                  <a:lnTo>
                    <a:pt x="971738" y="316871"/>
                  </a:lnTo>
                  <a:lnTo>
                    <a:pt x="932506" y="223319"/>
                  </a:lnTo>
                  <a:lnTo>
                    <a:pt x="905346" y="196158"/>
                  </a:lnTo>
                  <a:lnTo>
                    <a:pt x="911382" y="78463"/>
                  </a:lnTo>
                  <a:lnTo>
                    <a:pt x="878186" y="0"/>
                  </a:lnTo>
                  <a:lnTo>
                    <a:pt x="485869" y="27160"/>
                  </a:lnTo>
                  <a:lnTo>
                    <a:pt x="350067" y="30178"/>
                  </a:lnTo>
                  <a:lnTo>
                    <a:pt x="27160" y="1810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3" name="Freeform 102"/>
            <p:cNvSpPr/>
            <p:nvPr/>
          </p:nvSpPr>
          <p:spPr>
            <a:xfrm>
              <a:off x="2371255" y="2532120"/>
              <a:ext cx="692013" cy="384126"/>
            </a:xfrm>
            <a:custGeom>
              <a:avLst/>
              <a:gdLst>
                <a:gd name="connsiteX0" fmla="*/ 36214 w 1095470"/>
                <a:gd name="connsiteY0" fmla="*/ 12071 h 636760"/>
                <a:gd name="connsiteX1" fmla="*/ 0 w 1095470"/>
                <a:gd name="connsiteY1" fmla="*/ 555279 h 636760"/>
                <a:gd name="connsiteX2" fmla="*/ 437584 w 1095470"/>
                <a:gd name="connsiteY2" fmla="*/ 570368 h 636760"/>
                <a:gd name="connsiteX3" fmla="*/ 642796 w 1095470"/>
                <a:gd name="connsiteY3" fmla="*/ 567350 h 636760"/>
                <a:gd name="connsiteX4" fmla="*/ 772563 w 1095470"/>
                <a:gd name="connsiteY4" fmla="*/ 564333 h 636760"/>
                <a:gd name="connsiteX5" fmla="*/ 811794 w 1095470"/>
                <a:gd name="connsiteY5" fmla="*/ 570368 h 636760"/>
                <a:gd name="connsiteX6" fmla="*/ 863097 w 1095470"/>
                <a:gd name="connsiteY6" fmla="*/ 588475 h 636760"/>
                <a:gd name="connsiteX7" fmla="*/ 923454 w 1095470"/>
                <a:gd name="connsiteY7" fmla="*/ 567350 h 636760"/>
                <a:gd name="connsiteX8" fmla="*/ 974757 w 1095470"/>
                <a:gd name="connsiteY8" fmla="*/ 588475 h 636760"/>
                <a:gd name="connsiteX9" fmla="*/ 989846 w 1095470"/>
                <a:gd name="connsiteY9" fmla="*/ 609600 h 636760"/>
                <a:gd name="connsiteX10" fmla="*/ 1035113 w 1095470"/>
                <a:gd name="connsiteY10" fmla="*/ 603564 h 636760"/>
                <a:gd name="connsiteX11" fmla="*/ 1095470 w 1095470"/>
                <a:gd name="connsiteY11" fmla="*/ 636760 h 636760"/>
                <a:gd name="connsiteX12" fmla="*/ 1086416 w 1095470"/>
                <a:gd name="connsiteY12" fmla="*/ 585457 h 636760"/>
                <a:gd name="connsiteX13" fmla="*/ 1095470 w 1095470"/>
                <a:gd name="connsiteY13" fmla="*/ 528119 h 636760"/>
                <a:gd name="connsiteX14" fmla="*/ 1077363 w 1095470"/>
                <a:gd name="connsiteY14" fmla="*/ 461727 h 636760"/>
                <a:gd name="connsiteX15" fmla="*/ 1065291 w 1095470"/>
                <a:gd name="connsiteY15" fmla="*/ 111659 h 636760"/>
                <a:gd name="connsiteX16" fmla="*/ 1020024 w 1095470"/>
                <a:gd name="connsiteY16" fmla="*/ 81481 h 636760"/>
                <a:gd name="connsiteX17" fmla="*/ 1023042 w 1095470"/>
                <a:gd name="connsiteY17" fmla="*/ 45267 h 636760"/>
                <a:gd name="connsiteX18" fmla="*/ 1032095 w 1095470"/>
                <a:gd name="connsiteY18" fmla="*/ 0 h 636760"/>
                <a:gd name="connsiteX19" fmla="*/ 36214 w 1095470"/>
                <a:gd name="connsiteY19" fmla="*/ 12071 h 636760"/>
                <a:gd name="connsiteX0" fmla="*/ 26691 w 1095470"/>
                <a:gd name="connsiteY0" fmla="*/ 4928 h 636760"/>
                <a:gd name="connsiteX1" fmla="*/ 0 w 1095470"/>
                <a:gd name="connsiteY1" fmla="*/ 555279 h 636760"/>
                <a:gd name="connsiteX2" fmla="*/ 437584 w 1095470"/>
                <a:gd name="connsiteY2" fmla="*/ 570368 h 636760"/>
                <a:gd name="connsiteX3" fmla="*/ 642796 w 1095470"/>
                <a:gd name="connsiteY3" fmla="*/ 567350 h 636760"/>
                <a:gd name="connsiteX4" fmla="*/ 772563 w 1095470"/>
                <a:gd name="connsiteY4" fmla="*/ 564333 h 636760"/>
                <a:gd name="connsiteX5" fmla="*/ 811794 w 1095470"/>
                <a:gd name="connsiteY5" fmla="*/ 570368 h 636760"/>
                <a:gd name="connsiteX6" fmla="*/ 863097 w 1095470"/>
                <a:gd name="connsiteY6" fmla="*/ 588475 h 636760"/>
                <a:gd name="connsiteX7" fmla="*/ 923454 w 1095470"/>
                <a:gd name="connsiteY7" fmla="*/ 567350 h 636760"/>
                <a:gd name="connsiteX8" fmla="*/ 974757 w 1095470"/>
                <a:gd name="connsiteY8" fmla="*/ 588475 h 636760"/>
                <a:gd name="connsiteX9" fmla="*/ 989846 w 1095470"/>
                <a:gd name="connsiteY9" fmla="*/ 609600 h 636760"/>
                <a:gd name="connsiteX10" fmla="*/ 1035113 w 1095470"/>
                <a:gd name="connsiteY10" fmla="*/ 603564 h 636760"/>
                <a:gd name="connsiteX11" fmla="*/ 1095470 w 1095470"/>
                <a:gd name="connsiteY11" fmla="*/ 636760 h 636760"/>
                <a:gd name="connsiteX12" fmla="*/ 1086416 w 1095470"/>
                <a:gd name="connsiteY12" fmla="*/ 585457 h 636760"/>
                <a:gd name="connsiteX13" fmla="*/ 1095470 w 1095470"/>
                <a:gd name="connsiteY13" fmla="*/ 528119 h 636760"/>
                <a:gd name="connsiteX14" fmla="*/ 1077363 w 1095470"/>
                <a:gd name="connsiteY14" fmla="*/ 461727 h 636760"/>
                <a:gd name="connsiteX15" fmla="*/ 1065291 w 1095470"/>
                <a:gd name="connsiteY15" fmla="*/ 111659 h 636760"/>
                <a:gd name="connsiteX16" fmla="*/ 1020024 w 1095470"/>
                <a:gd name="connsiteY16" fmla="*/ 81481 h 636760"/>
                <a:gd name="connsiteX17" fmla="*/ 1023042 w 1095470"/>
                <a:gd name="connsiteY17" fmla="*/ 45267 h 636760"/>
                <a:gd name="connsiteX18" fmla="*/ 1032095 w 1095470"/>
                <a:gd name="connsiteY18" fmla="*/ 0 h 636760"/>
                <a:gd name="connsiteX19" fmla="*/ 26691 w 1095470"/>
                <a:gd name="connsiteY19" fmla="*/ 4928 h 636760"/>
                <a:gd name="connsiteX0" fmla="*/ 26691 w 1095470"/>
                <a:gd name="connsiteY0" fmla="*/ 16837 h 648669"/>
                <a:gd name="connsiteX1" fmla="*/ 0 w 1095470"/>
                <a:gd name="connsiteY1" fmla="*/ 567188 h 648669"/>
                <a:gd name="connsiteX2" fmla="*/ 437584 w 1095470"/>
                <a:gd name="connsiteY2" fmla="*/ 582277 h 648669"/>
                <a:gd name="connsiteX3" fmla="*/ 642796 w 1095470"/>
                <a:gd name="connsiteY3" fmla="*/ 579259 h 648669"/>
                <a:gd name="connsiteX4" fmla="*/ 772563 w 1095470"/>
                <a:gd name="connsiteY4" fmla="*/ 576242 h 648669"/>
                <a:gd name="connsiteX5" fmla="*/ 811794 w 1095470"/>
                <a:gd name="connsiteY5" fmla="*/ 582277 h 648669"/>
                <a:gd name="connsiteX6" fmla="*/ 863097 w 1095470"/>
                <a:gd name="connsiteY6" fmla="*/ 600384 h 648669"/>
                <a:gd name="connsiteX7" fmla="*/ 923454 w 1095470"/>
                <a:gd name="connsiteY7" fmla="*/ 579259 h 648669"/>
                <a:gd name="connsiteX8" fmla="*/ 974757 w 1095470"/>
                <a:gd name="connsiteY8" fmla="*/ 600384 h 648669"/>
                <a:gd name="connsiteX9" fmla="*/ 989846 w 1095470"/>
                <a:gd name="connsiteY9" fmla="*/ 621509 h 648669"/>
                <a:gd name="connsiteX10" fmla="*/ 1035113 w 1095470"/>
                <a:gd name="connsiteY10" fmla="*/ 615473 h 648669"/>
                <a:gd name="connsiteX11" fmla="*/ 1095470 w 1095470"/>
                <a:gd name="connsiteY11" fmla="*/ 648669 h 648669"/>
                <a:gd name="connsiteX12" fmla="*/ 1086416 w 1095470"/>
                <a:gd name="connsiteY12" fmla="*/ 597366 h 648669"/>
                <a:gd name="connsiteX13" fmla="*/ 1095470 w 1095470"/>
                <a:gd name="connsiteY13" fmla="*/ 540028 h 648669"/>
                <a:gd name="connsiteX14" fmla="*/ 1077363 w 1095470"/>
                <a:gd name="connsiteY14" fmla="*/ 473636 h 648669"/>
                <a:gd name="connsiteX15" fmla="*/ 1065291 w 1095470"/>
                <a:gd name="connsiteY15" fmla="*/ 123568 h 648669"/>
                <a:gd name="connsiteX16" fmla="*/ 1020024 w 1095470"/>
                <a:gd name="connsiteY16" fmla="*/ 93390 h 648669"/>
                <a:gd name="connsiteX17" fmla="*/ 1023042 w 1095470"/>
                <a:gd name="connsiteY17" fmla="*/ 57176 h 648669"/>
                <a:gd name="connsiteX18" fmla="*/ 1034566 w 1095470"/>
                <a:gd name="connsiteY18" fmla="*/ 0 h 648669"/>
                <a:gd name="connsiteX19" fmla="*/ 26691 w 1095470"/>
                <a:gd name="connsiteY19" fmla="*/ 16837 h 648669"/>
                <a:gd name="connsiteX0" fmla="*/ 26691 w 1095470"/>
                <a:gd name="connsiteY0" fmla="*/ 19220 h 651052"/>
                <a:gd name="connsiteX1" fmla="*/ 0 w 1095470"/>
                <a:gd name="connsiteY1" fmla="*/ 569571 h 651052"/>
                <a:gd name="connsiteX2" fmla="*/ 437584 w 1095470"/>
                <a:gd name="connsiteY2" fmla="*/ 584660 h 651052"/>
                <a:gd name="connsiteX3" fmla="*/ 642796 w 1095470"/>
                <a:gd name="connsiteY3" fmla="*/ 581642 h 651052"/>
                <a:gd name="connsiteX4" fmla="*/ 772563 w 1095470"/>
                <a:gd name="connsiteY4" fmla="*/ 578625 h 651052"/>
                <a:gd name="connsiteX5" fmla="*/ 811794 w 1095470"/>
                <a:gd name="connsiteY5" fmla="*/ 584660 h 651052"/>
                <a:gd name="connsiteX6" fmla="*/ 863097 w 1095470"/>
                <a:gd name="connsiteY6" fmla="*/ 602767 h 651052"/>
                <a:gd name="connsiteX7" fmla="*/ 923454 w 1095470"/>
                <a:gd name="connsiteY7" fmla="*/ 581642 h 651052"/>
                <a:gd name="connsiteX8" fmla="*/ 974757 w 1095470"/>
                <a:gd name="connsiteY8" fmla="*/ 602767 h 651052"/>
                <a:gd name="connsiteX9" fmla="*/ 989846 w 1095470"/>
                <a:gd name="connsiteY9" fmla="*/ 623892 h 651052"/>
                <a:gd name="connsiteX10" fmla="*/ 1035113 w 1095470"/>
                <a:gd name="connsiteY10" fmla="*/ 617856 h 651052"/>
                <a:gd name="connsiteX11" fmla="*/ 1095470 w 1095470"/>
                <a:gd name="connsiteY11" fmla="*/ 651052 h 651052"/>
                <a:gd name="connsiteX12" fmla="*/ 1086416 w 1095470"/>
                <a:gd name="connsiteY12" fmla="*/ 599749 h 651052"/>
                <a:gd name="connsiteX13" fmla="*/ 1095470 w 1095470"/>
                <a:gd name="connsiteY13" fmla="*/ 542411 h 651052"/>
                <a:gd name="connsiteX14" fmla="*/ 1077363 w 1095470"/>
                <a:gd name="connsiteY14" fmla="*/ 476019 h 651052"/>
                <a:gd name="connsiteX15" fmla="*/ 1065291 w 1095470"/>
                <a:gd name="connsiteY15" fmla="*/ 125951 h 651052"/>
                <a:gd name="connsiteX16" fmla="*/ 1020024 w 1095470"/>
                <a:gd name="connsiteY16" fmla="*/ 95773 h 651052"/>
                <a:gd name="connsiteX17" fmla="*/ 1023042 w 1095470"/>
                <a:gd name="connsiteY17" fmla="*/ 59559 h 651052"/>
                <a:gd name="connsiteX18" fmla="*/ 1044182 w 1095470"/>
                <a:gd name="connsiteY18" fmla="*/ 0 h 651052"/>
                <a:gd name="connsiteX19" fmla="*/ 26691 w 1095470"/>
                <a:gd name="connsiteY19" fmla="*/ 19220 h 651052"/>
                <a:gd name="connsiteX0" fmla="*/ 26691 w 1095470"/>
                <a:gd name="connsiteY0" fmla="*/ 19220 h 651052"/>
                <a:gd name="connsiteX1" fmla="*/ 0 w 1095470"/>
                <a:gd name="connsiteY1" fmla="*/ 569571 h 651052"/>
                <a:gd name="connsiteX2" fmla="*/ 437584 w 1095470"/>
                <a:gd name="connsiteY2" fmla="*/ 584660 h 651052"/>
                <a:gd name="connsiteX3" fmla="*/ 642796 w 1095470"/>
                <a:gd name="connsiteY3" fmla="*/ 581642 h 651052"/>
                <a:gd name="connsiteX4" fmla="*/ 772563 w 1095470"/>
                <a:gd name="connsiteY4" fmla="*/ 578625 h 651052"/>
                <a:gd name="connsiteX5" fmla="*/ 811794 w 1095470"/>
                <a:gd name="connsiteY5" fmla="*/ 584660 h 651052"/>
                <a:gd name="connsiteX6" fmla="*/ 863097 w 1095470"/>
                <a:gd name="connsiteY6" fmla="*/ 602767 h 651052"/>
                <a:gd name="connsiteX7" fmla="*/ 923454 w 1095470"/>
                <a:gd name="connsiteY7" fmla="*/ 581642 h 651052"/>
                <a:gd name="connsiteX8" fmla="*/ 974757 w 1095470"/>
                <a:gd name="connsiteY8" fmla="*/ 602767 h 651052"/>
                <a:gd name="connsiteX9" fmla="*/ 989846 w 1095470"/>
                <a:gd name="connsiteY9" fmla="*/ 623892 h 651052"/>
                <a:gd name="connsiteX10" fmla="*/ 1035113 w 1095470"/>
                <a:gd name="connsiteY10" fmla="*/ 617856 h 651052"/>
                <a:gd name="connsiteX11" fmla="*/ 1095470 w 1095470"/>
                <a:gd name="connsiteY11" fmla="*/ 651052 h 651052"/>
                <a:gd name="connsiteX12" fmla="*/ 1086416 w 1095470"/>
                <a:gd name="connsiteY12" fmla="*/ 599749 h 651052"/>
                <a:gd name="connsiteX13" fmla="*/ 1095470 w 1095470"/>
                <a:gd name="connsiteY13" fmla="*/ 542411 h 651052"/>
                <a:gd name="connsiteX14" fmla="*/ 1077363 w 1095470"/>
                <a:gd name="connsiteY14" fmla="*/ 476019 h 651052"/>
                <a:gd name="connsiteX15" fmla="*/ 1065291 w 1095470"/>
                <a:gd name="connsiteY15" fmla="*/ 125951 h 651052"/>
                <a:gd name="connsiteX16" fmla="*/ 1020024 w 1095470"/>
                <a:gd name="connsiteY16" fmla="*/ 95773 h 651052"/>
                <a:gd name="connsiteX17" fmla="*/ 1035038 w 1095470"/>
                <a:gd name="connsiteY17" fmla="*/ 59575 h 651052"/>
                <a:gd name="connsiteX18" fmla="*/ 1044182 w 1095470"/>
                <a:gd name="connsiteY18" fmla="*/ 0 h 651052"/>
                <a:gd name="connsiteX19" fmla="*/ 26691 w 1095470"/>
                <a:gd name="connsiteY19" fmla="*/ 19220 h 651052"/>
                <a:gd name="connsiteX0" fmla="*/ 26691 w 1095470"/>
                <a:gd name="connsiteY0" fmla="*/ 19220 h 651052"/>
                <a:gd name="connsiteX1" fmla="*/ 0 w 1095470"/>
                <a:gd name="connsiteY1" fmla="*/ 569571 h 651052"/>
                <a:gd name="connsiteX2" fmla="*/ 437584 w 1095470"/>
                <a:gd name="connsiteY2" fmla="*/ 584660 h 651052"/>
                <a:gd name="connsiteX3" fmla="*/ 642796 w 1095470"/>
                <a:gd name="connsiteY3" fmla="*/ 581642 h 651052"/>
                <a:gd name="connsiteX4" fmla="*/ 772563 w 1095470"/>
                <a:gd name="connsiteY4" fmla="*/ 578625 h 651052"/>
                <a:gd name="connsiteX5" fmla="*/ 811794 w 1095470"/>
                <a:gd name="connsiteY5" fmla="*/ 584660 h 651052"/>
                <a:gd name="connsiteX6" fmla="*/ 863097 w 1095470"/>
                <a:gd name="connsiteY6" fmla="*/ 602767 h 651052"/>
                <a:gd name="connsiteX7" fmla="*/ 923454 w 1095470"/>
                <a:gd name="connsiteY7" fmla="*/ 581642 h 651052"/>
                <a:gd name="connsiteX8" fmla="*/ 974757 w 1095470"/>
                <a:gd name="connsiteY8" fmla="*/ 602767 h 651052"/>
                <a:gd name="connsiteX9" fmla="*/ 989846 w 1095470"/>
                <a:gd name="connsiteY9" fmla="*/ 623892 h 651052"/>
                <a:gd name="connsiteX10" fmla="*/ 1035113 w 1095470"/>
                <a:gd name="connsiteY10" fmla="*/ 617856 h 651052"/>
                <a:gd name="connsiteX11" fmla="*/ 1095470 w 1095470"/>
                <a:gd name="connsiteY11" fmla="*/ 651052 h 651052"/>
                <a:gd name="connsiteX12" fmla="*/ 1086416 w 1095470"/>
                <a:gd name="connsiteY12" fmla="*/ 599749 h 651052"/>
                <a:gd name="connsiteX13" fmla="*/ 1095470 w 1095470"/>
                <a:gd name="connsiteY13" fmla="*/ 542411 h 651052"/>
                <a:gd name="connsiteX14" fmla="*/ 1077363 w 1095470"/>
                <a:gd name="connsiteY14" fmla="*/ 476019 h 651052"/>
                <a:gd name="connsiteX15" fmla="*/ 1077291 w 1095470"/>
                <a:gd name="connsiteY15" fmla="*/ 125985 h 651052"/>
                <a:gd name="connsiteX16" fmla="*/ 1020024 w 1095470"/>
                <a:gd name="connsiteY16" fmla="*/ 95773 h 651052"/>
                <a:gd name="connsiteX17" fmla="*/ 1035038 w 1095470"/>
                <a:gd name="connsiteY17" fmla="*/ 59575 h 651052"/>
                <a:gd name="connsiteX18" fmla="*/ 1044182 w 1095470"/>
                <a:gd name="connsiteY18" fmla="*/ 0 h 651052"/>
                <a:gd name="connsiteX19" fmla="*/ 26691 w 1095470"/>
                <a:gd name="connsiteY19" fmla="*/ 19220 h 651052"/>
                <a:gd name="connsiteX0" fmla="*/ 26691 w 1098889"/>
                <a:gd name="connsiteY0" fmla="*/ 19220 h 651052"/>
                <a:gd name="connsiteX1" fmla="*/ 0 w 1098889"/>
                <a:gd name="connsiteY1" fmla="*/ 569571 h 651052"/>
                <a:gd name="connsiteX2" fmla="*/ 437584 w 1098889"/>
                <a:gd name="connsiteY2" fmla="*/ 584660 h 651052"/>
                <a:gd name="connsiteX3" fmla="*/ 642796 w 1098889"/>
                <a:gd name="connsiteY3" fmla="*/ 581642 h 651052"/>
                <a:gd name="connsiteX4" fmla="*/ 772563 w 1098889"/>
                <a:gd name="connsiteY4" fmla="*/ 578625 h 651052"/>
                <a:gd name="connsiteX5" fmla="*/ 811794 w 1098889"/>
                <a:gd name="connsiteY5" fmla="*/ 584660 h 651052"/>
                <a:gd name="connsiteX6" fmla="*/ 863097 w 1098889"/>
                <a:gd name="connsiteY6" fmla="*/ 602767 h 651052"/>
                <a:gd name="connsiteX7" fmla="*/ 923454 w 1098889"/>
                <a:gd name="connsiteY7" fmla="*/ 581642 h 651052"/>
                <a:gd name="connsiteX8" fmla="*/ 974757 w 1098889"/>
                <a:gd name="connsiteY8" fmla="*/ 602767 h 651052"/>
                <a:gd name="connsiteX9" fmla="*/ 989846 w 1098889"/>
                <a:gd name="connsiteY9" fmla="*/ 623892 h 651052"/>
                <a:gd name="connsiteX10" fmla="*/ 1035113 w 1098889"/>
                <a:gd name="connsiteY10" fmla="*/ 617856 h 651052"/>
                <a:gd name="connsiteX11" fmla="*/ 1095470 w 1098889"/>
                <a:gd name="connsiteY11" fmla="*/ 651052 h 651052"/>
                <a:gd name="connsiteX12" fmla="*/ 1086416 w 1098889"/>
                <a:gd name="connsiteY12" fmla="*/ 599749 h 651052"/>
                <a:gd name="connsiteX13" fmla="*/ 1095470 w 1098889"/>
                <a:gd name="connsiteY13" fmla="*/ 542411 h 651052"/>
                <a:gd name="connsiteX14" fmla="*/ 1098889 w 1098889"/>
                <a:gd name="connsiteY14" fmla="*/ 476148 h 651052"/>
                <a:gd name="connsiteX15" fmla="*/ 1077291 w 1098889"/>
                <a:gd name="connsiteY15" fmla="*/ 125985 h 651052"/>
                <a:gd name="connsiteX16" fmla="*/ 1020024 w 1098889"/>
                <a:gd name="connsiteY16" fmla="*/ 95773 h 651052"/>
                <a:gd name="connsiteX17" fmla="*/ 1035038 w 1098889"/>
                <a:gd name="connsiteY17" fmla="*/ 59575 h 651052"/>
                <a:gd name="connsiteX18" fmla="*/ 1044182 w 1098889"/>
                <a:gd name="connsiteY18" fmla="*/ 0 h 651052"/>
                <a:gd name="connsiteX19" fmla="*/ 26691 w 1098889"/>
                <a:gd name="connsiteY19" fmla="*/ 19220 h 651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98889" h="651052">
                  <a:moveTo>
                    <a:pt x="26691" y="19220"/>
                  </a:moveTo>
                  <a:lnTo>
                    <a:pt x="0" y="569571"/>
                  </a:lnTo>
                  <a:lnTo>
                    <a:pt x="437584" y="584660"/>
                  </a:lnTo>
                  <a:lnTo>
                    <a:pt x="642796" y="581642"/>
                  </a:lnTo>
                  <a:lnTo>
                    <a:pt x="772563" y="578625"/>
                  </a:lnTo>
                  <a:lnTo>
                    <a:pt x="811794" y="584660"/>
                  </a:lnTo>
                  <a:lnTo>
                    <a:pt x="863097" y="602767"/>
                  </a:lnTo>
                  <a:lnTo>
                    <a:pt x="923454" y="581642"/>
                  </a:lnTo>
                  <a:lnTo>
                    <a:pt x="974757" y="602767"/>
                  </a:lnTo>
                  <a:lnTo>
                    <a:pt x="989846" y="623892"/>
                  </a:lnTo>
                  <a:lnTo>
                    <a:pt x="1035113" y="617856"/>
                  </a:lnTo>
                  <a:lnTo>
                    <a:pt x="1095470" y="651052"/>
                  </a:lnTo>
                  <a:lnTo>
                    <a:pt x="1086416" y="599749"/>
                  </a:lnTo>
                  <a:lnTo>
                    <a:pt x="1095470" y="542411"/>
                  </a:lnTo>
                  <a:lnTo>
                    <a:pt x="1098889" y="476148"/>
                  </a:lnTo>
                  <a:lnTo>
                    <a:pt x="1077291" y="125985"/>
                  </a:lnTo>
                  <a:lnTo>
                    <a:pt x="1020024" y="95773"/>
                  </a:lnTo>
                  <a:lnTo>
                    <a:pt x="1035038" y="59575"/>
                  </a:lnTo>
                  <a:lnTo>
                    <a:pt x="1044182" y="0"/>
                  </a:lnTo>
                  <a:lnTo>
                    <a:pt x="26691" y="1922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4" name="Freeform 103"/>
            <p:cNvSpPr/>
            <p:nvPr/>
          </p:nvSpPr>
          <p:spPr>
            <a:xfrm>
              <a:off x="2363255" y="2866590"/>
              <a:ext cx="818015" cy="340093"/>
            </a:xfrm>
            <a:custGeom>
              <a:avLst/>
              <a:gdLst>
                <a:gd name="connsiteX0" fmla="*/ 9054 w 1297663"/>
                <a:gd name="connsiteY0" fmla="*/ 0 h 567350"/>
                <a:gd name="connsiteX1" fmla="*/ 0 w 1297663"/>
                <a:gd name="connsiteY1" fmla="*/ 377227 h 567350"/>
                <a:gd name="connsiteX2" fmla="*/ 298764 w 1297663"/>
                <a:gd name="connsiteY2" fmla="*/ 404388 h 567350"/>
                <a:gd name="connsiteX3" fmla="*/ 301782 w 1297663"/>
                <a:gd name="connsiteY3" fmla="*/ 567350 h 567350"/>
                <a:gd name="connsiteX4" fmla="*/ 754455 w 1297663"/>
                <a:gd name="connsiteY4" fmla="*/ 555279 h 567350"/>
                <a:gd name="connsiteX5" fmla="*/ 838955 w 1297663"/>
                <a:gd name="connsiteY5" fmla="*/ 555279 h 567350"/>
                <a:gd name="connsiteX6" fmla="*/ 1219200 w 1297663"/>
                <a:gd name="connsiteY6" fmla="*/ 534154 h 567350"/>
                <a:gd name="connsiteX7" fmla="*/ 1282574 w 1297663"/>
                <a:gd name="connsiteY7" fmla="*/ 534154 h 567350"/>
                <a:gd name="connsiteX8" fmla="*/ 1297663 w 1297663"/>
                <a:gd name="connsiteY8" fmla="*/ 534154 h 567350"/>
                <a:gd name="connsiteX9" fmla="*/ 1249378 w 1297663"/>
                <a:gd name="connsiteY9" fmla="*/ 467762 h 567350"/>
                <a:gd name="connsiteX10" fmla="*/ 1222218 w 1297663"/>
                <a:gd name="connsiteY10" fmla="*/ 413441 h 567350"/>
                <a:gd name="connsiteX11" fmla="*/ 1222218 w 1297663"/>
                <a:gd name="connsiteY11" fmla="*/ 334978 h 567350"/>
                <a:gd name="connsiteX12" fmla="*/ 1201093 w 1297663"/>
                <a:gd name="connsiteY12" fmla="*/ 283675 h 567350"/>
                <a:gd name="connsiteX13" fmla="*/ 1201093 w 1297663"/>
                <a:gd name="connsiteY13" fmla="*/ 256515 h 567350"/>
                <a:gd name="connsiteX14" fmla="*/ 1173933 w 1297663"/>
                <a:gd name="connsiteY14" fmla="*/ 229354 h 567350"/>
                <a:gd name="connsiteX15" fmla="*/ 1170915 w 1297663"/>
                <a:gd name="connsiteY15" fmla="*/ 202194 h 567350"/>
                <a:gd name="connsiteX16" fmla="*/ 1134701 w 1297663"/>
                <a:gd name="connsiteY16" fmla="*/ 147873 h 567350"/>
                <a:gd name="connsiteX17" fmla="*/ 1113576 w 1297663"/>
                <a:gd name="connsiteY17" fmla="*/ 75445 h 567350"/>
                <a:gd name="connsiteX18" fmla="*/ 1056238 w 1297663"/>
                <a:gd name="connsiteY18" fmla="*/ 45267 h 567350"/>
                <a:gd name="connsiteX19" fmla="*/ 1001917 w 1297663"/>
                <a:gd name="connsiteY19" fmla="*/ 48285 h 567350"/>
                <a:gd name="connsiteX20" fmla="*/ 983810 w 1297663"/>
                <a:gd name="connsiteY20" fmla="*/ 27160 h 567350"/>
                <a:gd name="connsiteX21" fmla="*/ 935525 w 1297663"/>
                <a:gd name="connsiteY21" fmla="*/ 9053 h 567350"/>
                <a:gd name="connsiteX22" fmla="*/ 872151 w 1297663"/>
                <a:gd name="connsiteY22" fmla="*/ 33196 h 567350"/>
                <a:gd name="connsiteX23" fmla="*/ 802741 w 1297663"/>
                <a:gd name="connsiteY23" fmla="*/ 0 h 567350"/>
                <a:gd name="connsiteX24" fmla="*/ 9054 w 1297663"/>
                <a:gd name="connsiteY24" fmla="*/ 0 h 567350"/>
                <a:gd name="connsiteX0" fmla="*/ 13813 w 1297663"/>
                <a:gd name="connsiteY0" fmla="*/ 0 h 576885"/>
                <a:gd name="connsiteX1" fmla="*/ 0 w 1297663"/>
                <a:gd name="connsiteY1" fmla="*/ 386762 h 576885"/>
                <a:gd name="connsiteX2" fmla="*/ 298764 w 1297663"/>
                <a:gd name="connsiteY2" fmla="*/ 413923 h 576885"/>
                <a:gd name="connsiteX3" fmla="*/ 301782 w 1297663"/>
                <a:gd name="connsiteY3" fmla="*/ 576885 h 576885"/>
                <a:gd name="connsiteX4" fmla="*/ 754455 w 1297663"/>
                <a:gd name="connsiteY4" fmla="*/ 564814 h 576885"/>
                <a:gd name="connsiteX5" fmla="*/ 838955 w 1297663"/>
                <a:gd name="connsiteY5" fmla="*/ 564814 h 576885"/>
                <a:gd name="connsiteX6" fmla="*/ 1219200 w 1297663"/>
                <a:gd name="connsiteY6" fmla="*/ 543689 h 576885"/>
                <a:gd name="connsiteX7" fmla="*/ 1282574 w 1297663"/>
                <a:gd name="connsiteY7" fmla="*/ 543689 h 576885"/>
                <a:gd name="connsiteX8" fmla="*/ 1297663 w 1297663"/>
                <a:gd name="connsiteY8" fmla="*/ 543689 h 576885"/>
                <a:gd name="connsiteX9" fmla="*/ 1249378 w 1297663"/>
                <a:gd name="connsiteY9" fmla="*/ 477297 h 576885"/>
                <a:gd name="connsiteX10" fmla="*/ 1222218 w 1297663"/>
                <a:gd name="connsiteY10" fmla="*/ 422976 h 576885"/>
                <a:gd name="connsiteX11" fmla="*/ 1222218 w 1297663"/>
                <a:gd name="connsiteY11" fmla="*/ 344513 h 576885"/>
                <a:gd name="connsiteX12" fmla="*/ 1201093 w 1297663"/>
                <a:gd name="connsiteY12" fmla="*/ 293210 h 576885"/>
                <a:gd name="connsiteX13" fmla="*/ 1201093 w 1297663"/>
                <a:gd name="connsiteY13" fmla="*/ 266050 h 576885"/>
                <a:gd name="connsiteX14" fmla="*/ 1173933 w 1297663"/>
                <a:gd name="connsiteY14" fmla="*/ 238889 h 576885"/>
                <a:gd name="connsiteX15" fmla="*/ 1170915 w 1297663"/>
                <a:gd name="connsiteY15" fmla="*/ 211729 h 576885"/>
                <a:gd name="connsiteX16" fmla="*/ 1134701 w 1297663"/>
                <a:gd name="connsiteY16" fmla="*/ 157408 h 576885"/>
                <a:gd name="connsiteX17" fmla="*/ 1113576 w 1297663"/>
                <a:gd name="connsiteY17" fmla="*/ 84980 h 576885"/>
                <a:gd name="connsiteX18" fmla="*/ 1056238 w 1297663"/>
                <a:gd name="connsiteY18" fmla="*/ 54802 h 576885"/>
                <a:gd name="connsiteX19" fmla="*/ 1001917 w 1297663"/>
                <a:gd name="connsiteY19" fmla="*/ 57820 h 576885"/>
                <a:gd name="connsiteX20" fmla="*/ 983810 w 1297663"/>
                <a:gd name="connsiteY20" fmla="*/ 36695 h 576885"/>
                <a:gd name="connsiteX21" fmla="*/ 935525 w 1297663"/>
                <a:gd name="connsiteY21" fmla="*/ 18588 h 576885"/>
                <a:gd name="connsiteX22" fmla="*/ 872151 w 1297663"/>
                <a:gd name="connsiteY22" fmla="*/ 42731 h 576885"/>
                <a:gd name="connsiteX23" fmla="*/ 802741 w 1297663"/>
                <a:gd name="connsiteY23" fmla="*/ 9535 h 576885"/>
                <a:gd name="connsiteX24" fmla="*/ 13813 w 1297663"/>
                <a:gd name="connsiteY24" fmla="*/ 0 h 576885"/>
                <a:gd name="connsiteX0" fmla="*/ 13813 w 1297663"/>
                <a:gd name="connsiteY0" fmla="*/ 0 h 576885"/>
                <a:gd name="connsiteX1" fmla="*/ 0 w 1297663"/>
                <a:gd name="connsiteY1" fmla="*/ 386762 h 576885"/>
                <a:gd name="connsiteX2" fmla="*/ 298764 w 1297663"/>
                <a:gd name="connsiteY2" fmla="*/ 413923 h 576885"/>
                <a:gd name="connsiteX3" fmla="*/ 301782 w 1297663"/>
                <a:gd name="connsiteY3" fmla="*/ 576885 h 576885"/>
                <a:gd name="connsiteX4" fmla="*/ 754455 w 1297663"/>
                <a:gd name="connsiteY4" fmla="*/ 564814 h 576885"/>
                <a:gd name="connsiteX5" fmla="*/ 838955 w 1297663"/>
                <a:gd name="connsiteY5" fmla="*/ 564814 h 576885"/>
                <a:gd name="connsiteX6" fmla="*/ 1219200 w 1297663"/>
                <a:gd name="connsiteY6" fmla="*/ 543689 h 576885"/>
                <a:gd name="connsiteX7" fmla="*/ 1282574 w 1297663"/>
                <a:gd name="connsiteY7" fmla="*/ 543689 h 576885"/>
                <a:gd name="connsiteX8" fmla="*/ 1297663 w 1297663"/>
                <a:gd name="connsiteY8" fmla="*/ 543689 h 576885"/>
                <a:gd name="connsiteX9" fmla="*/ 1249378 w 1297663"/>
                <a:gd name="connsiteY9" fmla="*/ 477297 h 576885"/>
                <a:gd name="connsiteX10" fmla="*/ 1222218 w 1297663"/>
                <a:gd name="connsiteY10" fmla="*/ 422976 h 576885"/>
                <a:gd name="connsiteX11" fmla="*/ 1222218 w 1297663"/>
                <a:gd name="connsiteY11" fmla="*/ 344513 h 576885"/>
                <a:gd name="connsiteX12" fmla="*/ 1201093 w 1297663"/>
                <a:gd name="connsiteY12" fmla="*/ 293210 h 576885"/>
                <a:gd name="connsiteX13" fmla="*/ 1201093 w 1297663"/>
                <a:gd name="connsiteY13" fmla="*/ 266050 h 576885"/>
                <a:gd name="connsiteX14" fmla="*/ 1173933 w 1297663"/>
                <a:gd name="connsiteY14" fmla="*/ 238889 h 576885"/>
                <a:gd name="connsiteX15" fmla="*/ 1170915 w 1297663"/>
                <a:gd name="connsiteY15" fmla="*/ 211729 h 576885"/>
                <a:gd name="connsiteX16" fmla="*/ 1134701 w 1297663"/>
                <a:gd name="connsiteY16" fmla="*/ 157408 h 576885"/>
                <a:gd name="connsiteX17" fmla="*/ 1113576 w 1297663"/>
                <a:gd name="connsiteY17" fmla="*/ 84980 h 576885"/>
                <a:gd name="connsiteX18" fmla="*/ 1056238 w 1297663"/>
                <a:gd name="connsiteY18" fmla="*/ 54802 h 576885"/>
                <a:gd name="connsiteX19" fmla="*/ 1001917 w 1297663"/>
                <a:gd name="connsiteY19" fmla="*/ 57820 h 576885"/>
                <a:gd name="connsiteX20" fmla="*/ 983810 w 1297663"/>
                <a:gd name="connsiteY20" fmla="*/ 36695 h 576885"/>
                <a:gd name="connsiteX21" fmla="*/ 935525 w 1297663"/>
                <a:gd name="connsiteY21" fmla="*/ 18588 h 576885"/>
                <a:gd name="connsiteX22" fmla="*/ 874530 w 1297663"/>
                <a:gd name="connsiteY22" fmla="*/ 30812 h 576885"/>
                <a:gd name="connsiteX23" fmla="*/ 802741 w 1297663"/>
                <a:gd name="connsiteY23" fmla="*/ 9535 h 576885"/>
                <a:gd name="connsiteX24" fmla="*/ 13813 w 1297663"/>
                <a:gd name="connsiteY24" fmla="*/ 0 h 57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97663" h="576885">
                  <a:moveTo>
                    <a:pt x="13813" y="0"/>
                  </a:moveTo>
                  <a:lnTo>
                    <a:pt x="0" y="386762"/>
                  </a:lnTo>
                  <a:lnTo>
                    <a:pt x="298764" y="413923"/>
                  </a:lnTo>
                  <a:lnTo>
                    <a:pt x="301782" y="576885"/>
                  </a:lnTo>
                  <a:lnTo>
                    <a:pt x="754455" y="564814"/>
                  </a:lnTo>
                  <a:lnTo>
                    <a:pt x="838955" y="564814"/>
                  </a:lnTo>
                  <a:lnTo>
                    <a:pt x="1219200" y="543689"/>
                  </a:lnTo>
                  <a:lnTo>
                    <a:pt x="1282574" y="543689"/>
                  </a:lnTo>
                  <a:lnTo>
                    <a:pt x="1297663" y="543689"/>
                  </a:lnTo>
                  <a:lnTo>
                    <a:pt x="1249378" y="477297"/>
                  </a:lnTo>
                  <a:lnTo>
                    <a:pt x="1222218" y="422976"/>
                  </a:lnTo>
                  <a:lnTo>
                    <a:pt x="1222218" y="344513"/>
                  </a:lnTo>
                  <a:lnTo>
                    <a:pt x="1201093" y="293210"/>
                  </a:lnTo>
                  <a:lnTo>
                    <a:pt x="1201093" y="266050"/>
                  </a:lnTo>
                  <a:lnTo>
                    <a:pt x="1173933" y="238889"/>
                  </a:lnTo>
                  <a:lnTo>
                    <a:pt x="1170915" y="211729"/>
                  </a:lnTo>
                  <a:lnTo>
                    <a:pt x="1134701" y="157408"/>
                  </a:lnTo>
                  <a:lnTo>
                    <a:pt x="1113576" y="84980"/>
                  </a:lnTo>
                  <a:lnTo>
                    <a:pt x="1056238" y="54802"/>
                  </a:lnTo>
                  <a:lnTo>
                    <a:pt x="1001917" y="57820"/>
                  </a:lnTo>
                  <a:lnTo>
                    <a:pt x="983810" y="36695"/>
                  </a:lnTo>
                  <a:lnTo>
                    <a:pt x="935525" y="18588"/>
                  </a:lnTo>
                  <a:lnTo>
                    <a:pt x="874530" y="30812"/>
                  </a:lnTo>
                  <a:lnTo>
                    <a:pt x="802741" y="9535"/>
                  </a:lnTo>
                  <a:lnTo>
                    <a:pt x="1381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5" name="Freeform 104"/>
            <p:cNvSpPr/>
            <p:nvPr/>
          </p:nvSpPr>
          <p:spPr>
            <a:xfrm>
              <a:off x="2542258" y="3185134"/>
              <a:ext cx="737012" cy="371010"/>
            </a:xfrm>
            <a:custGeom>
              <a:avLst/>
              <a:gdLst>
                <a:gd name="connsiteX0" fmla="*/ 15089 w 1170915"/>
                <a:gd name="connsiteY0" fmla="*/ 21125 h 618653"/>
                <a:gd name="connsiteX1" fmla="*/ 0 w 1170915"/>
                <a:gd name="connsiteY1" fmla="*/ 618653 h 618653"/>
                <a:gd name="connsiteX2" fmla="*/ 467763 w 1170915"/>
                <a:gd name="connsiteY2" fmla="*/ 615636 h 618653"/>
                <a:gd name="connsiteX3" fmla="*/ 636761 w 1170915"/>
                <a:gd name="connsiteY3" fmla="*/ 612618 h 618653"/>
                <a:gd name="connsiteX4" fmla="*/ 887240 w 1170915"/>
                <a:gd name="connsiteY4" fmla="*/ 588475 h 618653"/>
                <a:gd name="connsiteX5" fmla="*/ 1170915 w 1170915"/>
                <a:gd name="connsiteY5" fmla="*/ 561315 h 618653"/>
                <a:gd name="connsiteX6" fmla="*/ 1143755 w 1170915"/>
                <a:gd name="connsiteY6" fmla="*/ 168998 h 618653"/>
                <a:gd name="connsiteX7" fmla="*/ 1068309 w 1170915"/>
                <a:gd name="connsiteY7" fmla="*/ 93552 h 618653"/>
                <a:gd name="connsiteX8" fmla="*/ 1080380 w 1170915"/>
                <a:gd name="connsiteY8" fmla="*/ 45267 h 618653"/>
                <a:gd name="connsiteX9" fmla="*/ 1017006 w 1170915"/>
                <a:gd name="connsiteY9" fmla="*/ 0 h 618653"/>
                <a:gd name="connsiteX10" fmla="*/ 15089 w 1170915"/>
                <a:gd name="connsiteY10" fmla="*/ 21125 h 618653"/>
                <a:gd name="connsiteX0" fmla="*/ 15089 w 1170915"/>
                <a:gd name="connsiteY0" fmla="*/ 21125 h 618653"/>
                <a:gd name="connsiteX1" fmla="*/ 0 w 1170915"/>
                <a:gd name="connsiteY1" fmla="*/ 618653 h 618653"/>
                <a:gd name="connsiteX2" fmla="*/ 467763 w 1170915"/>
                <a:gd name="connsiteY2" fmla="*/ 615636 h 618653"/>
                <a:gd name="connsiteX3" fmla="*/ 636761 w 1170915"/>
                <a:gd name="connsiteY3" fmla="*/ 612618 h 618653"/>
                <a:gd name="connsiteX4" fmla="*/ 887240 w 1170915"/>
                <a:gd name="connsiteY4" fmla="*/ 588475 h 618653"/>
                <a:gd name="connsiteX5" fmla="*/ 1170915 w 1170915"/>
                <a:gd name="connsiteY5" fmla="*/ 561315 h 618653"/>
                <a:gd name="connsiteX6" fmla="*/ 1153288 w 1170915"/>
                <a:gd name="connsiteY6" fmla="*/ 168998 h 618653"/>
                <a:gd name="connsiteX7" fmla="*/ 1068309 w 1170915"/>
                <a:gd name="connsiteY7" fmla="*/ 93552 h 618653"/>
                <a:gd name="connsiteX8" fmla="*/ 1080380 w 1170915"/>
                <a:gd name="connsiteY8" fmla="*/ 45267 h 618653"/>
                <a:gd name="connsiteX9" fmla="*/ 1017006 w 1170915"/>
                <a:gd name="connsiteY9" fmla="*/ 0 h 618653"/>
                <a:gd name="connsiteX10" fmla="*/ 15089 w 1170915"/>
                <a:gd name="connsiteY10" fmla="*/ 21125 h 618653"/>
                <a:gd name="connsiteX0" fmla="*/ 15089 w 1170915"/>
                <a:gd name="connsiteY0" fmla="*/ 21125 h 618653"/>
                <a:gd name="connsiteX1" fmla="*/ 0 w 1170915"/>
                <a:gd name="connsiteY1" fmla="*/ 618653 h 618653"/>
                <a:gd name="connsiteX2" fmla="*/ 467763 w 1170915"/>
                <a:gd name="connsiteY2" fmla="*/ 615636 h 618653"/>
                <a:gd name="connsiteX3" fmla="*/ 636761 w 1170915"/>
                <a:gd name="connsiteY3" fmla="*/ 612618 h 618653"/>
                <a:gd name="connsiteX4" fmla="*/ 887240 w 1170915"/>
                <a:gd name="connsiteY4" fmla="*/ 588475 h 618653"/>
                <a:gd name="connsiteX5" fmla="*/ 1170915 w 1170915"/>
                <a:gd name="connsiteY5" fmla="*/ 561315 h 618653"/>
                <a:gd name="connsiteX6" fmla="*/ 1153288 w 1170915"/>
                <a:gd name="connsiteY6" fmla="*/ 168998 h 618653"/>
                <a:gd name="connsiteX7" fmla="*/ 1087505 w 1170915"/>
                <a:gd name="connsiteY7" fmla="*/ 98350 h 618653"/>
                <a:gd name="connsiteX8" fmla="*/ 1068309 w 1170915"/>
                <a:gd name="connsiteY8" fmla="*/ 93552 h 618653"/>
                <a:gd name="connsiteX9" fmla="*/ 1080380 w 1170915"/>
                <a:gd name="connsiteY9" fmla="*/ 45267 h 618653"/>
                <a:gd name="connsiteX10" fmla="*/ 1017006 w 1170915"/>
                <a:gd name="connsiteY10" fmla="*/ 0 h 618653"/>
                <a:gd name="connsiteX11" fmla="*/ 15089 w 1170915"/>
                <a:gd name="connsiteY11" fmla="*/ 21125 h 618653"/>
                <a:gd name="connsiteX0" fmla="*/ 15089 w 1170915"/>
                <a:gd name="connsiteY0" fmla="*/ 30643 h 628171"/>
                <a:gd name="connsiteX1" fmla="*/ 0 w 1170915"/>
                <a:gd name="connsiteY1" fmla="*/ 628171 h 628171"/>
                <a:gd name="connsiteX2" fmla="*/ 467763 w 1170915"/>
                <a:gd name="connsiteY2" fmla="*/ 625154 h 628171"/>
                <a:gd name="connsiteX3" fmla="*/ 636761 w 1170915"/>
                <a:gd name="connsiteY3" fmla="*/ 622136 h 628171"/>
                <a:gd name="connsiteX4" fmla="*/ 887240 w 1170915"/>
                <a:gd name="connsiteY4" fmla="*/ 597993 h 628171"/>
                <a:gd name="connsiteX5" fmla="*/ 1170915 w 1170915"/>
                <a:gd name="connsiteY5" fmla="*/ 570833 h 628171"/>
                <a:gd name="connsiteX6" fmla="*/ 1153288 w 1170915"/>
                <a:gd name="connsiteY6" fmla="*/ 178516 h 628171"/>
                <a:gd name="connsiteX7" fmla="*/ 1087505 w 1170915"/>
                <a:gd name="connsiteY7" fmla="*/ 107868 h 628171"/>
                <a:gd name="connsiteX8" fmla="*/ 1068309 w 1170915"/>
                <a:gd name="connsiteY8" fmla="*/ 103070 h 628171"/>
                <a:gd name="connsiteX9" fmla="*/ 1080380 w 1170915"/>
                <a:gd name="connsiteY9" fmla="*/ 54785 h 628171"/>
                <a:gd name="connsiteX10" fmla="*/ 1021773 w 1170915"/>
                <a:gd name="connsiteY10" fmla="*/ 0 h 628171"/>
                <a:gd name="connsiteX11" fmla="*/ 15089 w 1170915"/>
                <a:gd name="connsiteY11" fmla="*/ 30643 h 628171"/>
                <a:gd name="connsiteX0" fmla="*/ 15089 w 1170915"/>
                <a:gd name="connsiteY0" fmla="*/ 30643 h 628171"/>
                <a:gd name="connsiteX1" fmla="*/ 0 w 1170915"/>
                <a:gd name="connsiteY1" fmla="*/ 628171 h 628171"/>
                <a:gd name="connsiteX2" fmla="*/ 467763 w 1170915"/>
                <a:gd name="connsiteY2" fmla="*/ 625154 h 628171"/>
                <a:gd name="connsiteX3" fmla="*/ 636761 w 1170915"/>
                <a:gd name="connsiteY3" fmla="*/ 622136 h 628171"/>
                <a:gd name="connsiteX4" fmla="*/ 887240 w 1170915"/>
                <a:gd name="connsiteY4" fmla="*/ 597993 h 628171"/>
                <a:gd name="connsiteX5" fmla="*/ 1170915 w 1170915"/>
                <a:gd name="connsiteY5" fmla="*/ 570833 h 628171"/>
                <a:gd name="connsiteX6" fmla="*/ 1153288 w 1170915"/>
                <a:gd name="connsiteY6" fmla="*/ 178516 h 628171"/>
                <a:gd name="connsiteX7" fmla="*/ 1087505 w 1170915"/>
                <a:gd name="connsiteY7" fmla="*/ 107868 h 628171"/>
                <a:gd name="connsiteX8" fmla="*/ 1080380 w 1170915"/>
                <a:gd name="connsiteY8" fmla="*/ 54785 h 628171"/>
                <a:gd name="connsiteX9" fmla="*/ 1021773 w 1170915"/>
                <a:gd name="connsiteY9" fmla="*/ 0 h 628171"/>
                <a:gd name="connsiteX10" fmla="*/ 15089 w 1170915"/>
                <a:gd name="connsiteY10" fmla="*/ 30643 h 62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70915" h="628171">
                  <a:moveTo>
                    <a:pt x="15089" y="30643"/>
                  </a:moveTo>
                  <a:lnTo>
                    <a:pt x="0" y="628171"/>
                  </a:lnTo>
                  <a:lnTo>
                    <a:pt x="467763" y="625154"/>
                  </a:lnTo>
                  <a:lnTo>
                    <a:pt x="636761" y="622136"/>
                  </a:lnTo>
                  <a:lnTo>
                    <a:pt x="887240" y="597993"/>
                  </a:lnTo>
                  <a:lnTo>
                    <a:pt x="1170915" y="570833"/>
                  </a:lnTo>
                  <a:lnTo>
                    <a:pt x="1153288" y="178516"/>
                  </a:lnTo>
                  <a:cubicBezTo>
                    <a:pt x="1128183" y="154967"/>
                    <a:pt x="1112610" y="131417"/>
                    <a:pt x="1087505" y="107868"/>
                  </a:cubicBezTo>
                  <a:lnTo>
                    <a:pt x="1080380" y="54785"/>
                  </a:lnTo>
                  <a:lnTo>
                    <a:pt x="1021773" y="0"/>
                  </a:lnTo>
                  <a:lnTo>
                    <a:pt x="15089" y="306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6" name="Freeform 105"/>
            <p:cNvSpPr/>
            <p:nvPr/>
          </p:nvSpPr>
          <p:spPr>
            <a:xfrm>
              <a:off x="2452256" y="3524290"/>
              <a:ext cx="876016" cy="400054"/>
            </a:xfrm>
            <a:custGeom>
              <a:avLst/>
              <a:gdLst>
                <a:gd name="connsiteX0" fmla="*/ 0 w 1376126"/>
                <a:gd name="connsiteY0" fmla="*/ 51303 h 663920"/>
                <a:gd name="connsiteX1" fmla="*/ 3017 w 1376126"/>
                <a:gd name="connsiteY1" fmla="*/ 147873 h 663920"/>
                <a:gd name="connsiteX2" fmla="*/ 464744 w 1376126"/>
                <a:gd name="connsiteY2" fmla="*/ 156926 h 663920"/>
                <a:gd name="connsiteX3" fmla="*/ 461726 w 1376126"/>
                <a:gd name="connsiteY3" fmla="*/ 513029 h 663920"/>
                <a:gd name="connsiteX4" fmla="*/ 482851 w 1376126"/>
                <a:gd name="connsiteY4" fmla="*/ 525101 h 663920"/>
                <a:gd name="connsiteX5" fmla="*/ 525101 w 1376126"/>
                <a:gd name="connsiteY5" fmla="*/ 528118 h 663920"/>
                <a:gd name="connsiteX6" fmla="*/ 549243 w 1376126"/>
                <a:gd name="connsiteY6" fmla="*/ 534154 h 663920"/>
                <a:gd name="connsiteX7" fmla="*/ 564332 w 1376126"/>
                <a:gd name="connsiteY7" fmla="*/ 546225 h 663920"/>
                <a:gd name="connsiteX8" fmla="*/ 609600 w 1376126"/>
                <a:gd name="connsiteY8" fmla="*/ 540190 h 663920"/>
                <a:gd name="connsiteX9" fmla="*/ 633742 w 1376126"/>
                <a:gd name="connsiteY9" fmla="*/ 585457 h 663920"/>
                <a:gd name="connsiteX10" fmla="*/ 663920 w 1376126"/>
                <a:gd name="connsiteY10" fmla="*/ 579421 h 663920"/>
                <a:gd name="connsiteX11" fmla="*/ 691081 w 1376126"/>
                <a:gd name="connsiteY11" fmla="*/ 597528 h 663920"/>
                <a:gd name="connsiteX12" fmla="*/ 757473 w 1376126"/>
                <a:gd name="connsiteY12" fmla="*/ 585457 h 663920"/>
                <a:gd name="connsiteX13" fmla="*/ 841972 w 1376126"/>
                <a:gd name="connsiteY13" fmla="*/ 630724 h 663920"/>
                <a:gd name="connsiteX14" fmla="*/ 884221 w 1376126"/>
                <a:gd name="connsiteY14" fmla="*/ 615635 h 663920"/>
                <a:gd name="connsiteX15" fmla="*/ 920435 w 1376126"/>
                <a:gd name="connsiteY15" fmla="*/ 642796 h 663920"/>
                <a:gd name="connsiteX16" fmla="*/ 962685 w 1376126"/>
                <a:gd name="connsiteY16" fmla="*/ 636760 h 663920"/>
                <a:gd name="connsiteX17" fmla="*/ 1001917 w 1376126"/>
                <a:gd name="connsiteY17" fmla="*/ 648831 h 663920"/>
                <a:gd name="connsiteX18" fmla="*/ 1038130 w 1376126"/>
                <a:gd name="connsiteY18" fmla="*/ 645813 h 663920"/>
                <a:gd name="connsiteX19" fmla="*/ 1074344 w 1376126"/>
                <a:gd name="connsiteY19" fmla="*/ 663920 h 663920"/>
                <a:gd name="connsiteX20" fmla="*/ 1095469 w 1376126"/>
                <a:gd name="connsiteY20" fmla="*/ 660903 h 663920"/>
                <a:gd name="connsiteX21" fmla="*/ 1146772 w 1376126"/>
                <a:gd name="connsiteY21" fmla="*/ 624689 h 663920"/>
                <a:gd name="connsiteX22" fmla="*/ 1186004 w 1376126"/>
                <a:gd name="connsiteY22" fmla="*/ 615635 h 663920"/>
                <a:gd name="connsiteX23" fmla="*/ 1237307 w 1376126"/>
                <a:gd name="connsiteY23" fmla="*/ 621671 h 663920"/>
                <a:gd name="connsiteX24" fmla="*/ 1270503 w 1376126"/>
                <a:gd name="connsiteY24" fmla="*/ 609600 h 663920"/>
                <a:gd name="connsiteX25" fmla="*/ 1376126 w 1376126"/>
                <a:gd name="connsiteY25" fmla="*/ 657885 h 663920"/>
                <a:gd name="connsiteX26" fmla="*/ 1370091 w 1376126"/>
                <a:gd name="connsiteY26" fmla="*/ 353085 h 663920"/>
                <a:gd name="connsiteX27" fmla="*/ 1345948 w 1376126"/>
                <a:gd name="connsiteY27" fmla="*/ 196158 h 663920"/>
                <a:gd name="connsiteX28" fmla="*/ 1333877 w 1376126"/>
                <a:gd name="connsiteY28" fmla="*/ 90534 h 663920"/>
                <a:gd name="connsiteX29" fmla="*/ 1312752 w 1376126"/>
                <a:gd name="connsiteY29" fmla="*/ 0 h 663920"/>
                <a:gd name="connsiteX30" fmla="*/ 742384 w 1376126"/>
                <a:gd name="connsiteY30" fmla="*/ 45267 h 663920"/>
                <a:gd name="connsiteX31" fmla="*/ 0 w 1376126"/>
                <a:gd name="connsiteY31" fmla="*/ 51303 h 663920"/>
                <a:gd name="connsiteX0" fmla="*/ 0 w 1376126"/>
                <a:gd name="connsiteY0" fmla="*/ 51303 h 663920"/>
                <a:gd name="connsiteX1" fmla="*/ 3017 w 1376126"/>
                <a:gd name="connsiteY1" fmla="*/ 147873 h 663920"/>
                <a:gd name="connsiteX2" fmla="*/ 464744 w 1376126"/>
                <a:gd name="connsiteY2" fmla="*/ 156926 h 663920"/>
                <a:gd name="connsiteX3" fmla="*/ 461726 w 1376126"/>
                <a:gd name="connsiteY3" fmla="*/ 513029 h 663920"/>
                <a:gd name="connsiteX4" fmla="*/ 482851 w 1376126"/>
                <a:gd name="connsiteY4" fmla="*/ 525101 h 663920"/>
                <a:gd name="connsiteX5" fmla="*/ 525101 w 1376126"/>
                <a:gd name="connsiteY5" fmla="*/ 528118 h 663920"/>
                <a:gd name="connsiteX6" fmla="*/ 549243 w 1376126"/>
                <a:gd name="connsiteY6" fmla="*/ 534154 h 663920"/>
                <a:gd name="connsiteX7" fmla="*/ 564332 w 1376126"/>
                <a:gd name="connsiteY7" fmla="*/ 546225 h 663920"/>
                <a:gd name="connsiteX8" fmla="*/ 607114 w 1376126"/>
                <a:gd name="connsiteY8" fmla="*/ 550001 h 663920"/>
                <a:gd name="connsiteX9" fmla="*/ 633742 w 1376126"/>
                <a:gd name="connsiteY9" fmla="*/ 585457 h 663920"/>
                <a:gd name="connsiteX10" fmla="*/ 663920 w 1376126"/>
                <a:gd name="connsiteY10" fmla="*/ 579421 h 663920"/>
                <a:gd name="connsiteX11" fmla="*/ 691081 w 1376126"/>
                <a:gd name="connsiteY11" fmla="*/ 597528 h 663920"/>
                <a:gd name="connsiteX12" fmla="*/ 757473 w 1376126"/>
                <a:gd name="connsiteY12" fmla="*/ 585457 h 663920"/>
                <a:gd name="connsiteX13" fmla="*/ 841972 w 1376126"/>
                <a:gd name="connsiteY13" fmla="*/ 630724 h 663920"/>
                <a:gd name="connsiteX14" fmla="*/ 884221 w 1376126"/>
                <a:gd name="connsiteY14" fmla="*/ 615635 h 663920"/>
                <a:gd name="connsiteX15" fmla="*/ 920435 w 1376126"/>
                <a:gd name="connsiteY15" fmla="*/ 642796 h 663920"/>
                <a:gd name="connsiteX16" fmla="*/ 962685 w 1376126"/>
                <a:gd name="connsiteY16" fmla="*/ 636760 h 663920"/>
                <a:gd name="connsiteX17" fmla="*/ 1001917 w 1376126"/>
                <a:gd name="connsiteY17" fmla="*/ 648831 h 663920"/>
                <a:gd name="connsiteX18" fmla="*/ 1038130 w 1376126"/>
                <a:gd name="connsiteY18" fmla="*/ 645813 h 663920"/>
                <a:gd name="connsiteX19" fmla="*/ 1074344 w 1376126"/>
                <a:gd name="connsiteY19" fmla="*/ 663920 h 663920"/>
                <a:gd name="connsiteX20" fmla="*/ 1095469 w 1376126"/>
                <a:gd name="connsiteY20" fmla="*/ 660903 h 663920"/>
                <a:gd name="connsiteX21" fmla="*/ 1146772 w 1376126"/>
                <a:gd name="connsiteY21" fmla="*/ 624689 h 663920"/>
                <a:gd name="connsiteX22" fmla="*/ 1186004 w 1376126"/>
                <a:gd name="connsiteY22" fmla="*/ 615635 h 663920"/>
                <a:gd name="connsiteX23" fmla="*/ 1237307 w 1376126"/>
                <a:gd name="connsiteY23" fmla="*/ 621671 h 663920"/>
                <a:gd name="connsiteX24" fmla="*/ 1270503 w 1376126"/>
                <a:gd name="connsiteY24" fmla="*/ 609600 h 663920"/>
                <a:gd name="connsiteX25" fmla="*/ 1376126 w 1376126"/>
                <a:gd name="connsiteY25" fmla="*/ 657885 h 663920"/>
                <a:gd name="connsiteX26" fmla="*/ 1370091 w 1376126"/>
                <a:gd name="connsiteY26" fmla="*/ 353085 h 663920"/>
                <a:gd name="connsiteX27" fmla="*/ 1345948 w 1376126"/>
                <a:gd name="connsiteY27" fmla="*/ 196158 h 663920"/>
                <a:gd name="connsiteX28" fmla="*/ 1333877 w 1376126"/>
                <a:gd name="connsiteY28" fmla="*/ 90534 h 663920"/>
                <a:gd name="connsiteX29" fmla="*/ 1312752 w 1376126"/>
                <a:gd name="connsiteY29" fmla="*/ 0 h 663920"/>
                <a:gd name="connsiteX30" fmla="*/ 742384 w 1376126"/>
                <a:gd name="connsiteY30" fmla="*/ 45267 h 663920"/>
                <a:gd name="connsiteX31" fmla="*/ 0 w 1376126"/>
                <a:gd name="connsiteY31" fmla="*/ 51303 h 663920"/>
                <a:gd name="connsiteX0" fmla="*/ 0 w 1376126"/>
                <a:gd name="connsiteY0" fmla="*/ 51303 h 663920"/>
                <a:gd name="connsiteX1" fmla="*/ 3017 w 1376126"/>
                <a:gd name="connsiteY1" fmla="*/ 147873 h 663920"/>
                <a:gd name="connsiteX2" fmla="*/ 464744 w 1376126"/>
                <a:gd name="connsiteY2" fmla="*/ 156926 h 663920"/>
                <a:gd name="connsiteX3" fmla="*/ 461726 w 1376126"/>
                <a:gd name="connsiteY3" fmla="*/ 513029 h 663920"/>
                <a:gd name="connsiteX4" fmla="*/ 482851 w 1376126"/>
                <a:gd name="connsiteY4" fmla="*/ 525101 h 663920"/>
                <a:gd name="connsiteX5" fmla="*/ 525101 w 1376126"/>
                <a:gd name="connsiteY5" fmla="*/ 528118 h 663920"/>
                <a:gd name="connsiteX6" fmla="*/ 549243 w 1376126"/>
                <a:gd name="connsiteY6" fmla="*/ 534154 h 663920"/>
                <a:gd name="connsiteX7" fmla="*/ 564332 w 1376126"/>
                <a:gd name="connsiteY7" fmla="*/ 546225 h 663920"/>
                <a:gd name="connsiteX8" fmla="*/ 607114 w 1376126"/>
                <a:gd name="connsiteY8" fmla="*/ 550001 h 663920"/>
                <a:gd name="connsiteX9" fmla="*/ 633742 w 1376126"/>
                <a:gd name="connsiteY9" fmla="*/ 585457 h 663920"/>
                <a:gd name="connsiteX10" fmla="*/ 666187 w 1376126"/>
                <a:gd name="connsiteY10" fmla="*/ 589252 h 663920"/>
                <a:gd name="connsiteX11" fmla="*/ 691081 w 1376126"/>
                <a:gd name="connsiteY11" fmla="*/ 597528 h 663920"/>
                <a:gd name="connsiteX12" fmla="*/ 757473 w 1376126"/>
                <a:gd name="connsiteY12" fmla="*/ 585457 h 663920"/>
                <a:gd name="connsiteX13" fmla="*/ 841972 w 1376126"/>
                <a:gd name="connsiteY13" fmla="*/ 630724 h 663920"/>
                <a:gd name="connsiteX14" fmla="*/ 884221 w 1376126"/>
                <a:gd name="connsiteY14" fmla="*/ 615635 h 663920"/>
                <a:gd name="connsiteX15" fmla="*/ 920435 w 1376126"/>
                <a:gd name="connsiteY15" fmla="*/ 642796 h 663920"/>
                <a:gd name="connsiteX16" fmla="*/ 962685 w 1376126"/>
                <a:gd name="connsiteY16" fmla="*/ 636760 h 663920"/>
                <a:gd name="connsiteX17" fmla="*/ 1001917 w 1376126"/>
                <a:gd name="connsiteY17" fmla="*/ 648831 h 663920"/>
                <a:gd name="connsiteX18" fmla="*/ 1038130 w 1376126"/>
                <a:gd name="connsiteY18" fmla="*/ 645813 h 663920"/>
                <a:gd name="connsiteX19" fmla="*/ 1074344 w 1376126"/>
                <a:gd name="connsiteY19" fmla="*/ 663920 h 663920"/>
                <a:gd name="connsiteX20" fmla="*/ 1095469 w 1376126"/>
                <a:gd name="connsiteY20" fmla="*/ 660903 h 663920"/>
                <a:gd name="connsiteX21" fmla="*/ 1146772 w 1376126"/>
                <a:gd name="connsiteY21" fmla="*/ 624689 h 663920"/>
                <a:gd name="connsiteX22" fmla="*/ 1186004 w 1376126"/>
                <a:gd name="connsiteY22" fmla="*/ 615635 h 663920"/>
                <a:gd name="connsiteX23" fmla="*/ 1237307 w 1376126"/>
                <a:gd name="connsiteY23" fmla="*/ 621671 h 663920"/>
                <a:gd name="connsiteX24" fmla="*/ 1270503 w 1376126"/>
                <a:gd name="connsiteY24" fmla="*/ 609600 h 663920"/>
                <a:gd name="connsiteX25" fmla="*/ 1376126 w 1376126"/>
                <a:gd name="connsiteY25" fmla="*/ 657885 h 663920"/>
                <a:gd name="connsiteX26" fmla="*/ 1370091 w 1376126"/>
                <a:gd name="connsiteY26" fmla="*/ 353085 h 663920"/>
                <a:gd name="connsiteX27" fmla="*/ 1345948 w 1376126"/>
                <a:gd name="connsiteY27" fmla="*/ 196158 h 663920"/>
                <a:gd name="connsiteX28" fmla="*/ 1333877 w 1376126"/>
                <a:gd name="connsiteY28" fmla="*/ 90534 h 663920"/>
                <a:gd name="connsiteX29" fmla="*/ 1312752 w 1376126"/>
                <a:gd name="connsiteY29" fmla="*/ 0 h 663920"/>
                <a:gd name="connsiteX30" fmla="*/ 742384 w 1376126"/>
                <a:gd name="connsiteY30" fmla="*/ 45267 h 663920"/>
                <a:gd name="connsiteX31" fmla="*/ 0 w 1376126"/>
                <a:gd name="connsiteY31" fmla="*/ 51303 h 663920"/>
                <a:gd name="connsiteX0" fmla="*/ 0 w 1390176"/>
                <a:gd name="connsiteY0" fmla="*/ 51303 h 677287"/>
                <a:gd name="connsiteX1" fmla="*/ 3017 w 1390176"/>
                <a:gd name="connsiteY1" fmla="*/ 147873 h 677287"/>
                <a:gd name="connsiteX2" fmla="*/ 464744 w 1390176"/>
                <a:gd name="connsiteY2" fmla="*/ 156926 h 677287"/>
                <a:gd name="connsiteX3" fmla="*/ 461726 w 1390176"/>
                <a:gd name="connsiteY3" fmla="*/ 513029 h 677287"/>
                <a:gd name="connsiteX4" fmla="*/ 482851 w 1390176"/>
                <a:gd name="connsiteY4" fmla="*/ 525101 h 677287"/>
                <a:gd name="connsiteX5" fmla="*/ 525101 w 1390176"/>
                <a:gd name="connsiteY5" fmla="*/ 528118 h 677287"/>
                <a:gd name="connsiteX6" fmla="*/ 549243 w 1390176"/>
                <a:gd name="connsiteY6" fmla="*/ 534154 h 677287"/>
                <a:gd name="connsiteX7" fmla="*/ 564332 w 1390176"/>
                <a:gd name="connsiteY7" fmla="*/ 546225 h 677287"/>
                <a:gd name="connsiteX8" fmla="*/ 607114 w 1390176"/>
                <a:gd name="connsiteY8" fmla="*/ 550001 h 677287"/>
                <a:gd name="connsiteX9" fmla="*/ 633742 w 1390176"/>
                <a:gd name="connsiteY9" fmla="*/ 585457 h 677287"/>
                <a:gd name="connsiteX10" fmla="*/ 666187 w 1390176"/>
                <a:gd name="connsiteY10" fmla="*/ 589252 h 677287"/>
                <a:gd name="connsiteX11" fmla="*/ 691081 w 1390176"/>
                <a:gd name="connsiteY11" fmla="*/ 597528 h 677287"/>
                <a:gd name="connsiteX12" fmla="*/ 757473 w 1390176"/>
                <a:gd name="connsiteY12" fmla="*/ 585457 h 677287"/>
                <a:gd name="connsiteX13" fmla="*/ 841972 w 1390176"/>
                <a:gd name="connsiteY13" fmla="*/ 630724 h 677287"/>
                <a:gd name="connsiteX14" fmla="*/ 884221 w 1390176"/>
                <a:gd name="connsiteY14" fmla="*/ 615635 h 677287"/>
                <a:gd name="connsiteX15" fmla="*/ 920435 w 1390176"/>
                <a:gd name="connsiteY15" fmla="*/ 642796 h 677287"/>
                <a:gd name="connsiteX16" fmla="*/ 962685 w 1390176"/>
                <a:gd name="connsiteY16" fmla="*/ 636760 h 677287"/>
                <a:gd name="connsiteX17" fmla="*/ 1001917 w 1390176"/>
                <a:gd name="connsiteY17" fmla="*/ 648831 h 677287"/>
                <a:gd name="connsiteX18" fmla="*/ 1038130 w 1390176"/>
                <a:gd name="connsiteY18" fmla="*/ 645813 h 677287"/>
                <a:gd name="connsiteX19" fmla="*/ 1074344 w 1390176"/>
                <a:gd name="connsiteY19" fmla="*/ 663920 h 677287"/>
                <a:gd name="connsiteX20" fmla="*/ 1095469 w 1390176"/>
                <a:gd name="connsiteY20" fmla="*/ 660903 h 677287"/>
                <a:gd name="connsiteX21" fmla="*/ 1146772 w 1390176"/>
                <a:gd name="connsiteY21" fmla="*/ 624689 h 677287"/>
                <a:gd name="connsiteX22" fmla="*/ 1186004 w 1390176"/>
                <a:gd name="connsiteY22" fmla="*/ 615635 h 677287"/>
                <a:gd name="connsiteX23" fmla="*/ 1237307 w 1390176"/>
                <a:gd name="connsiteY23" fmla="*/ 621671 h 677287"/>
                <a:gd name="connsiteX24" fmla="*/ 1270503 w 1390176"/>
                <a:gd name="connsiteY24" fmla="*/ 609600 h 677287"/>
                <a:gd name="connsiteX25" fmla="*/ 1390176 w 1390176"/>
                <a:gd name="connsiteY25" fmla="*/ 677287 h 677287"/>
                <a:gd name="connsiteX26" fmla="*/ 1370091 w 1390176"/>
                <a:gd name="connsiteY26" fmla="*/ 353085 h 677287"/>
                <a:gd name="connsiteX27" fmla="*/ 1345948 w 1390176"/>
                <a:gd name="connsiteY27" fmla="*/ 196158 h 677287"/>
                <a:gd name="connsiteX28" fmla="*/ 1333877 w 1390176"/>
                <a:gd name="connsiteY28" fmla="*/ 90534 h 677287"/>
                <a:gd name="connsiteX29" fmla="*/ 1312752 w 1390176"/>
                <a:gd name="connsiteY29" fmla="*/ 0 h 677287"/>
                <a:gd name="connsiteX30" fmla="*/ 742384 w 1390176"/>
                <a:gd name="connsiteY30" fmla="*/ 45267 h 677287"/>
                <a:gd name="connsiteX31" fmla="*/ 0 w 1390176"/>
                <a:gd name="connsiteY31" fmla="*/ 51303 h 677287"/>
                <a:gd name="connsiteX0" fmla="*/ 0 w 1390176"/>
                <a:gd name="connsiteY0" fmla="*/ 51303 h 677287"/>
                <a:gd name="connsiteX1" fmla="*/ 3017 w 1390176"/>
                <a:gd name="connsiteY1" fmla="*/ 147873 h 677287"/>
                <a:gd name="connsiteX2" fmla="*/ 464744 w 1390176"/>
                <a:gd name="connsiteY2" fmla="*/ 156926 h 677287"/>
                <a:gd name="connsiteX3" fmla="*/ 461726 w 1390176"/>
                <a:gd name="connsiteY3" fmla="*/ 513029 h 677287"/>
                <a:gd name="connsiteX4" fmla="*/ 482851 w 1390176"/>
                <a:gd name="connsiteY4" fmla="*/ 525101 h 677287"/>
                <a:gd name="connsiteX5" fmla="*/ 525101 w 1390176"/>
                <a:gd name="connsiteY5" fmla="*/ 528118 h 677287"/>
                <a:gd name="connsiteX6" fmla="*/ 549243 w 1390176"/>
                <a:gd name="connsiteY6" fmla="*/ 534154 h 677287"/>
                <a:gd name="connsiteX7" fmla="*/ 564332 w 1390176"/>
                <a:gd name="connsiteY7" fmla="*/ 546225 h 677287"/>
                <a:gd name="connsiteX8" fmla="*/ 607114 w 1390176"/>
                <a:gd name="connsiteY8" fmla="*/ 550001 h 677287"/>
                <a:gd name="connsiteX9" fmla="*/ 633742 w 1390176"/>
                <a:gd name="connsiteY9" fmla="*/ 585457 h 677287"/>
                <a:gd name="connsiteX10" fmla="*/ 666187 w 1390176"/>
                <a:gd name="connsiteY10" fmla="*/ 589252 h 677287"/>
                <a:gd name="connsiteX11" fmla="*/ 691081 w 1390176"/>
                <a:gd name="connsiteY11" fmla="*/ 597528 h 677287"/>
                <a:gd name="connsiteX12" fmla="*/ 757473 w 1390176"/>
                <a:gd name="connsiteY12" fmla="*/ 585457 h 677287"/>
                <a:gd name="connsiteX13" fmla="*/ 841972 w 1390176"/>
                <a:gd name="connsiteY13" fmla="*/ 630724 h 677287"/>
                <a:gd name="connsiteX14" fmla="*/ 884221 w 1390176"/>
                <a:gd name="connsiteY14" fmla="*/ 615635 h 677287"/>
                <a:gd name="connsiteX15" fmla="*/ 920435 w 1390176"/>
                <a:gd name="connsiteY15" fmla="*/ 642796 h 677287"/>
                <a:gd name="connsiteX16" fmla="*/ 962685 w 1390176"/>
                <a:gd name="connsiteY16" fmla="*/ 636760 h 677287"/>
                <a:gd name="connsiteX17" fmla="*/ 1001917 w 1390176"/>
                <a:gd name="connsiteY17" fmla="*/ 648831 h 677287"/>
                <a:gd name="connsiteX18" fmla="*/ 1038130 w 1390176"/>
                <a:gd name="connsiteY18" fmla="*/ 645813 h 677287"/>
                <a:gd name="connsiteX19" fmla="*/ 1074344 w 1390176"/>
                <a:gd name="connsiteY19" fmla="*/ 663920 h 677287"/>
                <a:gd name="connsiteX20" fmla="*/ 1095469 w 1390176"/>
                <a:gd name="connsiteY20" fmla="*/ 660903 h 677287"/>
                <a:gd name="connsiteX21" fmla="*/ 1146772 w 1390176"/>
                <a:gd name="connsiteY21" fmla="*/ 624689 h 677287"/>
                <a:gd name="connsiteX22" fmla="*/ 1186004 w 1390176"/>
                <a:gd name="connsiteY22" fmla="*/ 615635 h 677287"/>
                <a:gd name="connsiteX23" fmla="*/ 1237307 w 1390176"/>
                <a:gd name="connsiteY23" fmla="*/ 621671 h 677287"/>
                <a:gd name="connsiteX24" fmla="*/ 1270503 w 1390176"/>
                <a:gd name="connsiteY24" fmla="*/ 609600 h 677287"/>
                <a:gd name="connsiteX25" fmla="*/ 1390176 w 1390176"/>
                <a:gd name="connsiteY25" fmla="*/ 677287 h 677287"/>
                <a:gd name="connsiteX26" fmla="*/ 1381761 w 1390176"/>
                <a:gd name="connsiteY26" fmla="*/ 353269 h 677287"/>
                <a:gd name="connsiteX27" fmla="*/ 1345948 w 1390176"/>
                <a:gd name="connsiteY27" fmla="*/ 196158 h 677287"/>
                <a:gd name="connsiteX28" fmla="*/ 1333877 w 1390176"/>
                <a:gd name="connsiteY28" fmla="*/ 90534 h 677287"/>
                <a:gd name="connsiteX29" fmla="*/ 1312752 w 1390176"/>
                <a:gd name="connsiteY29" fmla="*/ 0 h 677287"/>
                <a:gd name="connsiteX30" fmla="*/ 742384 w 1390176"/>
                <a:gd name="connsiteY30" fmla="*/ 45267 h 677287"/>
                <a:gd name="connsiteX31" fmla="*/ 0 w 1390176"/>
                <a:gd name="connsiteY31" fmla="*/ 51303 h 677287"/>
                <a:gd name="connsiteX0" fmla="*/ 0 w 1390176"/>
                <a:gd name="connsiteY0" fmla="*/ 51303 h 677287"/>
                <a:gd name="connsiteX1" fmla="*/ 3017 w 1390176"/>
                <a:gd name="connsiteY1" fmla="*/ 147873 h 677287"/>
                <a:gd name="connsiteX2" fmla="*/ 464744 w 1390176"/>
                <a:gd name="connsiteY2" fmla="*/ 156926 h 677287"/>
                <a:gd name="connsiteX3" fmla="*/ 461726 w 1390176"/>
                <a:gd name="connsiteY3" fmla="*/ 513029 h 677287"/>
                <a:gd name="connsiteX4" fmla="*/ 482851 w 1390176"/>
                <a:gd name="connsiteY4" fmla="*/ 525101 h 677287"/>
                <a:gd name="connsiteX5" fmla="*/ 525101 w 1390176"/>
                <a:gd name="connsiteY5" fmla="*/ 528118 h 677287"/>
                <a:gd name="connsiteX6" fmla="*/ 549243 w 1390176"/>
                <a:gd name="connsiteY6" fmla="*/ 534154 h 677287"/>
                <a:gd name="connsiteX7" fmla="*/ 564332 w 1390176"/>
                <a:gd name="connsiteY7" fmla="*/ 546225 h 677287"/>
                <a:gd name="connsiteX8" fmla="*/ 607114 w 1390176"/>
                <a:gd name="connsiteY8" fmla="*/ 550001 h 677287"/>
                <a:gd name="connsiteX9" fmla="*/ 633742 w 1390176"/>
                <a:gd name="connsiteY9" fmla="*/ 585457 h 677287"/>
                <a:gd name="connsiteX10" fmla="*/ 666187 w 1390176"/>
                <a:gd name="connsiteY10" fmla="*/ 589252 h 677287"/>
                <a:gd name="connsiteX11" fmla="*/ 691081 w 1390176"/>
                <a:gd name="connsiteY11" fmla="*/ 597528 h 677287"/>
                <a:gd name="connsiteX12" fmla="*/ 757473 w 1390176"/>
                <a:gd name="connsiteY12" fmla="*/ 585457 h 677287"/>
                <a:gd name="connsiteX13" fmla="*/ 841972 w 1390176"/>
                <a:gd name="connsiteY13" fmla="*/ 630724 h 677287"/>
                <a:gd name="connsiteX14" fmla="*/ 884221 w 1390176"/>
                <a:gd name="connsiteY14" fmla="*/ 615635 h 677287"/>
                <a:gd name="connsiteX15" fmla="*/ 920435 w 1390176"/>
                <a:gd name="connsiteY15" fmla="*/ 642796 h 677287"/>
                <a:gd name="connsiteX16" fmla="*/ 962685 w 1390176"/>
                <a:gd name="connsiteY16" fmla="*/ 636760 h 677287"/>
                <a:gd name="connsiteX17" fmla="*/ 1001917 w 1390176"/>
                <a:gd name="connsiteY17" fmla="*/ 648831 h 677287"/>
                <a:gd name="connsiteX18" fmla="*/ 1038130 w 1390176"/>
                <a:gd name="connsiteY18" fmla="*/ 645813 h 677287"/>
                <a:gd name="connsiteX19" fmla="*/ 1074344 w 1390176"/>
                <a:gd name="connsiteY19" fmla="*/ 663920 h 677287"/>
                <a:gd name="connsiteX20" fmla="*/ 1095469 w 1390176"/>
                <a:gd name="connsiteY20" fmla="*/ 660903 h 677287"/>
                <a:gd name="connsiteX21" fmla="*/ 1146772 w 1390176"/>
                <a:gd name="connsiteY21" fmla="*/ 624689 h 677287"/>
                <a:gd name="connsiteX22" fmla="*/ 1186004 w 1390176"/>
                <a:gd name="connsiteY22" fmla="*/ 615635 h 677287"/>
                <a:gd name="connsiteX23" fmla="*/ 1237307 w 1390176"/>
                <a:gd name="connsiteY23" fmla="*/ 621671 h 677287"/>
                <a:gd name="connsiteX24" fmla="*/ 1270503 w 1390176"/>
                <a:gd name="connsiteY24" fmla="*/ 609600 h 677287"/>
                <a:gd name="connsiteX25" fmla="*/ 1390176 w 1390176"/>
                <a:gd name="connsiteY25" fmla="*/ 677287 h 677287"/>
                <a:gd name="connsiteX26" fmla="*/ 1381761 w 1390176"/>
                <a:gd name="connsiteY26" fmla="*/ 353269 h 677287"/>
                <a:gd name="connsiteX27" fmla="*/ 1362384 w 1390176"/>
                <a:gd name="connsiteY27" fmla="*/ 196260 h 677287"/>
                <a:gd name="connsiteX28" fmla="*/ 1333877 w 1390176"/>
                <a:gd name="connsiteY28" fmla="*/ 90534 h 677287"/>
                <a:gd name="connsiteX29" fmla="*/ 1312752 w 1390176"/>
                <a:gd name="connsiteY29" fmla="*/ 0 h 677287"/>
                <a:gd name="connsiteX30" fmla="*/ 742384 w 1390176"/>
                <a:gd name="connsiteY30" fmla="*/ 45267 h 677287"/>
                <a:gd name="connsiteX31" fmla="*/ 0 w 1390176"/>
                <a:gd name="connsiteY31" fmla="*/ 51303 h 677287"/>
                <a:gd name="connsiteX0" fmla="*/ 0 w 1390176"/>
                <a:gd name="connsiteY0" fmla="*/ 51303 h 677924"/>
                <a:gd name="connsiteX1" fmla="*/ 3017 w 1390176"/>
                <a:gd name="connsiteY1" fmla="*/ 147873 h 677924"/>
                <a:gd name="connsiteX2" fmla="*/ 464744 w 1390176"/>
                <a:gd name="connsiteY2" fmla="*/ 156926 h 677924"/>
                <a:gd name="connsiteX3" fmla="*/ 461726 w 1390176"/>
                <a:gd name="connsiteY3" fmla="*/ 513029 h 677924"/>
                <a:gd name="connsiteX4" fmla="*/ 482851 w 1390176"/>
                <a:gd name="connsiteY4" fmla="*/ 525101 h 677924"/>
                <a:gd name="connsiteX5" fmla="*/ 525101 w 1390176"/>
                <a:gd name="connsiteY5" fmla="*/ 528118 h 677924"/>
                <a:gd name="connsiteX6" fmla="*/ 549243 w 1390176"/>
                <a:gd name="connsiteY6" fmla="*/ 534154 h 677924"/>
                <a:gd name="connsiteX7" fmla="*/ 564332 w 1390176"/>
                <a:gd name="connsiteY7" fmla="*/ 546225 h 677924"/>
                <a:gd name="connsiteX8" fmla="*/ 607114 w 1390176"/>
                <a:gd name="connsiteY8" fmla="*/ 550001 h 677924"/>
                <a:gd name="connsiteX9" fmla="*/ 633742 w 1390176"/>
                <a:gd name="connsiteY9" fmla="*/ 585457 h 677924"/>
                <a:gd name="connsiteX10" fmla="*/ 666187 w 1390176"/>
                <a:gd name="connsiteY10" fmla="*/ 589252 h 677924"/>
                <a:gd name="connsiteX11" fmla="*/ 691081 w 1390176"/>
                <a:gd name="connsiteY11" fmla="*/ 597528 h 677924"/>
                <a:gd name="connsiteX12" fmla="*/ 757473 w 1390176"/>
                <a:gd name="connsiteY12" fmla="*/ 585457 h 677924"/>
                <a:gd name="connsiteX13" fmla="*/ 841972 w 1390176"/>
                <a:gd name="connsiteY13" fmla="*/ 630724 h 677924"/>
                <a:gd name="connsiteX14" fmla="*/ 884221 w 1390176"/>
                <a:gd name="connsiteY14" fmla="*/ 615635 h 677924"/>
                <a:gd name="connsiteX15" fmla="*/ 920435 w 1390176"/>
                <a:gd name="connsiteY15" fmla="*/ 642796 h 677924"/>
                <a:gd name="connsiteX16" fmla="*/ 962685 w 1390176"/>
                <a:gd name="connsiteY16" fmla="*/ 636760 h 677924"/>
                <a:gd name="connsiteX17" fmla="*/ 1001917 w 1390176"/>
                <a:gd name="connsiteY17" fmla="*/ 648831 h 677924"/>
                <a:gd name="connsiteX18" fmla="*/ 1038130 w 1390176"/>
                <a:gd name="connsiteY18" fmla="*/ 645813 h 677924"/>
                <a:gd name="connsiteX19" fmla="*/ 1074344 w 1390176"/>
                <a:gd name="connsiteY19" fmla="*/ 663920 h 677924"/>
                <a:gd name="connsiteX20" fmla="*/ 1100043 w 1390176"/>
                <a:gd name="connsiteY20" fmla="*/ 677924 h 677924"/>
                <a:gd name="connsiteX21" fmla="*/ 1146772 w 1390176"/>
                <a:gd name="connsiteY21" fmla="*/ 624689 h 677924"/>
                <a:gd name="connsiteX22" fmla="*/ 1186004 w 1390176"/>
                <a:gd name="connsiteY22" fmla="*/ 615635 h 677924"/>
                <a:gd name="connsiteX23" fmla="*/ 1237307 w 1390176"/>
                <a:gd name="connsiteY23" fmla="*/ 621671 h 677924"/>
                <a:gd name="connsiteX24" fmla="*/ 1270503 w 1390176"/>
                <a:gd name="connsiteY24" fmla="*/ 609600 h 677924"/>
                <a:gd name="connsiteX25" fmla="*/ 1390176 w 1390176"/>
                <a:gd name="connsiteY25" fmla="*/ 677287 h 677924"/>
                <a:gd name="connsiteX26" fmla="*/ 1381761 w 1390176"/>
                <a:gd name="connsiteY26" fmla="*/ 353269 h 677924"/>
                <a:gd name="connsiteX27" fmla="*/ 1362384 w 1390176"/>
                <a:gd name="connsiteY27" fmla="*/ 196260 h 677924"/>
                <a:gd name="connsiteX28" fmla="*/ 1333877 w 1390176"/>
                <a:gd name="connsiteY28" fmla="*/ 90534 h 677924"/>
                <a:gd name="connsiteX29" fmla="*/ 1312752 w 1390176"/>
                <a:gd name="connsiteY29" fmla="*/ 0 h 677924"/>
                <a:gd name="connsiteX30" fmla="*/ 742384 w 1390176"/>
                <a:gd name="connsiteY30" fmla="*/ 45267 h 677924"/>
                <a:gd name="connsiteX31" fmla="*/ 0 w 1390176"/>
                <a:gd name="connsiteY31" fmla="*/ 51303 h 67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390176" h="677924">
                  <a:moveTo>
                    <a:pt x="0" y="51303"/>
                  </a:moveTo>
                  <a:cubicBezTo>
                    <a:pt x="1006" y="83493"/>
                    <a:pt x="2011" y="115683"/>
                    <a:pt x="3017" y="147873"/>
                  </a:cubicBezTo>
                  <a:lnTo>
                    <a:pt x="464744" y="156926"/>
                  </a:lnTo>
                  <a:lnTo>
                    <a:pt x="461726" y="513029"/>
                  </a:lnTo>
                  <a:lnTo>
                    <a:pt x="482851" y="525101"/>
                  </a:lnTo>
                  <a:lnTo>
                    <a:pt x="525101" y="528118"/>
                  </a:lnTo>
                  <a:lnTo>
                    <a:pt x="549243" y="534154"/>
                  </a:lnTo>
                  <a:lnTo>
                    <a:pt x="564332" y="546225"/>
                  </a:lnTo>
                  <a:lnTo>
                    <a:pt x="607114" y="550001"/>
                  </a:lnTo>
                  <a:lnTo>
                    <a:pt x="633742" y="585457"/>
                  </a:lnTo>
                  <a:lnTo>
                    <a:pt x="666187" y="589252"/>
                  </a:lnTo>
                  <a:lnTo>
                    <a:pt x="691081" y="597528"/>
                  </a:lnTo>
                  <a:lnTo>
                    <a:pt x="757473" y="585457"/>
                  </a:lnTo>
                  <a:lnTo>
                    <a:pt x="841972" y="630724"/>
                  </a:lnTo>
                  <a:lnTo>
                    <a:pt x="884221" y="615635"/>
                  </a:lnTo>
                  <a:lnTo>
                    <a:pt x="920435" y="642796"/>
                  </a:lnTo>
                  <a:lnTo>
                    <a:pt x="962685" y="636760"/>
                  </a:lnTo>
                  <a:lnTo>
                    <a:pt x="1001917" y="648831"/>
                  </a:lnTo>
                  <a:lnTo>
                    <a:pt x="1038130" y="645813"/>
                  </a:lnTo>
                  <a:lnTo>
                    <a:pt x="1074344" y="663920"/>
                  </a:lnTo>
                  <a:lnTo>
                    <a:pt x="1100043" y="677924"/>
                  </a:lnTo>
                  <a:lnTo>
                    <a:pt x="1146772" y="624689"/>
                  </a:lnTo>
                  <a:lnTo>
                    <a:pt x="1186004" y="615635"/>
                  </a:lnTo>
                  <a:lnTo>
                    <a:pt x="1237307" y="621671"/>
                  </a:lnTo>
                  <a:lnTo>
                    <a:pt x="1270503" y="609600"/>
                  </a:lnTo>
                  <a:lnTo>
                    <a:pt x="1390176" y="677287"/>
                  </a:lnTo>
                  <a:lnTo>
                    <a:pt x="1381761" y="353269"/>
                  </a:lnTo>
                  <a:lnTo>
                    <a:pt x="1362384" y="196260"/>
                  </a:lnTo>
                  <a:lnTo>
                    <a:pt x="1333877" y="90534"/>
                  </a:lnTo>
                  <a:lnTo>
                    <a:pt x="1312752" y="0"/>
                  </a:lnTo>
                  <a:lnTo>
                    <a:pt x="742384" y="45267"/>
                  </a:lnTo>
                  <a:lnTo>
                    <a:pt x="0" y="5130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7" name="Freeform 106"/>
            <p:cNvSpPr/>
            <p:nvPr/>
          </p:nvSpPr>
          <p:spPr>
            <a:xfrm>
              <a:off x="3297271" y="3542091"/>
              <a:ext cx="473009" cy="437529"/>
            </a:xfrm>
            <a:custGeom>
              <a:avLst/>
              <a:gdLst>
                <a:gd name="connsiteX0" fmla="*/ 0 w 751437"/>
                <a:gd name="connsiteY0" fmla="*/ 75445 h 742384"/>
                <a:gd name="connsiteX1" fmla="*/ 36213 w 751437"/>
                <a:gd name="connsiteY1" fmla="*/ 347049 h 742384"/>
                <a:gd name="connsiteX2" fmla="*/ 42249 w 751437"/>
                <a:gd name="connsiteY2" fmla="*/ 633742 h 742384"/>
                <a:gd name="connsiteX3" fmla="*/ 96570 w 751437"/>
                <a:gd name="connsiteY3" fmla="*/ 618653 h 742384"/>
                <a:gd name="connsiteX4" fmla="*/ 114677 w 751437"/>
                <a:gd name="connsiteY4" fmla="*/ 636760 h 742384"/>
                <a:gd name="connsiteX5" fmla="*/ 123730 w 751437"/>
                <a:gd name="connsiteY5" fmla="*/ 742384 h 742384"/>
                <a:gd name="connsiteX6" fmla="*/ 407405 w 751437"/>
                <a:gd name="connsiteY6" fmla="*/ 712206 h 742384"/>
                <a:gd name="connsiteX7" fmla="*/ 579421 w 751437"/>
                <a:gd name="connsiteY7" fmla="*/ 685045 h 742384"/>
                <a:gd name="connsiteX8" fmla="*/ 588475 w 751437"/>
                <a:gd name="connsiteY8" fmla="*/ 700134 h 742384"/>
                <a:gd name="connsiteX9" fmla="*/ 597528 w 751437"/>
                <a:gd name="connsiteY9" fmla="*/ 597528 h 742384"/>
                <a:gd name="connsiteX10" fmla="*/ 573386 w 751437"/>
                <a:gd name="connsiteY10" fmla="*/ 537172 h 742384"/>
                <a:gd name="connsiteX11" fmla="*/ 594510 w 751437"/>
                <a:gd name="connsiteY11" fmla="*/ 473798 h 742384"/>
                <a:gd name="connsiteX12" fmla="*/ 642796 w 751437"/>
                <a:gd name="connsiteY12" fmla="*/ 395334 h 742384"/>
                <a:gd name="connsiteX13" fmla="*/ 651849 w 751437"/>
                <a:gd name="connsiteY13" fmla="*/ 365156 h 742384"/>
                <a:gd name="connsiteX14" fmla="*/ 648831 w 751437"/>
                <a:gd name="connsiteY14" fmla="*/ 341014 h 742384"/>
                <a:gd name="connsiteX15" fmla="*/ 691081 w 751437"/>
                <a:gd name="connsiteY15" fmla="*/ 274622 h 742384"/>
                <a:gd name="connsiteX16" fmla="*/ 700134 w 751437"/>
                <a:gd name="connsiteY16" fmla="*/ 223319 h 742384"/>
                <a:gd name="connsiteX17" fmla="*/ 694099 w 751437"/>
                <a:gd name="connsiteY17" fmla="*/ 205212 h 742384"/>
                <a:gd name="connsiteX18" fmla="*/ 727295 w 751437"/>
                <a:gd name="connsiteY18" fmla="*/ 172016 h 742384"/>
                <a:gd name="connsiteX19" fmla="*/ 718241 w 751437"/>
                <a:gd name="connsiteY19" fmla="*/ 141837 h 742384"/>
                <a:gd name="connsiteX20" fmla="*/ 751437 w 751437"/>
                <a:gd name="connsiteY20" fmla="*/ 72427 h 742384"/>
                <a:gd name="connsiteX21" fmla="*/ 685045 w 751437"/>
                <a:gd name="connsiteY21" fmla="*/ 72427 h 742384"/>
                <a:gd name="connsiteX22" fmla="*/ 660903 w 751437"/>
                <a:gd name="connsiteY22" fmla="*/ 57338 h 742384"/>
                <a:gd name="connsiteX23" fmla="*/ 669956 w 751437"/>
                <a:gd name="connsiteY23" fmla="*/ 0 h 742384"/>
                <a:gd name="connsiteX24" fmla="*/ 669956 w 751437"/>
                <a:gd name="connsiteY24" fmla="*/ 0 h 742384"/>
                <a:gd name="connsiteX25" fmla="*/ 322906 w 751437"/>
                <a:gd name="connsiteY25" fmla="*/ 30178 h 742384"/>
                <a:gd name="connsiteX26" fmla="*/ 162962 w 751437"/>
                <a:gd name="connsiteY26" fmla="*/ 48285 h 742384"/>
                <a:gd name="connsiteX27" fmla="*/ 0 w 751437"/>
                <a:gd name="connsiteY27" fmla="*/ 75445 h 742384"/>
                <a:gd name="connsiteX0" fmla="*/ 0 w 751437"/>
                <a:gd name="connsiteY0" fmla="*/ 75445 h 742384"/>
                <a:gd name="connsiteX1" fmla="*/ 36213 w 751437"/>
                <a:gd name="connsiteY1" fmla="*/ 347049 h 742384"/>
                <a:gd name="connsiteX2" fmla="*/ 42249 w 751437"/>
                <a:gd name="connsiteY2" fmla="*/ 633742 h 742384"/>
                <a:gd name="connsiteX3" fmla="*/ 54809 w 751437"/>
                <a:gd name="connsiteY3" fmla="*/ 644618 h 742384"/>
                <a:gd name="connsiteX4" fmla="*/ 96570 w 751437"/>
                <a:gd name="connsiteY4" fmla="*/ 618653 h 742384"/>
                <a:gd name="connsiteX5" fmla="*/ 114677 w 751437"/>
                <a:gd name="connsiteY5" fmla="*/ 636760 h 742384"/>
                <a:gd name="connsiteX6" fmla="*/ 123730 w 751437"/>
                <a:gd name="connsiteY6" fmla="*/ 742384 h 742384"/>
                <a:gd name="connsiteX7" fmla="*/ 407405 w 751437"/>
                <a:gd name="connsiteY7" fmla="*/ 712206 h 742384"/>
                <a:gd name="connsiteX8" fmla="*/ 579421 w 751437"/>
                <a:gd name="connsiteY8" fmla="*/ 685045 h 742384"/>
                <a:gd name="connsiteX9" fmla="*/ 588475 w 751437"/>
                <a:gd name="connsiteY9" fmla="*/ 700134 h 742384"/>
                <a:gd name="connsiteX10" fmla="*/ 597528 w 751437"/>
                <a:gd name="connsiteY10" fmla="*/ 597528 h 742384"/>
                <a:gd name="connsiteX11" fmla="*/ 573386 w 751437"/>
                <a:gd name="connsiteY11" fmla="*/ 537172 h 742384"/>
                <a:gd name="connsiteX12" fmla="*/ 594510 w 751437"/>
                <a:gd name="connsiteY12" fmla="*/ 473798 h 742384"/>
                <a:gd name="connsiteX13" fmla="*/ 642796 w 751437"/>
                <a:gd name="connsiteY13" fmla="*/ 395334 h 742384"/>
                <a:gd name="connsiteX14" fmla="*/ 651849 w 751437"/>
                <a:gd name="connsiteY14" fmla="*/ 365156 h 742384"/>
                <a:gd name="connsiteX15" fmla="*/ 648831 w 751437"/>
                <a:gd name="connsiteY15" fmla="*/ 341014 h 742384"/>
                <a:gd name="connsiteX16" fmla="*/ 691081 w 751437"/>
                <a:gd name="connsiteY16" fmla="*/ 274622 h 742384"/>
                <a:gd name="connsiteX17" fmla="*/ 700134 w 751437"/>
                <a:gd name="connsiteY17" fmla="*/ 223319 h 742384"/>
                <a:gd name="connsiteX18" fmla="*/ 694099 w 751437"/>
                <a:gd name="connsiteY18" fmla="*/ 205212 h 742384"/>
                <a:gd name="connsiteX19" fmla="*/ 727295 w 751437"/>
                <a:gd name="connsiteY19" fmla="*/ 172016 h 742384"/>
                <a:gd name="connsiteX20" fmla="*/ 718241 w 751437"/>
                <a:gd name="connsiteY20" fmla="*/ 141837 h 742384"/>
                <a:gd name="connsiteX21" fmla="*/ 751437 w 751437"/>
                <a:gd name="connsiteY21" fmla="*/ 72427 h 742384"/>
                <a:gd name="connsiteX22" fmla="*/ 685045 w 751437"/>
                <a:gd name="connsiteY22" fmla="*/ 72427 h 742384"/>
                <a:gd name="connsiteX23" fmla="*/ 660903 w 751437"/>
                <a:gd name="connsiteY23" fmla="*/ 57338 h 742384"/>
                <a:gd name="connsiteX24" fmla="*/ 669956 w 751437"/>
                <a:gd name="connsiteY24" fmla="*/ 0 h 742384"/>
                <a:gd name="connsiteX25" fmla="*/ 669956 w 751437"/>
                <a:gd name="connsiteY25" fmla="*/ 0 h 742384"/>
                <a:gd name="connsiteX26" fmla="*/ 322906 w 751437"/>
                <a:gd name="connsiteY26" fmla="*/ 30178 h 742384"/>
                <a:gd name="connsiteX27" fmla="*/ 162962 w 751437"/>
                <a:gd name="connsiteY27" fmla="*/ 48285 h 742384"/>
                <a:gd name="connsiteX28" fmla="*/ 0 w 751437"/>
                <a:gd name="connsiteY28" fmla="*/ 75445 h 742384"/>
                <a:gd name="connsiteX0" fmla="*/ 0 w 751437"/>
                <a:gd name="connsiteY0" fmla="*/ 75445 h 742384"/>
                <a:gd name="connsiteX1" fmla="*/ 36213 w 751437"/>
                <a:gd name="connsiteY1" fmla="*/ 347049 h 742384"/>
                <a:gd name="connsiteX2" fmla="*/ 42249 w 751437"/>
                <a:gd name="connsiteY2" fmla="*/ 633742 h 742384"/>
                <a:gd name="connsiteX3" fmla="*/ 54809 w 751437"/>
                <a:gd name="connsiteY3" fmla="*/ 644618 h 742384"/>
                <a:gd name="connsiteX4" fmla="*/ 91803 w 751437"/>
                <a:gd name="connsiteY4" fmla="*/ 628191 h 742384"/>
                <a:gd name="connsiteX5" fmla="*/ 114677 w 751437"/>
                <a:gd name="connsiteY5" fmla="*/ 636760 h 742384"/>
                <a:gd name="connsiteX6" fmla="*/ 123730 w 751437"/>
                <a:gd name="connsiteY6" fmla="*/ 742384 h 742384"/>
                <a:gd name="connsiteX7" fmla="*/ 407405 w 751437"/>
                <a:gd name="connsiteY7" fmla="*/ 712206 h 742384"/>
                <a:gd name="connsiteX8" fmla="*/ 579421 w 751437"/>
                <a:gd name="connsiteY8" fmla="*/ 685045 h 742384"/>
                <a:gd name="connsiteX9" fmla="*/ 588475 w 751437"/>
                <a:gd name="connsiteY9" fmla="*/ 700134 h 742384"/>
                <a:gd name="connsiteX10" fmla="*/ 597528 w 751437"/>
                <a:gd name="connsiteY10" fmla="*/ 597528 h 742384"/>
                <a:gd name="connsiteX11" fmla="*/ 573386 w 751437"/>
                <a:gd name="connsiteY11" fmla="*/ 537172 h 742384"/>
                <a:gd name="connsiteX12" fmla="*/ 594510 w 751437"/>
                <a:gd name="connsiteY12" fmla="*/ 473798 h 742384"/>
                <a:gd name="connsiteX13" fmla="*/ 642796 w 751437"/>
                <a:gd name="connsiteY13" fmla="*/ 395334 h 742384"/>
                <a:gd name="connsiteX14" fmla="*/ 651849 w 751437"/>
                <a:gd name="connsiteY14" fmla="*/ 365156 h 742384"/>
                <a:gd name="connsiteX15" fmla="*/ 648831 w 751437"/>
                <a:gd name="connsiteY15" fmla="*/ 341014 h 742384"/>
                <a:gd name="connsiteX16" fmla="*/ 691081 w 751437"/>
                <a:gd name="connsiteY16" fmla="*/ 274622 h 742384"/>
                <a:gd name="connsiteX17" fmla="*/ 700134 w 751437"/>
                <a:gd name="connsiteY17" fmla="*/ 223319 h 742384"/>
                <a:gd name="connsiteX18" fmla="*/ 694099 w 751437"/>
                <a:gd name="connsiteY18" fmla="*/ 205212 h 742384"/>
                <a:gd name="connsiteX19" fmla="*/ 727295 w 751437"/>
                <a:gd name="connsiteY19" fmla="*/ 172016 h 742384"/>
                <a:gd name="connsiteX20" fmla="*/ 718241 w 751437"/>
                <a:gd name="connsiteY20" fmla="*/ 141837 h 742384"/>
                <a:gd name="connsiteX21" fmla="*/ 751437 w 751437"/>
                <a:gd name="connsiteY21" fmla="*/ 72427 h 742384"/>
                <a:gd name="connsiteX22" fmla="*/ 685045 w 751437"/>
                <a:gd name="connsiteY22" fmla="*/ 72427 h 742384"/>
                <a:gd name="connsiteX23" fmla="*/ 660903 w 751437"/>
                <a:gd name="connsiteY23" fmla="*/ 57338 h 742384"/>
                <a:gd name="connsiteX24" fmla="*/ 669956 w 751437"/>
                <a:gd name="connsiteY24" fmla="*/ 0 h 742384"/>
                <a:gd name="connsiteX25" fmla="*/ 669956 w 751437"/>
                <a:gd name="connsiteY25" fmla="*/ 0 h 742384"/>
                <a:gd name="connsiteX26" fmla="*/ 322906 w 751437"/>
                <a:gd name="connsiteY26" fmla="*/ 30178 h 742384"/>
                <a:gd name="connsiteX27" fmla="*/ 162962 w 751437"/>
                <a:gd name="connsiteY27" fmla="*/ 48285 h 742384"/>
                <a:gd name="connsiteX28" fmla="*/ 0 w 751437"/>
                <a:gd name="connsiteY28" fmla="*/ 75445 h 74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51437" h="742384">
                  <a:moveTo>
                    <a:pt x="0" y="75445"/>
                  </a:moveTo>
                  <a:lnTo>
                    <a:pt x="36213" y="347049"/>
                  </a:lnTo>
                  <a:lnTo>
                    <a:pt x="42249" y="633742"/>
                  </a:lnTo>
                  <a:cubicBezTo>
                    <a:pt x="44847" y="632598"/>
                    <a:pt x="52211" y="645762"/>
                    <a:pt x="54809" y="644618"/>
                  </a:cubicBezTo>
                  <a:lnTo>
                    <a:pt x="91803" y="628191"/>
                  </a:lnTo>
                  <a:lnTo>
                    <a:pt x="114677" y="636760"/>
                  </a:lnTo>
                  <a:lnTo>
                    <a:pt x="123730" y="742384"/>
                  </a:lnTo>
                  <a:lnTo>
                    <a:pt x="407405" y="712206"/>
                  </a:lnTo>
                  <a:lnTo>
                    <a:pt x="579421" y="685045"/>
                  </a:lnTo>
                  <a:lnTo>
                    <a:pt x="588475" y="700134"/>
                  </a:lnTo>
                  <a:lnTo>
                    <a:pt x="597528" y="597528"/>
                  </a:lnTo>
                  <a:lnTo>
                    <a:pt x="573386" y="537172"/>
                  </a:lnTo>
                  <a:lnTo>
                    <a:pt x="594510" y="473798"/>
                  </a:lnTo>
                  <a:lnTo>
                    <a:pt x="642796" y="395334"/>
                  </a:lnTo>
                  <a:lnTo>
                    <a:pt x="651849" y="365156"/>
                  </a:lnTo>
                  <a:lnTo>
                    <a:pt x="648831" y="341014"/>
                  </a:lnTo>
                  <a:lnTo>
                    <a:pt x="691081" y="274622"/>
                  </a:lnTo>
                  <a:lnTo>
                    <a:pt x="700134" y="223319"/>
                  </a:lnTo>
                  <a:lnTo>
                    <a:pt x="694099" y="205212"/>
                  </a:lnTo>
                  <a:lnTo>
                    <a:pt x="727295" y="172016"/>
                  </a:lnTo>
                  <a:lnTo>
                    <a:pt x="718241" y="141837"/>
                  </a:lnTo>
                  <a:lnTo>
                    <a:pt x="751437" y="72427"/>
                  </a:lnTo>
                  <a:lnTo>
                    <a:pt x="685045" y="72427"/>
                  </a:lnTo>
                  <a:lnTo>
                    <a:pt x="660903" y="57338"/>
                  </a:lnTo>
                  <a:lnTo>
                    <a:pt x="669956" y="0"/>
                  </a:lnTo>
                  <a:lnTo>
                    <a:pt x="669956" y="0"/>
                  </a:lnTo>
                  <a:lnTo>
                    <a:pt x="322906" y="30178"/>
                  </a:lnTo>
                  <a:lnTo>
                    <a:pt x="162962" y="48285"/>
                  </a:lnTo>
                  <a:lnTo>
                    <a:pt x="0" y="7544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8" name="Freeform 107"/>
            <p:cNvSpPr/>
            <p:nvPr/>
          </p:nvSpPr>
          <p:spPr>
            <a:xfrm>
              <a:off x="3648277" y="3669509"/>
              <a:ext cx="333006" cy="572442"/>
            </a:xfrm>
            <a:custGeom>
              <a:avLst/>
              <a:gdLst>
                <a:gd name="connsiteX0" fmla="*/ 132784 w 528118"/>
                <a:gd name="connsiteY0" fmla="*/ 54321 h 968721"/>
                <a:gd name="connsiteX1" fmla="*/ 87516 w 528118"/>
                <a:gd name="connsiteY1" fmla="*/ 126748 h 968721"/>
                <a:gd name="connsiteX2" fmla="*/ 93552 w 528118"/>
                <a:gd name="connsiteY2" fmla="*/ 162962 h 968721"/>
                <a:gd name="connsiteX3" fmla="*/ 30178 w 528118"/>
                <a:gd name="connsiteY3" fmla="*/ 265568 h 968721"/>
                <a:gd name="connsiteX4" fmla="*/ 9053 w 528118"/>
                <a:gd name="connsiteY4" fmla="*/ 322907 h 968721"/>
                <a:gd name="connsiteX5" fmla="*/ 36213 w 528118"/>
                <a:gd name="connsiteY5" fmla="*/ 392317 h 968721"/>
                <a:gd name="connsiteX6" fmla="*/ 42249 w 528118"/>
                <a:gd name="connsiteY6" fmla="*/ 494923 h 968721"/>
                <a:gd name="connsiteX7" fmla="*/ 63374 w 528118"/>
                <a:gd name="connsiteY7" fmla="*/ 600546 h 968721"/>
                <a:gd name="connsiteX8" fmla="*/ 39231 w 528118"/>
                <a:gd name="connsiteY8" fmla="*/ 621671 h 968721"/>
                <a:gd name="connsiteX9" fmla="*/ 54320 w 528118"/>
                <a:gd name="connsiteY9" fmla="*/ 669956 h 968721"/>
                <a:gd name="connsiteX10" fmla="*/ 27160 w 528118"/>
                <a:gd name="connsiteY10" fmla="*/ 703152 h 968721"/>
                <a:gd name="connsiteX11" fmla="*/ 21124 w 528118"/>
                <a:gd name="connsiteY11" fmla="*/ 718242 h 968721"/>
                <a:gd name="connsiteX12" fmla="*/ 3017 w 528118"/>
                <a:gd name="connsiteY12" fmla="*/ 742384 h 968721"/>
                <a:gd name="connsiteX13" fmla="*/ 0 w 528118"/>
                <a:gd name="connsiteY13" fmla="*/ 838954 h 968721"/>
                <a:gd name="connsiteX14" fmla="*/ 3017 w 528118"/>
                <a:gd name="connsiteY14" fmla="*/ 851026 h 968721"/>
                <a:gd name="connsiteX15" fmla="*/ 238407 w 528118"/>
                <a:gd name="connsiteY15" fmla="*/ 826883 h 968721"/>
                <a:gd name="connsiteX16" fmla="*/ 280657 w 528118"/>
                <a:gd name="connsiteY16" fmla="*/ 817830 h 968721"/>
                <a:gd name="connsiteX17" fmla="*/ 298764 w 528118"/>
                <a:gd name="connsiteY17" fmla="*/ 838954 h 968721"/>
                <a:gd name="connsiteX18" fmla="*/ 301782 w 528118"/>
                <a:gd name="connsiteY18" fmla="*/ 866115 h 968721"/>
                <a:gd name="connsiteX19" fmla="*/ 298764 w 528118"/>
                <a:gd name="connsiteY19" fmla="*/ 902329 h 968721"/>
                <a:gd name="connsiteX20" fmla="*/ 325924 w 528118"/>
                <a:gd name="connsiteY20" fmla="*/ 923453 h 968721"/>
                <a:gd name="connsiteX21" fmla="*/ 334978 w 528118"/>
                <a:gd name="connsiteY21" fmla="*/ 962685 h 968721"/>
                <a:gd name="connsiteX22" fmla="*/ 347049 w 528118"/>
                <a:gd name="connsiteY22" fmla="*/ 968721 h 968721"/>
                <a:gd name="connsiteX23" fmla="*/ 425512 w 528118"/>
                <a:gd name="connsiteY23" fmla="*/ 917418 h 968721"/>
                <a:gd name="connsiteX24" fmla="*/ 446637 w 528118"/>
                <a:gd name="connsiteY24" fmla="*/ 911382 h 968721"/>
                <a:gd name="connsiteX25" fmla="*/ 476815 w 528118"/>
                <a:gd name="connsiteY25" fmla="*/ 905346 h 968721"/>
                <a:gd name="connsiteX26" fmla="*/ 506994 w 528118"/>
                <a:gd name="connsiteY26" fmla="*/ 914400 h 968721"/>
                <a:gd name="connsiteX27" fmla="*/ 528118 w 528118"/>
                <a:gd name="connsiteY27" fmla="*/ 887240 h 968721"/>
                <a:gd name="connsiteX28" fmla="*/ 494922 w 528118"/>
                <a:gd name="connsiteY28" fmla="*/ 488887 h 968721"/>
                <a:gd name="connsiteX29" fmla="*/ 485869 w 528118"/>
                <a:gd name="connsiteY29" fmla="*/ 277640 h 968721"/>
                <a:gd name="connsiteX30" fmla="*/ 455691 w 528118"/>
                <a:gd name="connsiteY30" fmla="*/ 0 h 968721"/>
                <a:gd name="connsiteX31" fmla="*/ 446637 w 528118"/>
                <a:gd name="connsiteY31" fmla="*/ 15089 h 968721"/>
                <a:gd name="connsiteX32" fmla="*/ 404388 w 528118"/>
                <a:gd name="connsiteY32" fmla="*/ 12071 h 968721"/>
                <a:gd name="connsiteX33" fmla="*/ 132784 w 528118"/>
                <a:gd name="connsiteY33" fmla="*/ 54321 h 968721"/>
                <a:gd name="connsiteX0" fmla="*/ 132784 w 528118"/>
                <a:gd name="connsiteY0" fmla="*/ 54321 h 968721"/>
                <a:gd name="connsiteX1" fmla="*/ 87516 w 528118"/>
                <a:gd name="connsiteY1" fmla="*/ 126748 h 968721"/>
                <a:gd name="connsiteX2" fmla="*/ 93552 w 528118"/>
                <a:gd name="connsiteY2" fmla="*/ 162962 h 968721"/>
                <a:gd name="connsiteX3" fmla="*/ 30178 w 528118"/>
                <a:gd name="connsiteY3" fmla="*/ 265568 h 968721"/>
                <a:gd name="connsiteX4" fmla="*/ 9053 w 528118"/>
                <a:gd name="connsiteY4" fmla="*/ 322907 h 968721"/>
                <a:gd name="connsiteX5" fmla="*/ 36213 w 528118"/>
                <a:gd name="connsiteY5" fmla="*/ 392317 h 968721"/>
                <a:gd name="connsiteX6" fmla="*/ 42249 w 528118"/>
                <a:gd name="connsiteY6" fmla="*/ 494923 h 968721"/>
                <a:gd name="connsiteX7" fmla="*/ 49101 w 528118"/>
                <a:gd name="connsiteY7" fmla="*/ 593411 h 968721"/>
                <a:gd name="connsiteX8" fmla="*/ 39231 w 528118"/>
                <a:gd name="connsiteY8" fmla="*/ 621671 h 968721"/>
                <a:gd name="connsiteX9" fmla="*/ 54320 w 528118"/>
                <a:gd name="connsiteY9" fmla="*/ 669956 h 968721"/>
                <a:gd name="connsiteX10" fmla="*/ 27160 w 528118"/>
                <a:gd name="connsiteY10" fmla="*/ 703152 h 968721"/>
                <a:gd name="connsiteX11" fmla="*/ 21124 w 528118"/>
                <a:gd name="connsiteY11" fmla="*/ 718242 h 968721"/>
                <a:gd name="connsiteX12" fmla="*/ 3017 w 528118"/>
                <a:gd name="connsiteY12" fmla="*/ 742384 h 968721"/>
                <a:gd name="connsiteX13" fmla="*/ 0 w 528118"/>
                <a:gd name="connsiteY13" fmla="*/ 838954 h 968721"/>
                <a:gd name="connsiteX14" fmla="*/ 3017 w 528118"/>
                <a:gd name="connsiteY14" fmla="*/ 851026 h 968721"/>
                <a:gd name="connsiteX15" fmla="*/ 238407 w 528118"/>
                <a:gd name="connsiteY15" fmla="*/ 826883 h 968721"/>
                <a:gd name="connsiteX16" fmla="*/ 280657 w 528118"/>
                <a:gd name="connsiteY16" fmla="*/ 817830 h 968721"/>
                <a:gd name="connsiteX17" fmla="*/ 298764 w 528118"/>
                <a:gd name="connsiteY17" fmla="*/ 838954 h 968721"/>
                <a:gd name="connsiteX18" fmla="*/ 301782 w 528118"/>
                <a:gd name="connsiteY18" fmla="*/ 866115 h 968721"/>
                <a:gd name="connsiteX19" fmla="*/ 298764 w 528118"/>
                <a:gd name="connsiteY19" fmla="*/ 902329 h 968721"/>
                <a:gd name="connsiteX20" fmla="*/ 325924 w 528118"/>
                <a:gd name="connsiteY20" fmla="*/ 923453 h 968721"/>
                <a:gd name="connsiteX21" fmla="*/ 334978 w 528118"/>
                <a:gd name="connsiteY21" fmla="*/ 962685 h 968721"/>
                <a:gd name="connsiteX22" fmla="*/ 347049 w 528118"/>
                <a:gd name="connsiteY22" fmla="*/ 968721 h 968721"/>
                <a:gd name="connsiteX23" fmla="*/ 425512 w 528118"/>
                <a:gd name="connsiteY23" fmla="*/ 917418 h 968721"/>
                <a:gd name="connsiteX24" fmla="*/ 446637 w 528118"/>
                <a:gd name="connsiteY24" fmla="*/ 911382 h 968721"/>
                <a:gd name="connsiteX25" fmla="*/ 476815 w 528118"/>
                <a:gd name="connsiteY25" fmla="*/ 905346 h 968721"/>
                <a:gd name="connsiteX26" fmla="*/ 506994 w 528118"/>
                <a:gd name="connsiteY26" fmla="*/ 914400 h 968721"/>
                <a:gd name="connsiteX27" fmla="*/ 528118 w 528118"/>
                <a:gd name="connsiteY27" fmla="*/ 887240 h 968721"/>
                <a:gd name="connsiteX28" fmla="*/ 494922 w 528118"/>
                <a:gd name="connsiteY28" fmla="*/ 488887 h 968721"/>
                <a:gd name="connsiteX29" fmla="*/ 485869 w 528118"/>
                <a:gd name="connsiteY29" fmla="*/ 277640 h 968721"/>
                <a:gd name="connsiteX30" fmla="*/ 455691 w 528118"/>
                <a:gd name="connsiteY30" fmla="*/ 0 h 968721"/>
                <a:gd name="connsiteX31" fmla="*/ 446637 w 528118"/>
                <a:gd name="connsiteY31" fmla="*/ 15089 h 968721"/>
                <a:gd name="connsiteX32" fmla="*/ 404388 w 528118"/>
                <a:gd name="connsiteY32" fmla="*/ 12071 h 968721"/>
                <a:gd name="connsiteX33" fmla="*/ 132784 w 528118"/>
                <a:gd name="connsiteY33" fmla="*/ 54321 h 9687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28118" h="968721">
                  <a:moveTo>
                    <a:pt x="132784" y="54321"/>
                  </a:moveTo>
                  <a:lnTo>
                    <a:pt x="87516" y="126748"/>
                  </a:lnTo>
                  <a:lnTo>
                    <a:pt x="93552" y="162962"/>
                  </a:lnTo>
                  <a:lnTo>
                    <a:pt x="30178" y="265568"/>
                  </a:lnTo>
                  <a:lnTo>
                    <a:pt x="9053" y="322907"/>
                  </a:lnTo>
                  <a:lnTo>
                    <a:pt x="36213" y="392317"/>
                  </a:lnTo>
                  <a:lnTo>
                    <a:pt x="42249" y="494923"/>
                  </a:lnTo>
                  <a:lnTo>
                    <a:pt x="49101" y="593411"/>
                  </a:lnTo>
                  <a:lnTo>
                    <a:pt x="39231" y="621671"/>
                  </a:lnTo>
                  <a:lnTo>
                    <a:pt x="54320" y="669956"/>
                  </a:lnTo>
                  <a:lnTo>
                    <a:pt x="27160" y="703152"/>
                  </a:lnTo>
                  <a:lnTo>
                    <a:pt x="21124" y="718242"/>
                  </a:lnTo>
                  <a:lnTo>
                    <a:pt x="3017" y="742384"/>
                  </a:lnTo>
                  <a:cubicBezTo>
                    <a:pt x="2011" y="774574"/>
                    <a:pt x="1006" y="806764"/>
                    <a:pt x="0" y="838954"/>
                  </a:cubicBezTo>
                  <a:lnTo>
                    <a:pt x="3017" y="851026"/>
                  </a:lnTo>
                  <a:lnTo>
                    <a:pt x="238407" y="826883"/>
                  </a:lnTo>
                  <a:lnTo>
                    <a:pt x="280657" y="817830"/>
                  </a:lnTo>
                  <a:lnTo>
                    <a:pt x="298764" y="838954"/>
                  </a:lnTo>
                  <a:lnTo>
                    <a:pt x="301782" y="866115"/>
                  </a:lnTo>
                  <a:lnTo>
                    <a:pt x="298764" y="902329"/>
                  </a:lnTo>
                  <a:lnTo>
                    <a:pt x="325924" y="923453"/>
                  </a:lnTo>
                  <a:lnTo>
                    <a:pt x="334978" y="962685"/>
                  </a:lnTo>
                  <a:lnTo>
                    <a:pt x="347049" y="968721"/>
                  </a:lnTo>
                  <a:lnTo>
                    <a:pt x="425512" y="917418"/>
                  </a:lnTo>
                  <a:lnTo>
                    <a:pt x="446637" y="911382"/>
                  </a:lnTo>
                  <a:lnTo>
                    <a:pt x="476815" y="905346"/>
                  </a:lnTo>
                  <a:lnTo>
                    <a:pt x="506994" y="914400"/>
                  </a:lnTo>
                  <a:lnTo>
                    <a:pt x="528118" y="887240"/>
                  </a:lnTo>
                  <a:lnTo>
                    <a:pt x="494922" y="488887"/>
                  </a:lnTo>
                  <a:lnTo>
                    <a:pt x="485869" y="277640"/>
                  </a:lnTo>
                  <a:lnTo>
                    <a:pt x="455691" y="0"/>
                  </a:lnTo>
                  <a:lnTo>
                    <a:pt x="446637" y="15089"/>
                  </a:lnTo>
                  <a:lnTo>
                    <a:pt x="404388" y="12071"/>
                  </a:lnTo>
                  <a:lnTo>
                    <a:pt x="132784" y="5432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9" name="Freeform 108"/>
            <p:cNvSpPr/>
            <p:nvPr/>
          </p:nvSpPr>
          <p:spPr>
            <a:xfrm>
              <a:off x="3144269" y="3099878"/>
              <a:ext cx="687011" cy="489995"/>
            </a:xfrm>
            <a:custGeom>
              <a:avLst/>
              <a:gdLst>
                <a:gd name="connsiteX0" fmla="*/ 0 w 1089433"/>
                <a:gd name="connsiteY0" fmla="*/ 63374 h 826883"/>
                <a:gd name="connsiteX1" fmla="*/ 57338 w 1089433"/>
                <a:gd name="connsiteY1" fmla="*/ 159945 h 826883"/>
                <a:gd name="connsiteX2" fmla="*/ 117695 w 1089433"/>
                <a:gd name="connsiteY2" fmla="*/ 202194 h 826883"/>
                <a:gd name="connsiteX3" fmla="*/ 120713 w 1089433"/>
                <a:gd name="connsiteY3" fmla="*/ 262550 h 826883"/>
                <a:gd name="connsiteX4" fmla="*/ 193140 w 1089433"/>
                <a:gd name="connsiteY4" fmla="*/ 331960 h 826883"/>
                <a:gd name="connsiteX5" fmla="*/ 214265 w 1089433"/>
                <a:gd name="connsiteY5" fmla="*/ 721259 h 826883"/>
                <a:gd name="connsiteX6" fmla="*/ 247461 w 1089433"/>
                <a:gd name="connsiteY6" fmla="*/ 826883 h 826883"/>
                <a:gd name="connsiteX7" fmla="*/ 905346 w 1089433"/>
                <a:gd name="connsiteY7" fmla="*/ 754455 h 826883"/>
                <a:gd name="connsiteX8" fmla="*/ 908364 w 1089433"/>
                <a:gd name="connsiteY8" fmla="*/ 805758 h 826883"/>
                <a:gd name="connsiteX9" fmla="*/ 932507 w 1089433"/>
                <a:gd name="connsiteY9" fmla="*/ 823865 h 826883"/>
                <a:gd name="connsiteX10" fmla="*/ 989845 w 1089433"/>
                <a:gd name="connsiteY10" fmla="*/ 823865 h 826883"/>
                <a:gd name="connsiteX11" fmla="*/ 998899 w 1089433"/>
                <a:gd name="connsiteY11" fmla="*/ 799723 h 826883"/>
                <a:gd name="connsiteX12" fmla="*/ 995881 w 1089433"/>
                <a:gd name="connsiteY12" fmla="*/ 772562 h 826883"/>
                <a:gd name="connsiteX13" fmla="*/ 1029077 w 1089433"/>
                <a:gd name="connsiteY13" fmla="*/ 700135 h 826883"/>
                <a:gd name="connsiteX14" fmla="*/ 1056237 w 1089433"/>
                <a:gd name="connsiteY14" fmla="*/ 675992 h 826883"/>
                <a:gd name="connsiteX15" fmla="*/ 1089433 w 1089433"/>
                <a:gd name="connsiteY15" fmla="*/ 682028 h 826883"/>
                <a:gd name="connsiteX16" fmla="*/ 1068309 w 1089433"/>
                <a:gd name="connsiteY16" fmla="*/ 648832 h 826883"/>
                <a:gd name="connsiteX17" fmla="*/ 1065291 w 1089433"/>
                <a:gd name="connsiteY17" fmla="*/ 597529 h 826883"/>
                <a:gd name="connsiteX18" fmla="*/ 1035113 w 1089433"/>
                <a:gd name="connsiteY18" fmla="*/ 588475 h 826883"/>
                <a:gd name="connsiteX19" fmla="*/ 1001917 w 1089433"/>
                <a:gd name="connsiteY19" fmla="*/ 576404 h 826883"/>
                <a:gd name="connsiteX20" fmla="*/ 977774 w 1089433"/>
                <a:gd name="connsiteY20" fmla="*/ 528119 h 826883"/>
                <a:gd name="connsiteX21" fmla="*/ 965703 w 1089433"/>
                <a:gd name="connsiteY21" fmla="*/ 479834 h 826883"/>
                <a:gd name="connsiteX22" fmla="*/ 935525 w 1089433"/>
                <a:gd name="connsiteY22" fmla="*/ 461727 h 826883"/>
                <a:gd name="connsiteX23" fmla="*/ 872150 w 1089433"/>
                <a:gd name="connsiteY23" fmla="*/ 422495 h 826883"/>
                <a:gd name="connsiteX24" fmla="*/ 829901 w 1089433"/>
                <a:gd name="connsiteY24" fmla="*/ 356103 h 826883"/>
                <a:gd name="connsiteX25" fmla="*/ 838954 w 1089433"/>
                <a:gd name="connsiteY25" fmla="*/ 328943 h 826883"/>
                <a:gd name="connsiteX26" fmla="*/ 866115 w 1089433"/>
                <a:gd name="connsiteY26" fmla="*/ 301782 h 826883"/>
                <a:gd name="connsiteX27" fmla="*/ 817830 w 1089433"/>
                <a:gd name="connsiteY27" fmla="*/ 256515 h 826883"/>
                <a:gd name="connsiteX28" fmla="*/ 805758 w 1089433"/>
                <a:gd name="connsiteY28" fmla="*/ 271604 h 826883"/>
                <a:gd name="connsiteX29" fmla="*/ 787651 w 1089433"/>
                <a:gd name="connsiteY29" fmla="*/ 277640 h 826883"/>
                <a:gd name="connsiteX30" fmla="*/ 766527 w 1089433"/>
                <a:gd name="connsiteY30" fmla="*/ 241426 h 826883"/>
                <a:gd name="connsiteX31" fmla="*/ 745402 w 1089433"/>
                <a:gd name="connsiteY31" fmla="*/ 181069 h 826883"/>
                <a:gd name="connsiteX32" fmla="*/ 712206 w 1089433"/>
                <a:gd name="connsiteY32" fmla="*/ 168998 h 826883"/>
                <a:gd name="connsiteX33" fmla="*/ 675992 w 1089433"/>
                <a:gd name="connsiteY33" fmla="*/ 156927 h 826883"/>
                <a:gd name="connsiteX34" fmla="*/ 657885 w 1089433"/>
                <a:gd name="connsiteY34" fmla="*/ 141838 h 826883"/>
                <a:gd name="connsiteX35" fmla="*/ 648831 w 1089433"/>
                <a:gd name="connsiteY35" fmla="*/ 90535 h 826883"/>
                <a:gd name="connsiteX36" fmla="*/ 639778 w 1089433"/>
                <a:gd name="connsiteY36" fmla="*/ 57339 h 826883"/>
                <a:gd name="connsiteX37" fmla="*/ 633742 w 1089433"/>
                <a:gd name="connsiteY37" fmla="*/ 24143 h 826883"/>
                <a:gd name="connsiteX38" fmla="*/ 576404 w 1089433"/>
                <a:gd name="connsiteY38" fmla="*/ 0 h 826883"/>
                <a:gd name="connsiteX39" fmla="*/ 0 w 1089433"/>
                <a:gd name="connsiteY39" fmla="*/ 63374 h 826883"/>
                <a:gd name="connsiteX0" fmla="*/ 0 w 1089433"/>
                <a:gd name="connsiteY0" fmla="*/ 63374 h 829264"/>
                <a:gd name="connsiteX1" fmla="*/ 57338 w 1089433"/>
                <a:gd name="connsiteY1" fmla="*/ 159945 h 829264"/>
                <a:gd name="connsiteX2" fmla="*/ 117695 w 1089433"/>
                <a:gd name="connsiteY2" fmla="*/ 202194 h 829264"/>
                <a:gd name="connsiteX3" fmla="*/ 120713 w 1089433"/>
                <a:gd name="connsiteY3" fmla="*/ 262550 h 829264"/>
                <a:gd name="connsiteX4" fmla="*/ 193140 w 1089433"/>
                <a:gd name="connsiteY4" fmla="*/ 331960 h 829264"/>
                <a:gd name="connsiteX5" fmla="*/ 214265 w 1089433"/>
                <a:gd name="connsiteY5" fmla="*/ 721259 h 829264"/>
                <a:gd name="connsiteX6" fmla="*/ 235568 w 1089433"/>
                <a:gd name="connsiteY6" fmla="*/ 829264 h 829264"/>
                <a:gd name="connsiteX7" fmla="*/ 905346 w 1089433"/>
                <a:gd name="connsiteY7" fmla="*/ 754455 h 829264"/>
                <a:gd name="connsiteX8" fmla="*/ 908364 w 1089433"/>
                <a:gd name="connsiteY8" fmla="*/ 805758 h 829264"/>
                <a:gd name="connsiteX9" fmla="*/ 932507 w 1089433"/>
                <a:gd name="connsiteY9" fmla="*/ 823865 h 829264"/>
                <a:gd name="connsiteX10" fmla="*/ 989845 w 1089433"/>
                <a:gd name="connsiteY10" fmla="*/ 823865 h 829264"/>
                <a:gd name="connsiteX11" fmla="*/ 998899 w 1089433"/>
                <a:gd name="connsiteY11" fmla="*/ 799723 h 829264"/>
                <a:gd name="connsiteX12" fmla="*/ 995881 w 1089433"/>
                <a:gd name="connsiteY12" fmla="*/ 772562 h 829264"/>
                <a:gd name="connsiteX13" fmla="*/ 1029077 w 1089433"/>
                <a:gd name="connsiteY13" fmla="*/ 700135 h 829264"/>
                <a:gd name="connsiteX14" fmla="*/ 1056237 w 1089433"/>
                <a:gd name="connsiteY14" fmla="*/ 675992 h 829264"/>
                <a:gd name="connsiteX15" fmla="*/ 1089433 w 1089433"/>
                <a:gd name="connsiteY15" fmla="*/ 682028 h 829264"/>
                <a:gd name="connsiteX16" fmla="*/ 1068309 w 1089433"/>
                <a:gd name="connsiteY16" fmla="*/ 648832 h 829264"/>
                <a:gd name="connsiteX17" fmla="*/ 1065291 w 1089433"/>
                <a:gd name="connsiteY17" fmla="*/ 597529 h 829264"/>
                <a:gd name="connsiteX18" fmla="*/ 1035113 w 1089433"/>
                <a:gd name="connsiteY18" fmla="*/ 588475 h 829264"/>
                <a:gd name="connsiteX19" fmla="*/ 1001917 w 1089433"/>
                <a:gd name="connsiteY19" fmla="*/ 576404 h 829264"/>
                <a:gd name="connsiteX20" fmla="*/ 977774 w 1089433"/>
                <a:gd name="connsiteY20" fmla="*/ 528119 h 829264"/>
                <a:gd name="connsiteX21" fmla="*/ 965703 w 1089433"/>
                <a:gd name="connsiteY21" fmla="*/ 479834 h 829264"/>
                <a:gd name="connsiteX22" fmla="*/ 935525 w 1089433"/>
                <a:gd name="connsiteY22" fmla="*/ 461727 h 829264"/>
                <a:gd name="connsiteX23" fmla="*/ 872150 w 1089433"/>
                <a:gd name="connsiteY23" fmla="*/ 422495 h 829264"/>
                <a:gd name="connsiteX24" fmla="*/ 829901 w 1089433"/>
                <a:gd name="connsiteY24" fmla="*/ 356103 h 829264"/>
                <a:gd name="connsiteX25" fmla="*/ 838954 w 1089433"/>
                <a:gd name="connsiteY25" fmla="*/ 328943 h 829264"/>
                <a:gd name="connsiteX26" fmla="*/ 866115 w 1089433"/>
                <a:gd name="connsiteY26" fmla="*/ 301782 h 829264"/>
                <a:gd name="connsiteX27" fmla="*/ 817830 w 1089433"/>
                <a:gd name="connsiteY27" fmla="*/ 256515 h 829264"/>
                <a:gd name="connsiteX28" fmla="*/ 805758 w 1089433"/>
                <a:gd name="connsiteY28" fmla="*/ 271604 h 829264"/>
                <a:gd name="connsiteX29" fmla="*/ 787651 w 1089433"/>
                <a:gd name="connsiteY29" fmla="*/ 277640 h 829264"/>
                <a:gd name="connsiteX30" fmla="*/ 766527 w 1089433"/>
                <a:gd name="connsiteY30" fmla="*/ 241426 h 829264"/>
                <a:gd name="connsiteX31" fmla="*/ 745402 w 1089433"/>
                <a:gd name="connsiteY31" fmla="*/ 181069 h 829264"/>
                <a:gd name="connsiteX32" fmla="*/ 712206 w 1089433"/>
                <a:gd name="connsiteY32" fmla="*/ 168998 h 829264"/>
                <a:gd name="connsiteX33" fmla="*/ 675992 w 1089433"/>
                <a:gd name="connsiteY33" fmla="*/ 156927 h 829264"/>
                <a:gd name="connsiteX34" fmla="*/ 657885 w 1089433"/>
                <a:gd name="connsiteY34" fmla="*/ 141838 h 829264"/>
                <a:gd name="connsiteX35" fmla="*/ 648831 w 1089433"/>
                <a:gd name="connsiteY35" fmla="*/ 90535 h 829264"/>
                <a:gd name="connsiteX36" fmla="*/ 639778 w 1089433"/>
                <a:gd name="connsiteY36" fmla="*/ 57339 h 829264"/>
                <a:gd name="connsiteX37" fmla="*/ 633742 w 1089433"/>
                <a:gd name="connsiteY37" fmla="*/ 24143 h 829264"/>
                <a:gd name="connsiteX38" fmla="*/ 576404 w 1089433"/>
                <a:gd name="connsiteY38" fmla="*/ 0 h 829264"/>
                <a:gd name="connsiteX39" fmla="*/ 0 w 1089433"/>
                <a:gd name="connsiteY39" fmla="*/ 63374 h 829264"/>
                <a:gd name="connsiteX0" fmla="*/ 0 w 1089433"/>
                <a:gd name="connsiteY0" fmla="*/ 63374 h 829264"/>
                <a:gd name="connsiteX1" fmla="*/ 57338 w 1089433"/>
                <a:gd name="connsiteY1" fmla="*/ 159945 h 829264"/>
                <a:gd name="connsiteX2" fmla="*/ 117695 w 1089433"/>
                <a:gd name="connsiteY2" fmla="*/ 202194 h 829264"/>
                <a:gd name="connsiteX3" fmla="*/ 120713 w 1089433"/>
                <a:gd name="connsiteY3" fmla="*/ 262550 h 829264"/>
                <a:gd name="connsiteX4" fmla="*/ 193140 w 1089433"/>
                <a:gd name="connsiteY4" fmla="*/ 331960 h 829264"/>
                <a:gd name="connsiteX5" fmla="*/ 214265 w 1089433"/>
                <a:gd name="connsiteY5" fmla="*/ 721259 h 829264"/>
                <a:gd name="connsiteX6" fmla="*/ 235568 w 1089433"/>
                <a:gd name="connsiteY6" fmla="*/ 829264 h 829264"/>
                <a:gd name="connsiteX7" fmla="*/ 905346 w 1089433"/>
                <a:gd name="connsiteY7" fmla="*/ 754455 h 829264"/>
                <a:gd name="connsiteX8" fmla="*/ 908364 w 1089433"/>
                <a:gd name="connsiteY8" fmla="*/ 805758 h 829264"/>
                <a:gd name="connsiteX9" fmla="*/ 932507 w 1089433"/>
                <a:gd name="connsiteY9" fmla="*/ 823865 h 829264"/>
                <a:gd name="connsiteX10" fmla="*/ 989845 w 1089433"/>
                <a:gd name="connsiteY10" fmla="*/ 823865 h 829264"/>
                <a:gd name="connsiteX11" fmla="*/ 998899 w 1089433"/>
                <a:gd name="connsiteY11" fmla="*/ 799723 h 829264"/>
                <a:gd name="connsiteX12" fmla="*/ 995881 w 1089433"/>
                <a:gd name="connsiteY12" fmla="*/ 772562 h 829264"/>
                <a:gd name="connsiteX13" fmla="*/ 1029077 w 1089433"/>
                <a:gd name="connsiteY13" fmla="*/ 700135 h 829264"/>
                <a:gd name="connsiteX14" fmla="*/ 1060995 w 1089433"/>
                <a:gd name="connsiteY14" fmla="*/ 687895 h 829264"/>
                <a:gd name="connsiteX15" fmla="*/ 1089433 w 1089433"/>
                <a:gd name="connsiteY15" fmla="*/ 682028 h 829264"/>
                <a:gd name="connsiteX16" fmla="*/ 1068309 w 1089433"/>
                <a:gd name="connsiteY16" fmla="*/ 648832 h 829264"/>
                <a:gd name="connsiteX17" fmla="*/ 1065291 w 1089433"/>
                <a:gd name="connsiteY17" fmla="*/ 597529 h 829264"/>
                <a:gd name="connsiteX18" fmla="*/ 1035113 w 1089433"/>
                <a:gd name="connsiteY18" fmla="*/ 588475 h 829264"/>
                <a:gd name="connsiteX19" fmla="*/ 1001917 w 1089433"/>
                <a:gd name="connsiteY19" fmla="*/ 576404 h 829264"/>
                <a:gd name="connsiteX20" fmla="*/ 977774 w 1089433"/>
                <a:gd name="connsiteY20" fmla="*/ 528119 h 829264"/>
                <a:gd name="connsiteX21" fmla="*/ 965703 w 1089433"/>
                <a:gd name="connsiteY21" fmla="*/ 479834 h 829264"/>
                <a:gd name="connsiteX22" fmla="*/ 935525 w 1089433"/>
                <a:gd name="connsiteY22" fmla="*/ 461727 h 829264"/>
                <a:gd name="connsiteX23" fmla="*/ 872150 w 1089433"/>
                <a:gd name="connsiteY23" fmla="*/ 422495 h 829264"/>
                <a:gd name="connsiteX24" fmla="*/ 829901 w 1089433"/>
                <a:gd name="connsiteY24" fmla="*/ 356103 h 829264"/>
                <a:gd name="connsiteX25" fmla="*/ 838954 w 1089433"/>
                <a:gd name="connsiteY25" fmla="*/ 328943 h 829264"/>
                <a:gd name="connsiteX26" fmla="*/ 866115 w 1089433"/>
                <a:gd name="connsiteY26" fmla="*/ 301782 h 829264"/>
                <a:gd name="connsiteX27" fmla="*/ 817830 w 1089433"/>
                <a:gd name="connsiteY27" fmla="*/ 256515 h 829264"/>
                <a:gd name="connsiteX28" fmla="*/ 805758 w 1089433"/>
                <a:gd name="connsiteY28" fmla="*/ 271604 h 829264"/>
                <a:gd name="connsiteX29" fmla="*/ 787651 w 1089433"/>
                <a:gd name="connsiteY29" fmla="*/ 277640 h 829264"/>
                <a:gd name="connsiteX30" fmla="*/ 766527 w 1089433"/>
                <a:gd name="connsiteY30" fmla="*/ 241426 h 829264"/>
                <a:gd name="connsiteX31" fmla="*/ 745402 w 1089433"/>
                <a:gd name="connsiteY31" fmla="*/ 181069 h 829264"/>
                <a:gd name="connsiteX32" fmla="*/ 712206 w 1089433"/>
                <a:gd name="connsiteY32" fmla="*/ 168998 h 829264"/>
                <a:gd name="connsiteX33" fmla="*/ 675992 w 1089433"/>
                <a:gd name="connsiteY33" fmla="*/ 156927 h 829264"/>
                <a:gd name="connsiteX34" fmla="*/ 657885 w 1089433"/>
                <a:gd name="connsiteY34" fmla="*/ 141838 h 829264"/>
                <a:gd name="connsiteX35" fmla="*/ 648831 w 1089433"/>
                <a:gd name="connsiteY35" fmla="*/ 90535 h 829264"/>
                <a:gd name="connsiteX36" fmla="*/ 639778 w 1089433"/>
                <a:gd name="connsiteY36" fmla="*/ 57339 h 829264"/>
                <a:gd name="connsiteX37" fmla="*/ 633742 w 1089433"/>
                <a:gd name="connsiteY37" fmla="*/ 24143 h 829264"/>
                <a:gd name="connsiteX38" fmla="*/ 576404 w 1089433"/>
                <a:gd name="connsiteY38" fmla="*/ 0 h 829264"/>
                <a:gd name="connsiteX39" fmla="*/ 0 w 1089433"/>
                <a:gd name="connsiteY39" fmla="*/ 63374 h 829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89433" h="829264">
                  <a:moveTo>
                    <a:pt x="0" y="63374"/>
                  </a:moveTo>
                  <a:lnTo>
                    <a:pt x="57338" y="159945"/>
                  </a:lnTo>
                  <a:lnTo>
                    <a:pt x="117695" y="202194"/>
                  </a:lnTo>
                  <a:lnTo>
                    <a:pt x="120713" y="262550"/>
                  </a:lnTo>
                  <a:lnTo>
                    <a:pt x="193140" y="331960"/>
                  </a:lnTo>
                  <a:lnTo>
                    <a:pt x="214265" y="721259"/>
                  </a:lnTo>
                  <a:lnTo>
                    <a:pt x="235568" y="829264"/>
                  </a:lnTo>
                  <a:lnTo>
                    <a:pt x="905346" y="754455"/>
                  </a:lnTo>
                  <a:lnTo>
                    <a:pt x="908364" y="805758"/>
                  </a:lnTo>
                  <a:lnTo>
                    <a:pt x="932507" y="823865"/>
                  </a:lnTo>
                  <a:lnTo>
                    <a:pt x="989845" y="823865"/>
                  </a:lnTo>
                  <a:lnTo>
                    <a:pt x="998899" y="799723"/>
                  </a:lnTo>
                  <a:lnTo>
                    <a:pt x="995881" y="772562"/>
                  </a:lnTo>
                  <a:lnTo>
                    <a:pt x="1029077" y="700135"/>
                  </a:lnTo>
                  <a:lnTo>
                    <a:pt x="1060995" y="687895"/>
                  </a:lnTo>
                  <a:lnTo>
                    <a:pt x="1089433" y="682028"/>
                  </a:lnTo>
                  <a:lnTo>
                    <a:pt x="1068309" y="648832"/>
                  </a:lnTo>
                  <a:lnTo>
                    <a:pt x="1065291" y="597529"/>
                  </a:lnTo>
                  <a:lnTo>
                    <a:pt x="1035113" y="588475"/>
                  </a:lnTo>
                  <a:lnTo>
                    <a:pt x="1001917" y="576404"/>
                  </a:lnTo>
                  <a:lnTo>
                    <a:pt x="977774" y="528119"/>
                  </a:lnTo>
                  <a:lnTo>
                    <a:pt x="965703" y="479834"/>
                  </a:lnTo>
                  <a:lnTo>
                    <a:pt x="935525" y="461727"/>
                  </a:lnTo>
                  <a:lnTo>
                    <a:pt x="872150" y="422495"/>
                  </a:lnTo>
                  <a:lnTo>
                    <a:pt x="829901" y="356103"/>
                  </a:lnTo>
                  <a:lnTo>
                    <a:pt x="838954" y="328943"/>
                  </a:lnTo>
                  <a:lnTo>
                    <a:pt x="866115" y="301782"/>
                  </a:lnTo>
                  <a:lnTo>
                    <a:pt x="817830" y="256515"/>
                  </a:lnTo>
                  <a:lnTo>
                    <a:pt x="805758" y="271604"/>
                  </a:lnTo>
                  <a:lnTo>
                    <a:pt x="787651" y="277640"/>
                  </a:lnTo>
                  <a:lnTo>
                    <a:pt x="766527" y="241426"/>
                  </a:lnTo>
                  <a:lnTo>
                    <a:pt x="745402" y="181069"/>
                  </a:lnTo>
                  <a:lnTo>
                    <a:pt x="712206" y="168998"/>
                  </a:lnTo>
                  <a:lnTo>
                    <a:pt x="675992" y="156927"/>
                  </a:lnTo>
                  <a:lnTo>
                    <a:pt x="657885" y="141838"/>
                  </a:lnTo>
                  <a:lnTo>
                    <a:pt x="648831" y="90535"/>
                  </a:lnTo>
                  <a:lnTo>
                    <a:pt x="639778" y="57339"/>
                  </a:lnTo>
                  <a:lnTo>
                    <a:pt x="633742" y="24143"/>
                  </a:lnTo>
                  <a:lnTo>
                    <a:pt x="576404" y="0"/>
                  </a:lnTo>
                  <a:lnTo>
                    <a:pt x="0" y="633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0" name="Freeform 109"/>
            <p:cNvSpPr/>
            <p:nvPr/>
          </p:nvSpPr>
          <p:spPr>
            <a:xfrm>
              <a:off x="3335272" y="2385964"/>
              <a:ext cx="522009" cy="486248"/>
            </a:xfrm>
            <a:custGeom>
              <a:avLst/>
              <a:gdLst>
                <a:gd name="connsiteX0" fmla="*/ 84499 w 829901"/>
                <a:gd name="connsiteY0" fmla="*/ 33196 h 823866"/>
                <a:gd name="connsiteX1" fmla="*/ 57339 w 829901"/>
                <a:gd name="connsiteY1" fmla="*/ 96571 h 823866"/>
                <a:gd name="connsiteX2" fmla="*/ 66392 w 829901"/>
                <a:gd name="connsiteY2" fmla="*/ 175034 h 823866"/>
                <a:gd name="connsiteX3" fmla="*/ 0 w 829901"/>
                <a:gd name="connsiteY3" fmla="*/ 259533 h 823866"/>
                <a:gd name="connsiteX4" fmla="*/ 33196 w 829901"/>
                <a:gd name="connsiteY4" fmla="*/ 301783 h 823866"/>
                <a:gd name="connsiteX5" fmla="*/ 45267 w 829901"/>
                <a:gd name="connsiteY5" fmla="*/ 331961 h 823866"/>
                <a:gd name="connsiteX6" fmla="*/ 36214 w 829901"/>
                <a:gd name="connsiteY6" fmla="*/ 374210 h 823866"/>
                <a:gd name="connsiteX7" fmla="*/ 27160 w 829901"/>
                <a:gd name="connsiteY7" fmla="*/ 380246 h 823866"/>
                <a:gd name="connsiteX8" fmla="*/ 36214 w 829901"/>
                <a:gd name="connsiteY8" fmla="*/ 446638 h 823866"/>
                <a:gd name="connsiteX9" fmla="*/ 75446 w 829901"/>
                <a:gd name="connsiteY9" fmla="*/ 449656 h 823866"/>
                <a:gd name="connsiteX10" fmla="*/ 102606 w 829901"/>
                <a:gd name="connsiteY10" fmla="*/ 461727 h 823866"/>
                <a:gd name="connsiteX11" fmla="*/ 150891 w 829901"/>
                <a:gd name="connsiteY11" fmla="*/ 476816 h 823866"/>
                <a:gd name="connsiteX12" fmla="*/ 190123 w 829901"/>
                <a:gd name="connsiteY12" fmla="*/ 531137 h 823866"/>
                <a:gd name="connsiteX13" fmla="*/ 220301 w 829901"/>
                <a:gd name="connsiteY13" fmla="*/ 537173 h 823866"/>
                <a:gd name="connsiteX14" fmla="*/ 256515 w 829901"/>
                <a:gd name="connsiteY14" fmla="*/ 561315 h 823866"/>
                <a:gd name="connsiteX15" fmla="*/ 277640 w 829901"/>
                <a:gd name="connsiteY15" fmla="*/ 564333 h 823866"/>
                <a:gd name="connsiteX16" fmla="*/ 292729 w 829901"/>
                <a:gd name="connsiteY16" fmla="*/ 618654 h 823866"/>
                <a:gd name="connsiteX17" fmla="*/ 292729 w 829901"/>
                <a:gd name="connsiteY17" fmla="*/ 636761 h 823866"/>
                <a:gd name="connsiteX18" fmla="*/ 301782 w 829901"/>
                <a:gd name="connsiteY18" fmla="*/ 666939 h 823866"/>
                <a:gd name="connsiteX19" fmla="*/ 298764 w 829901"/>
                <a:gd name="connsiteY19" fmla="*/ 682028 h 823866"/>
                <a:gd name="connsiteX20" fmla="*/ 304800 w 829901"/>
                <a:gd name="connsiteY20" fmla="*/ 697117 h 823866"/>
                <a:gd name="connsiteX21" fmla="*/ 301782 w 829901"/>
                <a:gd name="connsiteY21" fmla="*/ 763509 h 823866"/>
                <a:gd name="connsiteX22" fmla="*/ 337996 w 829901"/>
                <a:gd name="connsiteY22" fmla="*/ 793688 h 823866"/>
                <a:gd name="connsiteX23" fmla="*/ 380246 w 829901"/>
                <a:gd name="connsiteY23" fmla="*/ 808777 h 823866"/>
                <a:gd name="connsiteX24" fmla="*/ 404388 w 829901"/>
                <a:gd name="connsiteY24" fmla="*/ 823866 h 823866"/>
                <a:gd name="connsiteX25" fmla="*/ 473798 w 829901"/>
                <a:gd name="connsiteY25" fmla="*/ 808777 h 823866"/>
                <a:gd name="connsiteX26" fmla="*/ 790669 w 829901"/>
                <a:gd name="connsiteY26" fmla="*/ 751438 h 823866"/>
                <a:gd name="connsiteX27" fmla="*/ 802741 w 829901"/>
                <a:gd name="connsiteY27" fmla="*/ 751438 h 823866"/>
                <a:gd name="connsiteX28" fmla="*/ 802741 w 829901"/>
                <a:gd name="connsiteY28" fmla="*/ 688064 h 823866"/>
                <a:gd name="connsiteX29" fmla="*/ 766527 w 829901"/>
                <a:gd name="connsiteY29" fmla="*/ 579422 h 823866"/>
                <a:gd name="connsiteX30" fmla="*/ 772562 w 829901"/>
                <a:gd name="connsiteY30" fmla="*/ 522084 h 823866"/>
                <a:gd name="connsiteX31" fmla="*/ 757473 w 829901"/>
                <a:gd name="connsiteY31" fmla="*/ 473798 h 823866"/>
                <a:gd name="connsiteX32" fmla="*/ 778598 w 829901"/>
                <a:gd name="connsiteY32" fmla="*/ 443620 h 823866"/>
                <a:gd name="connsiteX33" fmla="*/ 781616 w 829901"/>
                <a:gd name="connsiteY33" fmla="*/ 407406 h 823866"/>
                <a:gd name="connsiteX34" fmla="*/ 772562 w 829901"/>
                <a:gd name="connsiteY34" fmla="*/ 353086 h 823866"/>
                <a:gd name="connsiteX35" fmla="*/ 811794 w 829901"/>
                <a:gd name="connsiteY35" fmla="*/ 292729 h 823866"/>
                <a:gd name="connsiteX36" fmla="*/ 829901 w 829901"/>
                <a:gd name="connsiteY36" fmla="*/ 226337 h 823866"/>
                <a:gd name="connsiteX37" fmla="*/ 823865 w 829901"/>
                <a:gd name="connsiteY37" fmla="*/ 220301 h 823866"/>
                <a:gd name="connsiteX38" fmla="*/ 805758 w 829901"/>
                <a:gd name="connsiteY38" fmla="*/ 235391 h 823866"/>
                <a:gd name="connsiteX39" fmla="*/ 787651 w 829901"/>
                <a:gd name="connsiteY39" fmla="*/ 271604 h 823866"/>
                <a:gd name="connsiteX40" fmla="*/ 769545 w 829901"/>
                <a:gd name="connsiteY40" fmla="*/ 307818 h 823866"/>
                <a:gd name="connsiteX41" fmla="*/ 751438 w 829901"/>
                <a:gd name="connsiteY41" fmla="*/ 316872 h 823866"/>
                <a:gd name="connsiteX42" fmla="*/ 745402 w 829901"/>
                <a:gd name="connsiteY42" fmla="*/ 341014 h 823866"/>
                <a:gd name="connsiteX43" fmla="*/ 727295 w 829901"/>
                <a:gd name="connsiteY43" fmla="*/ 362139 h 823866"/>
                <a:gd name="connsiteX44" fmla="*/ 715224 w 829901"/>
                <a:gd name="connsiteY44" fmla="*/ 371193 h 823866"/>
                <a:gd name="connsiteX45" fmla="*/ 715224 w 829901"/>
                <a:gd name="connsiteY45" fmla="*/ 371193 h 823866"/>
                <a:gd name="connsiteX46" fmla="*/ 715224 w 829901"/>
                <a:gd name="connsiteY46" fmla="*/ 371193 h 823866"/>
                <a:gd name="connsiteX47" fmla="*/ 721259 w 829901"/>
                <a:gd name="connsiteY47" fmla="*/ 316872 h 823866"/>
                <a:gd name="connsiteX48" fmla="*/ 718242 w 829901"/>
                <a:gd name="connsiteY48" fmla="*/ 301783 h 823866"/>
                <a:gd name="connsiteX49" fmla="*/ 730313 w 829901"/>
                <a:gd name="connsiteY49" fmla="*/ 265569 h 823866"/>
                <a:gd name="connsiteX50" fmla="*/ 727295 w 829901"/>
                <a:gd name="connsiteY50" fmla="*/ 226337 h 823866"/>
                <a:gd name="connsiteX51" fmla="*/ 703152 w 829901"/>
                <a:gd name="connsiteY51" fmla="*/ 193141 h 823866"/>
                <a:gd name="connsiteX52" fmla="*/ 697117 w 829901"/>
                <a:gd name="connsiteY52" fmla="*/ 178052 h 823866"/>
                <a:gd name="connsiteX53" fmla="*/ 706170 w 829901"/>
                <a:gd name="connsiteY53" fmla="*/ 162963 h 823866"/>
                <a:gd name="connsiteX54" fmla="*/ 709188 w 829901"/>
                <a:gd name="connsiteY54" fmla="*/ 147874 h 823866"/>
                <a:gd name="connsiteX55" fmla="*/ 691081 w 829901"/>
                <a:gd name="connsiteY55" fmla="*/ 147874 h 823866"/>
                <a:gd name="connsiteX56" fmla="*/ 672974 w 829901"/>
                <a:gd name="connsiteY56" fmla="*/ 147874 h 823866"/>
                <a:gd name="connsiteX57" fmla="*/ 654867 w 829901"/>
                <a:gd name="connsiteY57" fmla="*/ 117695 h 823866"/>
                <a:gd name="connsiteX58" fmla="*/ 615636 w 829901"/>
                <a:gd name="connsiteY58" fmla="*/ 117695 h 823866"/>
                <a:gd name="connsiteX59" fmla="*/ 564333 w 829901"/>
                <a:gd name="connsiteY59" fmla="*/ 111660 h 823866"/>
                <a:gd name="connsiteX60" fmla="*/ 497941 w 829901"/>
                <a:gd name="connsiteY60" fmla="*/ 99589 h 823866"/>
                <a:gd name="connsiteX61" fmla="*/ 443620 w 829901"/>
                <a:gd name="connsiteY61" fmla="*/ 99589 h 823866"/>
                <a:gd name="connsiteX62" fmla="*/ 401370 w 829901"/>
                <a:gd name="connsiteY62" fmla="*/ 93553 h 823866"/>
                <a:gd name="connsiteX63" fmla="*/ 347049 w 829901"/>
                <a:gd name="connsiteY63" fmla="*/ 72428 h 823866"/>
                <a:gd name="connsiteX64" fmla="*/ 328943 w 829901"/>
                <a:gd name="connsiteY64" fmla="*/ 48286 h 823866"/>
                <a:gd name="connsiteX65" fmla="*/ 250479 w 829901"/>
                <a:gd name="connsiteY65" fmla="*/ 51303 h 823866"/>
                <a:gd name="connsiteX66" fmla="*/ 235390 w 829901"/>
                <a:gd name="connsiteY66" fmla="*/ 0 h 823866"/>
                <a:gd name="connsiteX67" fmla="*/ 168998 w 829901"/>
                <a:gd name="connsiteY67" fmla="*/ 30179 h 823866"/>
                <a:gd name="connsiteX68" fmla="*/ 84499 w 829901"/>
                <a:gd name="connsiteY68" fmla="*/ 33196 h 823866"/>
                <a:gd name="connsiteX0" fmla="*/ 84499 w 829901"/>
                <a:gd name="connsiteY0" fmla="*/ 33196 h 823866"/>
                <a:gd name="connsiteX1" fmla="*/ 57339 w 829901"/>
                <a:gd name="connsiteY1" fmla="*/ 96571 h 823866"/>
                <a:gd name="connsiteX2" fmla="*/ 66392 w 829901"/>
                <a:gd name="connsiteY2" fmla="*/ 175034 h 823866"/>
                <a:gd name="connsiteX3" fmla="*/ 0 w 829901"/>
                <a:gd name="connsiteY3" fmla="*/ 259533 h 823866"/>
                <a:gd name="connsiteX4" fmla="*/ 33196 w 829901"/>
                <a:gd name="connsiteY4" fmla="*/ 301783 h 823866"/>
                <a:gd name="connsiteX5" fmla="*/ 45267 w 829901"/>
                <a:gd name="connsiteY5" fmla="*/ 331961 h 823866"/>
                <a:gd name="connsiteX6" fmla="*/ 36214 w 829901"/>
                <a:gd name="connsiteY6" fmla="*/ 374210 h 823866"/>
                <a:gd name="connsiteX7" fmla="*/ 27160 w 829901"/>
                <a:gd name="connsiteY7" fmla="*/ 380246 h 823866"/>
                <a:gd name="connsiteX8" fmla="*/ 36214 w 829901"/>
                <a:gd name="connsiteY8" fmla="*/ 446638 h 823866"/>
                <a:gd name="connsiteX9" fmla="*/ 75446 w 829901"/>
                <a:gd name="connsiteY9" fmla="*/ 449656 h 823866"/>
                <a:gd name="connsiteX10" fmla="*/ 102606 w 829901"/>
                <a:gd name="connsiteY10" fmla="*/ 461727 h 823866"/>
                <a:gd name="connsiteX11" fmla="*/ 150891 w 829901"/>
                <a:gd name="connsiteY11" fmla="*/ 476816 h 823866"/>
                <a:gd name="connsiteX12" fmla="*/ 190123 w 829901"/>
                <a:gd name="connsiteY12" fmla="*/ 531137 h 823866"/>
                <a:gd name="connsiteX13" fmla="*/ 220301 w 829901"/>
                <a:gd name="connsiteY13" fmla="*/ 537173 h 823866"/>
                <a:gd name="connsiteX14" fmla="*/ 249361 w 829901"/>
                <a:gd name="connsiteY14" fmla="*/ 585126 h 823866"/>
                <a:gd name="connsiteX15" fmla="*/ 277640 w 829901"/>
                <a:gd name="connsiteY15" fmla="*/ 564333 h 823866"/>
                <a:gd name="connsiteX16" fmla="*/ 292729 w 829901"/>
                <a:gd name="connsiteY16" fmla="*/ 618654 h 823866"/>
                <a:gd name="connsiteX17" fmla="*/ 292729 w 829901"/>
                <a:gd name="connsiteY17" fmla="*/ 636761 h 823866"/>
                <a:gd name="connsiteX18" fmla="*/ 301782 w 829901"/>
                <a:gd name="connsiteY18" fmla="*/ 666939 h 823866"/>
                <a:gd name="connsiteX19" fmla="*/ 298764 w 829901"/>
                <a:gd name="connsiteY19" fmla="*/ 682028 h 823866"/>
                <a:gd name="connsiteX20" fmla="*/ 304800 w 829901"/>
                <a:gd name="connsiteY20" fmla="*/ 697117 h 823866"/>
                <a:gd name="connsiteX21" fmla="*/ 301782 w 829901"/>
                <a:gd name="connsiteY21" fmla="*/ 763509 h 823866"/>
                <a:gd name="connsiteX22" fmla="*/ 337996 w 829901"/>
                <a:gd name="connsiteY22" fmla="*/ 793688 h 823866"/>
                <a:gd name="connsiteX23" fmla="*/ 380246 w 829901"/>
                <a:gd name="connsiteY23" fmla="*/ 808777 h 823866"/>
                <a:gd name="connsiteX24" fmla="*/ 404388 w 829901"/>
                <a:gd name="connsiteY24" fmla="*/ 823866 h 823866"/>
                <a:gd name="connsiteX25" fmla="*/ 473798 w 829901"/>
                <a:gd name="connsiteY25" fmla="*/ 808777 h 823866"/>
                <a:gd name="connsiteX26" fmla="*/ 790669 w 829901"/>
                <a:gd name="connsiteY26" fmla="*/ 751438 h 823866"/>
                <a:gd name="connsiteX27" fmla="*/ 802741 w 829901"/>
                <a:gd name="connsiteY27" fmla="*/ 751438 h 823866"/>
                <a:gd name="connsiteX28" fmla="*/ 802741 w 829901"/>
                <a:gd name="connsiteY28" fmla="*/ 688064 h 823866"/>
                <a:gd name="connsiteX29" fmla="*/ 766527 w 829901"/>
                <a:gd name="connsiteY29" fmla="*/ 579422 h 823866"/>
                <a:gd name="connsiteX30" fmla="*/ 772562 w 829901"/>
                <a:gd name="connsiteY30" fmla="*/ 522084 h 823866"/>
                <a:gd name="connsiteX31" fmla="*/ 757473 w 829901"/>
                <a:gd name="connsiteY31" fmla="*/ 473798 h 823866"/>
                <a:gd name="connsiteX32" fmla="*/ 778598 w 829901"/>
                <a:gd name="connsiteY32" fmla="*/ 443620 h 823866"/>
                <a:gd name="connsiteX33" fmla="*/ 781616 w 829901"/>
                <a:gd name="connsiteY33" fmla="*/ 407406 h 823866"/>
                <a:gd name="connsiteX34" fmla="*/ 772562 w 829901"/>
                <a:gd name="connsiteY34" fmla="*/ 353086 h 823866"/>
                <a:gd name="connsiteX35" fmla="*/ 811794 w 829901"/>
                <a:gd name="connsiteY35" fmla="*/ 292729 h 823866"/>
                <a:gd name="connsiteX36" fmla="*/ 829901 w 829901"/>
                <a:gd name="connsiteY36" fmla="*/ 226337 h 823866"/>
                <a:gd name="connsiteX37" fmla="*/ 823865 w 829901"/>
                <a:gd name="connsiteY37" fmla="*/ 220301 h 823866"/>
                <a:gd name="connsiteX38" fmla="*/ 805758 w 829901"/>
                <a:gd name="connsiteY38" fmla="*/ 235391 h 823866"/>
                <a:gd name="connsiteX39" fmla="*/ 787651 w 829901"/>
                <a:gd name="connsiteY39" fmla="*/ 271604 h 823866"/>
                <a:gd name="connsiteX40" fmla="*/ 769545 w 829901"/>
                <a:gd name="connsiteY40" fmla="*/ 307818 h 823866"/>
                <a:gd name="connsiteX41" fmla="*/ 751438 w 829901"/>
                <a:gd name="connsiteY41" fmla="*/ 316872 h 823866"/>
                <a:gd name="connsiteX42" fmla="*/ 745402 w 829901"/>
                <a:gd name="connsiteY42" fmla="*/ 341014 h 823866"/>
                <a:gd name="connsiteX43" fmla="*/ 727295 w 829901"/>
                <a:gd name="connsiteY43" fmla="*/ 362139 h 823866"/>
                <a:gd name="connsiteX44" fmla="*/ 715224 w 829901"/>
                <a:gd name="connsiteY44" fmla="*/ 371193 h 823866"/>
                <a:gd name="connsiteX45" fmla="*/ 715224 w 829901"/>
                <a:gd name="connsiteY45" fmla="*/ 371193 h 823866"/>
                <a:gd name="connsiteX46" fmla="*/ 715224 w 829901"/>
                <a:gd name="connsiteY46" fmla="*/ 371193 h 823866"/>
                <a:gd name="connsiteX47" fmla="*/ 721259 w 829901"/>
                <a:gd name="connsiteY47" fmla="*/ 316872 h 823866"/>
                <a:gd name="connsiteX48" fmla="*/ 718242 w 829901"/>
                <a:gd name="connsiteY48" fmla="*/ 301783 h 823866"/>
                <a:gd name="connsiteX49" fmla="*/ 730313 w 829901"/>
                <a:gd name="connsiteY49" fmla="*/ 265569 h 823866"/>
                <a:gd name="connsiteX50" fmla="*/ 727295 w 829901"/>
                <a:gd name="connsiteY50" fmla="*/ 226337 h 823866"/>
                <a:gd name="connsiteX51" fmla="*/ 703152 w 829901"/>
                <a:gd name="connsiteY51" fmla="*/ 193141 h 823866"/>
                <a:gd name="connsiteX52" fmla="*/ 697117 w 829901"/>
                <a:gd name="connsiteY52" fmla="*/ 178052 h 823866"/>
                <a:gd name="connsiteX53" fmla="*/ 706170 w 829901"/>
                <a:gd name="connsiteY53" fmla="*/ 162963 h 823866"/>
                <a:gd name="connsiteX54" fmla="*/ 709188 w 829901"/>
                <a:gd name="connsiteY54" fmla="*/ 147874 h 823866"/>
                <a:gd name="connsiteX55" fmla="*/ 691081 w 829901"/>
                <a:gd name="connsiteY55" fmla="*/ 147874 h 823866"/>
                <a:gd name="connsiteX56" fmla="*/ 672974 w 829901"/>
                <a:gd name="connsiteY56" fmla="*/ 147874 h 823866"/>
                <a:gd name="connsiteX57" fmla="*/ 654867 w 829901"/>
                <a:gd name="connsiteY57" fmla="*/ 117695 h 823866"/>
                <a:gd name="connsiteX58" fmla="*/ 615636 w 829901"/>
                <a:gd name="connsiteY58" fmla="*/ 117695 h 823866"/>
                <a:gd name="connsiteX59" fmla="*/ 564333 w 829901"/>
                <a:gd name="connsiteY59" fmla="*/ 111660 h 823866"/>
                <a:gd name="connsiteX60" fmla="*/ 497941 w 829901"/>
                <a:gd name="connsiteY60" fmla="*/ 99589 h 823866"/>
                <a:gd name="connsiteX61" fmla="*/ 443620 w 829901"/>
                <a:gd name="connsiteY61" fmla="*/ 99589 h 823866"/>
                <a:gd name="connsiteX62" fmla="*/ 401370 w 829901"/>
                <a:gd name="connsiteY62" fmla="*/ 93553 h 823866"/>
                <a:gd name="connsiteX63" fmla="*/ 347049 w 829901"/>
                <a:gd name="connsiteY63" fmla="*/ 72428 h 823866"/>
                <a:gd name="connsiteX64" fmla="*/ 328943 w 829901"/>
                <a:gd name="connsiteY64" fmla="*/ 48286 h 823866"/>
                <a:gd name="connsiteX65" fmla="*/ 250479 w 829901"/>
                <a:gd name="connsiteY65" fmla="*/ 51303 h 823866"/>
                <a:gd name="connsiteX66" fmla="*/ 235390 w 829901"/>
                <a:gd name="connsiteY66" fmla="*/ 0 h 823866"/>
                <a:gd name="connsiteX67" fmla="*/ 168998 w 829901"/>
                <a:gd name="connsiteY67" fmla="*/ 30179 h 823866"/>
                <a:gd name="connsiteX68" fmla="*/ 84499 w 829901"/>
                <a:gd name="connsiteY68" fmla="*/ 33196 h 823866"/>
                <a:gd name="connsiteX0" fmla="*/ 84499 w 829901"/>
                <a:gd name="connsiteY0" fmla="*/ 33196 h 823866"/>
                <a:gd name="connsiteX1" fmla="*/ 57339 w 829901"/>
                <a:gd name="connsiteY1" fmla="*/ 96571 h 823866"/>
                <a:gd name="connsiteX2" fmla="*/ 66392 w 829901"/>
                <a:gd name="connsiteY2" fmla="*/ 175034 h 823866"/>
                <a:gd name="connsiteX3" fmla="*/ 0 w 829901"/>
                <a:gd name="connsiteY3" fmla="*/ 259533 h 823866"/>
                <a:gd name="connsiteX4" fmla="*/ 33196 w 829901"/>
                <a:gd name="connsiteY4" fmla="*/ 301783 h 823866"/>
                <a:gd name="connsiteX5" fmla="*/ 45267 w 829901"/>
                <a:gd name="connsiteY5" fmla="*/ 331961 h 823866"/>
                <a:gd name="connsiteX6" fmla="*/ 36214 w 829901"/>
                <a:gd name="connsiteY6" fmla="*/ 374210 h 823866"/>
                <a:gd name="connsiteX7" fmla="*/ 27160 w 829901"/>
                <a:gd name="connsiteY7" fmla="*/ 380246 h 823866"/>
                <a:gd name="connsiteX8" fmla="*/ 36214 w 829901"/>
                <a:gd name="connsiteY8" fmla="*/ 446638 h 823866"/>
                <a:gd name="connsiteX9" fmla="*/ 75446 w 829901"/>
                <a:gd name="connsiteY9" fmla="*/ 449656 h 823866"/>
                <a:gd name="connsiteX10" fmla="*/ 102606 w 829901"/>
                <a:gd name="connsiteY10" fmla="*/ 461727 h 823866"/>
                <a:gd name="connsiteX11" fmla="*/ 150891 w 829901"/>
                <a:gd name="connsiteY11" fmla="*/ 476816 h 823866"/>
                <a:gd name="connsiteX12" fmla="*/ 175815 w 829901"/>
                <a:gd name="connsiteY12" fmla="*/ 538280 h 823866"/>
                <a:gd name="connsiteX13" fmla="*/ 220301 w 829901"/>
                <a:gd name="connsiteY13" fmla="*/ 537173 h 823866"/>
                <a:gd name="connsiteX14" fmla="*/ 249361 w 829901"/>
                <a:gd name="connsiteY14" fmla="*/ 585126 h 823866"/>
                <a:gd name="connsiteX15" fmla="*/ 277640 w 829901"/>
                <a:gd name="connsiteY15" fmla="*/ 564333 h 823866"/>
                <a:gd name="connsiteX16" fmla="*/ 292729 w 829901"/>
                <a:gd name="connsiteY16" fmla="*/ 618654 h 823866"/>
                <a:gd name="connsiteX17" fmla="*/ 292729 w 829901"/>
                <a:gd name="connsiteY17" fmla="*/ 636761 h 823866"/>
                <a:gd name="connsiteX18" fmla="*/ 301782 w 829901"/>
                <a:gd name="connsiteY18" fmla="*/ 666939 h 823866"/>
                <a:gd name="connsiteX19" fmla="*/ 298764 w 829901"/>
                <a:gd name="connsiteY19" fmla="*/ 682028 h 823866"/>
                <a:gd name="connsiteX20" fmla="*/ 304800 w 829901"/>
                <a:gd name="connsiteY20" fmla="*/ 697117 h 823866"/>
                <a:gd name="connsiteX21" fmla="*/ 301782 w 829901"/>
                <a:gd name="connsiteY21" fmla="*/ 763509 h 823866"/>
                <a:gd name="connsiteX22" fmla="*/ 337996 w 829901"/>
                <a:gd name="connsiteY22" fmla="*/ 793688 h 823866"/>
                <a:gd name="connsiteX23" fmla="*/ 380246 w 829901"/>
                <a:gd name="connsiteY23" fmla="*/ 808777 h 823866"/>
                <a:gd name="connsiteX24" fmla="*/ 404388 w 829901"/>
                <a:gd name="connsiteY24" fmla="*/ 823866 h 823866"/>
                <a:gd name="connsiteX25" fmla="*/ 473798 w 829901"/>
                <a:gd name="connsiteY25" fmla="*/ 808777 h 823866"/>
                <a:gd name="connsiteX26" fmla="*/ 790669 w 829901"/>
                <a:gd name="connsiteY26" fmla="*/ 751438 h 823866"/>
                <a:gd name="connsiteX27" fmla="*/ 802741 w 829901"/>
                <a:gd name="connsiteY27" fmla="*/ 751438 h 823866"/>
                <a:gd name="connsiteX28" fmla="*/ 802741 w 829901"/>
                <a:gd name="connsiteY28" fmla="*/ 688064 h 823866"/>
                <a:gd name="connsiteX29" fmla="*/ 766527 w 829901"/>
                <a:gd name="connsiteY29" fmla="*/ 579422 h 823866"/>
                <a:gd name="connsiteX30" fmla="*/ 772562 w 829901"/>
                <a:gd name="connsiteY30" fmla="*/ 522084 h 823866"/>
                <a:gd name="connsiteX31" fmla="*/ 757473 w 829901"/>
                <a:gd name="connsiteY31" fmla="*/ 473798 h 823866"/>
                <a:gd name="connsiteX32" fmla="*/ 778598 w 829901"/>
                <a:gd name="connsiteY32" fmla="*/ 443620 h 823866"/>
                <a:gd name="connsiteX33" fmla="*/ 781616 w 829901"/>
                <a:gd name="connsiteY33" fmla="*/ 407406 h 823866"/>
                <a:gd name="connsiteX34" fmla="*/ 772562 w 829901"/>
                <a:gd name="connsiteY34" fmla="*/ 353086 h 823866"/>
                <a:gd name="connsiteX35" fmla="*/ 811794 w 829901"/>
                <a:gd name="connsiteY35" fmla="*/ 292729 h 823866"/>
                <a:gd name="connsiteX36" fmla="*/ 829901 w 829901"/>
                <a:gd name="connsiteY36" fmla="*/ 226337 h 823866"/>
                <a:gd name="connsiteX37" fmla="*/ 823865 w 829901"/>
                <a:gd name="connsiteY37" fmla="*/ 220301 h 823866"/>
                <a:gd name="connsiteX38" fmla="*/ 805758 w 829901"/>
                <a:gd name="connsiteY38" fmla="*/ 235391 h 823866"/>
                <a:gd name="connsiteX39" fmla="*/ 787651 w 829901"/>
                <a:gd name="connsiteY39" fmla="*/ 271604 h 823866"/>
                <a:gd name="connsiteX40" fmla="*/ 769545 w 829901"/>
                <a:gd name="connsiteY40" fmla="*/ 307818 h 823866"/>
                <a:gd name="connsiteX41" fmla="*/ 751438 w 829901"/>
                <a:gd name="connsiteY41" fmla="*/ 316872 h 823866"/>
                <a:gd name="connsiteX42" fmla="*/ 745402 w 829901"/>
                <a:gd name="connsiteY42" fmla="*/ 341014 h 823866"/>
                <a:gd name="connsiteX43" fmla="*/ 727295 w 829901"/>
                <a:gd name="connsiteY43" fmla="*/ 362139 h 823866"/>
                <a:gd name="connsiteX44" fmla="*/ 715224 w 829901"/>
                <a:gd name="connsiteY44" fmla="*/ 371193 h 823866"/>
                <a:gd name="connsiteX45" fmla="*/ 715224 w 829901"/>
                <a:gd name="connsiteY45" fmla="*/ 371193 h 823866"/>
                <a:gd name="connsiteX46" fmla="*/ 715224 w 829901"/>
                <a:gd name="connsiteY46" fmla="*/ 371193 h 823866"/>
                <a:gd name="connsiteX47" fmla="*/ 721259 w 829901"/>
                <a:gd name="connsiteY47" fmla="*/ 316872 h 823866"/>
                <a:gd name="connsiteX48" fmla="*/ 718242 w 829901"/>
                <a:gd name="connsiteY48" fmla="*/ 301783 h 823866"/>
                <a:gd name="connsiteX49" fmla="*/ 730313 w 829901"/>
                <a:gd name="connsiteY49" fmla="*/ 265569 h 823866"/>
                <a:gd name="connsiteX50" fmla="*/ 727295 w 829901"/>
                <a:gd name="connsiteY50" fmla="*/ 226337 h 823866"/>
                <a:gd name="connsiteX51" fmla="*/ 703152 w 829901"/>
                <a:gd name="connsiteY51" fmla="*/ 193141 h 823866"/>
                <a:gd name="connsiteX52" fmla="*/ 697117 w 829901"/>
                <a:gd name="connsiteY52" fmla="*/ 178052 h 823866"/>
                <a:gd name="connsiteX53" fmla="*/ 706170 w 829901"/>
                <a:gd name="connsiteY53" fmla="*/ 162963 h 823866"/>
                <a:gd name="connsiteX54" fmla="*/ 709188 w 829901"/>
                <a:gd name="connsiteY54" fmla="*/ 147874 h 823866"/>
                <a:gd name="connsiteX55" fmla="*/ 691081 w 829901"/>
                <a:gd name="connsiteY55" fmla="*/ 147874 h 823866"/>
                <a:gd name="connsiteX56" fmla="*/ 672974 w 829901"/>
                <a:gd name="connsiteY56" fmla="*/ 147874 h 823866"/>
                <a:gd name="connsiteX57" fmla="*/ 654867 w 829901"/>
                <a:gd name="connsiteY57" fmla="*/ 117695 h 823866"/>
                <a:gd name="connsiteX58" fmla="*/ 615636 w 829901"/>
                <a:gd name="connsiteY58" fmla="*/ 117695 h 823866"/>
                <a:gd name="connsiteX59" fmla="*/ 564333 w 829901"/>
                <a:gd name="connsiteY59" fmla="*/ 111660 h 823866"/>
                <a:gd name="connsiteX60" fmla="*/ 497941 w 829901"/>
                <a:gd name="connsiteY60" fmla="*/ 99589 h 823866"/>
                <a:gd name="connsiteX61" fmla="*/ 443620 w 829901"/>
                <a:gd name="connsiteY61" fmla="*/ 99589 h 823866"/>
                <a:gd name="connsiteX62" fmla="*/ 401370 w 829901"/>
                <a:gd name="connsiteY62" fmla="*/ 93553 h 823866"/>
                <a:gd name="connsiteX63" fmla="*/ 347049 w 829901"/>
                <a:gd name="connsiteY63" fmla="*/ 72428 h 823866"/>
                <a:gd name="connsiteX64" fmla="*/ 328943 w 829901"/>
                <a:gd name="connsiteY64" fmla="*/ 48286 h 823866"/>
                <a:gd name="connsiteX65" fmla="*/ 250479 w 829901"/>
                <a:gd name="connsiteY65" fmla="*/ 51303 h 823866"/>
                <a:gd name="connsiteX66" fmla="*/ 235390 w 829901"/>
                <a:gd name="connsiteY66" fmla="*/ 0 h 823866"/>
                <a:gd name="connsiteX67" fmla="*/ 168998 w 829901"/>
                <a:gd name="connsiteY67" fmla="*/ 30179 h 823866"/>
                <a:gd name="connsiteX68" fmla="*/ 84499 w 829901"/>
                <a:gd name="connsiteY68" fmla="*/ 33196 h 823866"/>
                <a:gd name="connsiteX0" fmla="*/ 84499 w 829901"/>
                <a:gd name="connsiteY0" fmla="*/ 33196 h 823866"/>
                <a:gd name="connsiteX1" fmla="*/ 57339 w 829901"/>
                <a:gd name="connsiteY1" fmla="*/ 96571 h 823866"/>
                <a:gd name="connsiteX2" fmla="*/ 66392 w 829901"/>
                <a:gd name="connsiteY2" fmla="*/ 175034 h 823866"/>
                <a:gd name="connsiteX3" fmla="*/ 0 w 829901"/>
                <a:gd name="connsiteY3" fmla="*/ 259533 h 823866"/>
                <a:gd name="connsiteX4" fmla="*/ 33196 w 829901"/>
                <a:gd name="connsiteY4" fmla="*/ 301783 h 823866"/>
                <a:gd name="connsiteX5" fmla="*/ 45267 w 829901"/>
                <a:gd name="connsiteY5" fmla="*/ 331961 h 823866"/>
                <a:gd name="connsiteX6" fmla="*/ 36214 w 829901"/>
                <a:gd name="connsiteY6" fmla="*/ 374210 h 823866"/>
                <a:gd name="connsiteX7" fmla="*/ 27160 w 829901"/>
                <a:gd name="connsiteY7" fmla="*/ 380246 h 823866"/>
                <a:gd name="connsiteX8" fmla="*/ 36214 w 829901"/>
                <a:gd name="connsiteY8" fmla="*/ 446638 h 823866"/>
                <a:gd name="connsiteX9" fmla="*/ 75446 w 829901"/>
                <a:gd name="connsiteY9" fmla="*/ 449656 h 823866"/>
                <a:gd name="connsiteX10" fmla="*/ 102606 w 829901"/>
                <a:gd name="connsiteY10" fmla="*/ 461727 h 823866"/>
                <a:gd name="connsiteX11" fmla="*/ 138967 w 829901"/>
                <a:gd name="connsiteY11" fmla="*/ 486341 h 823866"/>
                <a:gd name="connsiteX12" fmla="*/ 175815 w 829901"/>
                <a:gd name="connsiteY12" fmla="*/ 538280 h 823866"/>
                <a:gd name="connsiteX13" fmla="*/ 220301 w 829901"/>
                <a:gd name="connsiteY13" fmla="*/ 537173 h 823866"/>
                <a:gd name="connsiteX14" fmla="*/ 249361 w 829901"/>
                <a:gd name="connsiteY14" fmla="*/ 585126 h 823866"/>
                <a:gd name="connsiteX15" fmla="*/ 277640 w 829901"/>
                <a:gd name="connsiteY15" fmla="*/ 564333 h 823866"/>
                <a:gd name="connsiteX16" fmla="*/ 292729 w 829901"/>
                <a:gd name="connsiteY16" fmla="*/ 618654 h 823866"/>
                <a:gd name="connsiteX17" fmla="*/ 292729 w 829901"/>
                <a:gd name="connsiteY17" fmla="*/ 636761 h 823866"/>
                <a:gd name="connsiteX18" fmla="*/ 301782 w 829901"/>
                <a:gd name="connsiteY18" fmla="*/ 666939 h 823866"/>
                <a:gd name="connsiteX19" fmla="*/ 298764 w 829901"/>
                <a:gd name="connsiteY19" fmla="*/ 682028 h 823866"/>
                <a:gd name="connsiteX20" fmla="*/ 304800 w 829901"/>
                <a:gd name="connsiteY20" fmla="*/ 697117 h 823866"/>
                <a:gd name="connsiteX21" fmla="*/ 301782 w 829901"/>
                <a:gd name="connsiteY21" fmla="*/ 763509 h 823866"/>
                <a:gd name="connsiteX22" fmla="*/ 337996 w 829901"/>
                <a:gd name="connsiteY22" fmla="*/ 793688 h 823866"/>
                <a:gd name="connsiteX23" fmla="*/ 380246 w 829901"/>
                <a:gd name="connsiteY23" fmla="*/ 808777 h 823866"/>
                <a:gd name="connsiteX24" fmla="*/ 404388 w 829901"/>
                <a:gd name="connsiteY24" fmla="*/ 823866 h 823866"/>
                <a:gd name="connsiteX25" fmla="*/ 473798 w 829901"/>
                <a:gd name="connsiteY25" fmla="*/ 808777 h 823866"/>
                <a:gd name="connsiteX26" fmla="*/ 790669 w 829901"/>
                <a:gd name="connsiteY26" fmla="*/ 751438 h 823866"/>
                <a:gd name="connsiteX27" fmla="*/ 802741 w 829901"/>
                <a:gd name="connsiteY27" fmla="*/ 751438 h 823866"/>
                <a:gd name="connsiteX28" fmla="*/ 802741 w 829901"/>
                <a:gd name="connsiteY28" fmla="*/ 688064 h 823866"/>
                <a:gd name="connsiteX29" fmla="*/ 766527 w 829901"/>
                <a:gd name="connsiteY29" fmla="*/ 579422 h 823866"/>
                <a:gd name="connsiteX30" fmla="*/ 772562 w 829901"/>
                <a:gd name="connsiteY30" fmla="*/ 522084 h 823866"/>
                <a:gd name="connsiteX31" fmla="*/ 757473 w 829901"/>
                <a:gd name="connsiteY31" fmla="*/ 473798 h 823866"/>
                <a:gd name="connsiteX32" fmla="*/ 778598 w 829901"/>
                <a:gd name="connsiteY32" fmla="*/ 443620 h 823866"/>
                <a:gd name="connsiteX33" fmla="*/ 781616 w 829901"/>
                <a:gd name="connsiteY33" fmla="*/ 407406 h 823866"/>
                <a:gd name="connsiteX34" fmla="*/ 772562 w 829901"/>
                <a:gd name="connsiteY34" fmla="*/ 353086 h 823866"/>
                <a:gd name="connsiteX35" fmla="*/ 811794 w 829901"/>
                <a:gd name="connsiteY35" fmla="*/ 292729 h 823866"/>
                <a:gd name="connsiteX36" fmla="*/ 829901 w 829901"/>
                <a:gd name="connsiteY36" fmla="*/ 226337 h 823866"/>
                <a:gd name="connsiteX37" fmla="*/ 823865 w 829901"/>
                <a:gd name="connsiteY37" fmla="*/ 220301 h 823866"/>
                <a:gd name="connsiteX38" fmla="*/ 805758 w 829901"/>
                <a:gd name="connsiteY38" fmla="*/ 235391 h 823866"/>
                <a:gd name="connsiteX39" fmla="*/ 787651 w 829901"/>
                <a:gd name="connsiteY39" fmla="*/ 271604 h 823866"/>
                <a:gd name="connsiteX40" fmla="*/ 769545 w 829901"/>
                <a:gd name="connsiteY40" fmla="*/ 307818 h 823866"/>
                <a:gd name="connsiteX41" fmla="*/ 751438 w 829901"/>
                <a:gd name="connsiteY41" fmla="*/ 316872 h 823866"/>
                <a:gd name="connsiteX42" fmla="*/ 745402 w 829901"/>
                <a:gd name="connsiteY42" fmla="*/ 341014 h 823866"/>
                <a:gd name="connsiteX43" fmla="*/ 727295 w 829901"/>
                <a:gd name="connsiteY43" fmla="*/ 362139 h 823866"/>
                <a:gd name="connsiteX44" fmla="*/ 715224 w 829901"/>
                <a:gd name="connsiteY44" fmla="*/ 371193 h 823866"/>
                <a:gd name="connsiteX45" fmla="*/ 715224 w 829901"/>
                <a:gd name="connsiteY45" fmla="*/ 371193 h 823866"/>
                <a:gd name="connsiteX46" fmla="*/ 715224 w 829901"/>
                <a:gd name="connsiteY46" fmla="*/ 371193 h 823866"/>
                <a:gd name="connsiteX47" fmla="*/ 721259 w 829901"/>
                <a:gd name="connsiteY47" fmla="*/ 316872 h 823866"/>
                <a:gd name="connsiteX48" fmla="*/ 718242 w 829901"/>
                <a:gd name="connsiteY48" fmla="*/ 301783 h 823866"/>
                <a:gd name="connsiteX49" fmla="*/ 730313 w 829901"/>
                <a:gd name="connsiteY49" fmla="*/ 265569 h 823866"/>
                <a:gd name="connsiteX50" fmla="*/ 727295 w 829901"/>
                <a:gd name="connsiteY50" fmla="*/ 226337 h 823866"/>
                <a:gd name="connsiteX51" fmla="*/ 703152 w 829901"/>
                <a:gd name="connsiteY51" fmla="*/ 193141 h 823866"/>
                <a:gd name="connsiteX52" fmla="*/ 697117 w 829901"/>
                <a:gd name="connsiteY52" fmla="*/ 178052 h 823866"/>
                <a:gd name="connsiteX53" fmla="*/ 706170 w 829901"/>
                <a:gd name="connsiteY53" fmla="*/ 162963 h 823866"/>
                <a:gd name="connsiteX54" fmla="*/ 709188 w 829901"/>
                <a:gd name="connsiteY54" fmla="*/ 147874 h 823866"/>
                <a:gd name="connsiteX55" fmla="*/ 691081 w 829901"/>
                <a:gd name="connsiteY55" fmla="*/ 147874 h 823866"/>
                <a:gd name="connsiteX56" fmla="*/ 672974 w 829901"/>
                <a:gd name="connsiteY56" fmla="*/ 147874 h 823866"/>
                <a:gd name="connsiteX57" fmla="*/ 654867 w 829901"/>
                <a:gd name="connsiteY57" fmla="*/ 117695 h 823866"/>
                <a:gd name="connsiteX58" fmla="*/ 615636 w 829901"/>
                <a:gd name="connsiteY58" fmla="*/ 117695 h 823866"/>
                <a:gd name="connsiteX59" fmla="*/ 564333 w 829901"/>
                <a:gd name="connsiteY59" fmla="*/ 111660 h 823866"/>
                <a:gd name="connsiteX60" fmla="*/ 497941 w 829901"/>
                <a:gd name="connsiteY60" fmla="*/ 99589 h 823866"/>
                <a:gd name="connsiteX61" fmla="*/ 443620 w 829901"/>
                <a:gd name="connsiteY61" fmla="*/ 99589 h 823866"/>
                <a:gd name="connsiteX62" fmla="*/ 401370 w 829901"/>
                <a:gd name="connsiteY62" fmla="*/ 93553 h 823866"/>
                <a:gd name="connsiteX63" fmla="*/ 347049 w 829901"/>
                <a:gd name="connsiteY63" fmla="*/ 72428 h 823866"/>
                <a:gd name="connsiteX64" fmla="*/ 328943 w 829901"/>
                <a:gd name="connsiteY64" fmla="*/ 48286 h 823866"/>
                <a:gd name="connsiteX65" fmla="*/ 250479 w 829901"/>
                <a:gd name="connsiteY65" fmla="*/ 51303 h 823866"/>
                <a:gd name="connsiteX66" fmla="*/ 235390 w 829901"/>
                <a:gd name="connsiteY66" fmla="*/ 0 h 823866"/>
                <a:gd name="connsiteX67" fmla="*/ 168998 w 829901"/>
                <a:gd name="connsiteY67" fmla="*/ 30179 h 823866"/>
                <a:gd name="connsiteX68" fmla="*/ 84499 w 829901"/>
                <a:gd name="connsiteY68" fmla="*/ 33196 h 823866"/>
                <a:gd name="connsiteX0" fmla="*/ 84499 w 829901"/>
                <a:gd name="connsiteY0" fmla="*/ 33196 h 823866"/>
                <a:gd name="connsiteX1" fmla="*/ 57339 w 829901"/>
                <a:gd name="connsiteY1" fmla="*/ 96571 h 823866"/>
                <a:gd name="connsiteX2" fmla="*/ 66392 w 829901"/>
                <a:gd name="connsiteY2" fmla="*/ 175034 h 823866"/>
                <a:gd name="connsiteX3" fmla="*/ 0 w 829901"/>
                <a:gd name="connsiteY3" fmla="*/ 259533 h 823866"/>
                <a:gd name="connsiteX4" fmla="*/ 33196 w 829901"/>
                <a:gd name="connsiteY4" fmla="*/ 301783 h 823866"/>
                <a:gd name="connsiteX5" fmla="*/ 45267 w 829901"/>
                <a:gd name="connsiteY5" fmla="*/ 331961 h 823866"/>
                <a:gd name="connsiteX6" fmla="*/ 36214 w 829901"/>
                <a:gd name="connsiteY6" fmla="*/ 374210 h 823866"/>
                <a:gd name="connsiteX7" fmla="*/ 27160 w 829901"/>
                <a:gd name="connsiteY7" fmla="*/ 380246 h 823866"/>
                <a:gd name="connsiteX8" fmla="*/ 36214 w 829901"/>
                <a:gd name="connsiteY8" fmla="*/ 446638 h 823866"/>
                <a:gd name="connsiteX9" fmla="*/ 75446 w 829901"/>
                <a:gd name="connsiteY9" fmla="*/ 449656 h 823866"/>
                <a:gd name="connsiteX10" fmla="*/ 100221 w 829901"/>
                <a:gd name="connsiteY10" fmla="*/ 468870 h 823866"/>
                <a:gd name="connsiteX11" fmla="*/ 138967 w 829901"/>
                <a:gd name="connsiteY11" fmla="*/ 486341 h 823866"/>
                <a:gd name="connsiteX12" fmla="*/ 175815 w 829901"/>
                <a:gd name="connsiteY12" fmla="*/ 538280 h 823866"/>
                <a:gd name="connsiteX13" fmla="*/ 220301 w 829901"/>
                <a:gd name="connsiteY13" fmla="*/ 537173 h 823866"/>
                <a:gd name="connsiteX14" fmla="*/ 249361 w 829901"/>
                <a:gd name="connsiteY14" fmla="*/ 585126 h 823866"/>
                <a:gd name="connsiteX15" fmla="*/ 277640 w 829901"/>
                <a:gd name="connsiteY15" fmla="*/ 564333 h 823866"/>
                <a:gd name="connsiteX16" fmla="*/ 292729 w 829901"/>
                <a:gd name="connsiteY16" fmla="*/ 618654 h 823866"/>
                <a:gd name="connsiteX17" fmla="*/ 292729 w 829901"/>
                <a:gd name="connsiteY17" fmla="*/ 636761 h 823866"/>
                <a:gd name="connsiteX18" fmla="*/ 301782 w 829901"/>
                <a:gd name="connsiteY18" fmla="*/ 666939 h 823866"/>
                <a:gd name="connsiteX19" fmla="*/ 298764 w 829901"/>
                <a:gd name="connsiteY19" fmla="*/ 682028 h 823866"/>
                <a:gd name="connsiteX20" fmla="*/ 304800 w 829901"/>
                <a:gd name="connsiteY20" fmla="*/ 697117 h 823866"/>
                <a:gd name="connsiteX21" fmla="*/ 301782 w 829901"/>
                <a:gd name="connsiteY21" fmla="*/ 763509 h 823866"/>
                <a:gd name="connsiteX22" fmla="*/ 337996 w 829901"/>
                <a:gd name="connsiteY22" fmla="*/ 793688 h 823866"/>
                <a:gd name="connsiteX23" fmla="*/ 380246 w 829901"/>
                <a:gd name="connsiteY23" fmla="*/ 808777 h 823866"/>
                <a:gd name="connsiteX24" fmla="*/ 404388 w 829901"/>
                <a:gd name="connsiteY24" fmla="*/ 823866 h 823866"/>
                <a:gd name="connsiteX25" fmla="*/ 473798 w 829901"/>
                <a:gd name="connsiteY25" fmla="*/ 808777 h 823866"/>
                <a:gd name="connsiteX26" fmla="*/ 790669 w 829901"/>
                <a:gd name="connsiteY26" fmla="*/ 751438 h 823866"/>
                <a:gd name="connsiteX27" fmla="*/ 802741 w 829901"/>
                <a:gd name="connsiteY27" fmla="*/ 751438 h 823866"/>
                <a:gd name="connsiteX28" fmla="*/ 802741 w 829901"/>
                <a:gd name="connsiteY28" fmla="*/ 688064 h 823866"/>
                <a:gd name="connsiteX29" fmla="*/ 766527 w 829901"/>
                <a:gd name="connsiteY29" fmla="*/ 579422 h 823866"/>
                <a:gd name="connsiteX30" fmla="*/ 772562 w 829901"/>
                <a:gd name="connsiteY30" fmla="*/ 522084 h 823866"/>
                <a:gd name="connsiteX31" fmla="*/ 757473 w 829901"/>
                <a:gd name="connsiteY31" fmla="*/ 473798 h 823866"/>
                <a:gd name="connsiteX32" fmla="*/ 778598 w 829901"/>
                <a:gd name="connsiteY32" fmla="*/ 443620 h 823866"/>
                <a:gd name="connsiteX33" fmla="*/ 781616 w 829901"/>
                <a:gd name="connsiteY33" fmla="*/ 407406 h 823866"/>
                <a:gd name="connsiteX34" fmla="*/ 772562 w 829901"/>
                <a:gd name="connsiteY34" fmla="*/ 353086 h 823866"/>
                <a:gd name="connsiteX35" fmla="*/ 811794 w 829901"/>
                <a:gd name="connsiteY35" fmla="*/ 292729 h 823866"/>
                <a:gd name="connsiteX36" fmla="*/ 829901 w 829901"/>
                <a:gd name="connsiteY36" fmla="*/ 226337 h 823866"/>
                <a:gd name="connsiteX37" fmla="*/ 823865 w 829901"/>
                <a:gd name="connsiteY37" fmla="*/ 220301 h 823866"/>
                <a:gd name="connsiteX38" fmla="*/ 805758 w 829901"/>
                <a:gd name="connsiteY38" fmla="*/ 235391 h 823866"/>
                <a:gd name="connsiteX39" fmla="*/ 787651 w 829901"/>
                <a:gd name="connsiteY39" fmla="*/ 271604 h 823866"/>
                <a:gd name="connsiteX40" fmla="*/ 769545 w 829901"/>
                <a:gd name="connsiteY40" fmla="*/ 307818 h 823866"/>
                <a:gd name="connsiteX41" fmla="*/ 751438 w 829901"/>
                <a:gd name="connsiteY41" fmla="*/ 316872 h 823866"/>
                <a:gd name="connsiteX42" fmla="*/ 745402 w 829901"/>
                <a:gd name="connsiteY42" fmla="*/ 341014 h 823866"/>
                <a:gd name="connsiteX43" fmla="*/ 727295 w 829901"/>
                <a:gd name="connsiteY43" fmla="*/ 362139 h 823866"/>
                <a:gd name="connsiteX44" fmla="*/ 715224 w 829901"/>
                <a:gd name="connsiteY44" fmla="*/ 371193 h 823866"/>
                <a:gd name="connsiteX45" fmla="*/ 715224 w 829901"/>
                <a:gd name="connsiteY45" fmla="*/ 371193 h 823866"/>
                <a:gd name="connsiteX46" fmla="*/ 715224 w 829901"/>
                <a:gd name="connsiteY46" fmla="*/ 371193 h 823866"/>
                <a:gd name="connsiteX47" fmla="*/ 721259 w 829901"/>
                <a:gd name="connsiteY47" fmla="*/ 316872 h 823866"/>
                <a:gd name="connsiteX48" fmla="*/ 718242 w 829901"/>
                <a:gd name="connsiteY48" fmla="*/ 301783 h 823866"/>
                <a:gd name="connsiteX49" fmla="*/ 730313 w 829901"/>
                <a:gd name="connsiteY49" fmla="*/ 265569 h 823866"/>
                <a:gd name="connsiteX50" fmla="*/ 727295 w 829901"/>
                <a:gd name="connsiteY50" fmla="*/ 226337 h 823866"/>
                <a:gd name="connsiteX51" fmla="*/ 703152 w 829901"/>
                <a:gd name="connsiteY51" fmla="*/ 193141 h 823866"/>
                <a:gd name="connsiteX52" fmla="*/ 697117 w 829901"/>
                <a:gd name="connsiteY52" fmla="*/ 178052 h 823866"/>
                <a:gd name="connsiteX53" fmla="*/ 706170 w 829901"/>
                <a:gd name="connsiteY53" fmla="*/ 162963 h 823866"/>
                <a:gd name="connsiteX54" fmla="*/ 709188 w 829901"/>
                <a:gd name="connsiteY54" fmla="*/ 147874 h 823866"/>
                <a:gd name="connsiteX55" fmla="*/ 691081 w 829901"/>
                <a:gd name="connsiteY55" fmla="*/ 147874 h 823866"/>
                <a:gd name="connsiteX56" fmla="*/ 672974 w 829901"/>
                <a:gd name="connsiteY56" fmla="*/ 147874 h 823866"/>
                <a:gd name="connsiteX57" fmla="*/ 654867 w 829901"/>
                <a:gd name="connsiteY57" fmla="*/ 117695 h 823866"/>
                <a:gd name="connsiteX58" fmla="*/ 615636 w 829901"/>
                <a:gd name="connsiteY58" fmla="*/ 117695 h 823866"/>
                <a:gd name="connsiteX59" fmla="*/ 564333 w 829901"/>
                <a:gd name="connsiteY59" fmla="*/ 111660 h 823866"/>
                <a:gd name="connsiteX60" fmla="*/ 497941 w 829901"/>
                <a:gd name="connsiteY60" fmla="*/ 99589 h 823866"/>
                <a:gd name="connsiteX61" fmla="*/ 443620 w 829901"/>
                <a:gd name="connsiteY61" fmla="*/ 99589 h 823866"/>
                <a:gd name="connsiteX62" fmla="*/ 401370 w 829901"/>
                <a:gd name="connsiteY62" fmla="*/ 93553 h 823866"/>
                <a:gd name="connsiteX63" fmla="*/ 347049 w 829901"/>
                <a:gd name="connsiteY63" fmla="*/ 72428 h 823866"/>
                <a:gd name="connsiteX64" fmla="*/ 328943 w 829901"/>
                <a:gd name="connsiteY64" fmla="*/ 48286 h 823866"/>
                <a:gd name="connsiteX65" fmla="*/ 250479 w 829901"/>
                <a:gd name="connsiteY65" fmla="*/ 51303 h 823866"/>
                <a:gd name="connsiteX66" fmla="*/ 235390 w 829901"/>
                <a:gd name="connsiteY66" fmla="*/ 0 h 823866"/>
                <a:gd name="connsiteX67" fmla="*/ 168998 w 829901"/>
                <a:gd name="connsiteY67" fmla="*/ 30179 h 823866"/>
                <a:gd name="connsiteX68" fmla="*/ 84499 w 829901"/>
                <a:gd name="connsiteY68" fmla="*/ 33196 h 823866"/>
                <a:gd name="connsiteX0" fmla="*/ 84499 w 829901"/>
                <a:gd name="connsiteY0" fmla="*/ 33196 h 823866"/>
                <a:gd name="connsiteX1" fmla="*/ 57339 w 829901"/>
                <a:gd name="connsiteY1" fmla="*/ 96571 h 823866"/>
                <a:gd name="connsiteX2" fmla="*/ 66392 w 829901"/>
                <a:gd name="connsiteY2" fmla="*/ 175034 h 823866"/>
                <a:gd name="connsiteX3" fmla="*/ 0 w 829901"/>
                <a:gd name="connsiteY3" fmla="*/ 259533 h 823866"/>
                <a:gd name="connsiteX4" fmla="*/ 33196 w 829901"/>
                <a:gd name="connsiteY4" fmla="*/ 301783 h 823866"/>
                <a:gd name="connsiteX5" fmla="*/ 45267 w 829901"/>
                <a:gd name="connsiteY5" fmla="*/ 331961 h 823866"/>
                <a:gd name="connsiteX6" fmla="*/ 27160 w 829901"/>
                <a:gd name="connsiteY6" fmla="*/ 380246 h 823866"/>
                <a:gd name="connsiteX7" fmla="*/ 36214 w 829901"/>
                <a:gd name="connsiteY7" fmla="*/ 446638 h 823866"/>
                <a:gd name="connsiteX8" fmla="*/ 75446 w 829901"/>
                <a:gd name="connsiteY8" fmla="*/ 449656 h 823866"/>
                <a:gd name="connsiteX9" fmla="*/ 100221 w 829901"/>
                <a:gd name="connsiteY9" fmla="*/ 468870 h 823866"/>
                <a:gd name="connsiteX10" fmla="*/ 138967 w 829901"/>
                <a:gd name="connsiteY10" fmla="*/ 486341 h 823866"/>
                <a:gd name="connsiteX11" fmla="*/ 175815 w 829901"/>
                <a:gd name="connsiteY11" fmla="*/ 538280 h 823866"/>
                <a:gd name="connsiteX12" fmla="*/ 220301 w 829901"/>
                <a:gd name="connsiteY12" fmla="*/ 537173 h 823866"/>
                <a:gd name="connsiteX13" fmla="*/ 249361 w 829901"/>
                <a:gd name="connsiteY13" fmla="*/ 585126 h 823866"/>
                <a:gd name="connsiteX14" fmla="*/ 277640 w 829901"/>
                <a:gd name="connsiteY14" fmla="*/ 564333 h 823866"/>
                <a:gd name="connsiteX15" fmla="*/ 292729 w 829901"/>
                <a:gd name="connsiteY15" fmla="*/ 618654 h 823866"/>
                <a:gd name="connsiteX16" fmla="*/ 292729 w 829901"/>
                <a:gd name="connsiteY16" fmla="*/ 636761 h 823866"/>
                <a:gd name="connsiteX17" fmla="*/ 301782 w 829901"/>
                <a:gd name="connsiteY17" fmla="*/ 666939 h 823866"/>
                <a:gd name="connsiteX18" fmla="*/ 298764 w 829901"/>
                <a:gd name="connsiteY18" fmla="*/ 682028 h 823866"/>
                <a:gd name="connsiteX19" fmla="*/ 304800 w 829901"/>
                <a:gd name="connsiteY19" fmla="*/ 697117 h 823866"/>
                <a:gd name="connsiteX20" fmla="*/ 301782 w 829901"/>
                <a:gd name="connsiteY20" fmla="*/ 763509 h 823866"/>
                <a:gd name="connsiteX21" fmla="*/ 337996 w 829901"/>
                <a:gd name="connsiteY21" fmla="*/ 793688 h 823866"/>
                <a:gd name="connsiteX22" fmla="*/ 380246 w 829901"/>
                <a:gd name="connsiteY22" fmla="*/ 808777 h 823866"/>
                <a:gd name="connsiteX23" fmla="*/ 404388 w 829901"/>
                <a:gd name="connsiteY23" fmla="*/ 823866 h 823866"/>
                <a:gd name="connsiteX24" fmla="*/ 473798 w 829901"/>
                <a:gd name="connsiteY24" fmla="*/ 808777 h 823866"/>
                <a:gd name="connsiteX25" fmla="*/ 790669 w 829901"/>
                <a:gd name="connsiteY25" fmla="*/ 751438 h 823866"/>
                <a:gd name="connsiteX26" fmla="*/ 802741 w 829901"/>
                <a:gd name="connsiteY26" fmla="*/ 751438 h 823866"/>
                <a:gd name="connsiteX27" fmla="*/ 802741 w 829901"/>
                <a:gd name="connsiteY27" fmla="*/ 688064 h 823866"/>
                <a:gd name="connsiteX28" fmla="*/ 766527 w 829901"/>
                <a:gd name="connsiteY28" fmla="*/ 579422 h 823866"/>
                <a:gd name="connsiteX29" fmla="*/ 772562 w 829901"/>
                <a:gd name="connsiteY29" fmla="*/ 522084 h 823866"/>
                <a:gd name="connsiteX30" fmla="*/ 757473 w 829901"/>
                <a:gd name="connsiteY30" fmla="*/ 473798 h 823866"/>
                <a:gd name="connsiteX31" fmla="*/ 778598 w 829901"/>
                <a:gd name="connsiteY31" fmla="*/ 443620 h 823866"/>
                <a:gd name="connsiteX32" fmla="*/ 781616 w 829901"/>
                <a:gd name="connsiteY32" fmla="*/ 407406 h 823866"/>
                <a:gd name="connsiteX33" fmla="*/ 772562 w 829901"/>
                <a:gd name="connsiteY33" fmla="*/ 353086 h 823866"/>
                <a:gd name="connsiteX34" fmla="*/ 811794 w 829901"/>
                <a:gd name="connsiteY34" fmla="*/ 292729 h 823866"/>
                <a:gd name="connsiteX35" fmla="*/ 829901 w 829901"/>
                <a:gd name="connsiteY35" fmla="*/ 226337 h 823866"/>
                <a:gd name="connsiteX36" fmla="*/ 823865 w 829901"/>
                <a:gd name="connsiteY36" fmla="*/ 220301 h 823866"/>
                <a:gd name="connsiteX37" fmla="*/ 805758 w 829901"/>
                <a:gd name="connsiteY37" fmla="*/ 235391 h 823866"/>
                <a:gd name="connsiteX38" fmla="*/ 787651 w 829901"/>
                <a:gd name="connsiteY38" fmla="*/ 271604 h 823866"/>
                <a:gd name="connsiteX39" fmla="*/ 769545 w 829901"/>
                <a:gd name="connsiteY39" fmla="*/ 307818 h 823866"/>
                <a:gd name="connsiteX40" fmla="*/ 751438 w 829901"/>
                <a:gd name="connsiteY40" fmla="*/ 316872 h 823866"/>
                <a:gd name="connsiteX41" fmla="*/ 745402 w 829901"/>
                <a:gd name="connsiteY41" fmla="*/ 341014 h 823866"/>
                <a:gd name="connsiteX42" fmla="*/ 727295 w 829901"/>
                <a:gd name="connsiteY42" fmla="*/ 362139 h 823866"/>
                <a:gd name="connsiteX43" fmla="*/ 715224 w 829901"/>
                <a:gd name="connsiteY43" fmla="*/ 371193 h 823866"/>
                <a:gd name="connsiteX44" fmla="*/ 715224 w 829901"/>
                <a:gd name="connsiteY44" fmla="*/ 371193 h 823866"/>
                <a:gd name="connsiteX45" fmla="*/ 715224 w 829901"/>
                <a:gd name="connsiteY45" fmla="*/ 371193 h 823866"/>
                <a:gd name="connsiteX46" fmla="*/ 721259 w 829901"/>
                <a:gd name="connsiteY46" fmla="*/ 316872 h 823866"/>
                <a:gd name="connsiteX47" fmla="*/ 718242 w 829901"/>
                <a:gd name="connsiteY47" fmla="*/ 301783 h 823866"/>
                <a:gd name="connsiteX48" fmla="*/ 730313 w 829901"/>
                <a:gd name="connsiteY48" fmla="*/ 265569 h 823866"/>
                <a:gd name="connsiteX49" fmla="*/ 727295 w 829901"/>
                <a:gd name="connsiteY49" fmla="*/ 226337 h 823866"/>
                <a:gd name="connsiteX50" fmla="*/ 703152 w 829901"/>
                <a:gd name="connsiteY50" fmla="*/ 193141 h 823866"/>
                <a:gd name="connsiteX51" fmla="*/ 697117 w 829901"/>
                <a:gd name="connsiteY51" fmla="*/ 178052 h 823866"/>
                <a:gd name="connsiteX52" fmla="*/ 706170 w 829901"/>
                <a:gd name="connsiteY52" fmla="*/ 162963 h 823866"/>
                <a:gd name="connsiteX53" fmla="*/ 709188 w 829901"/>
                <a:gd name="connsiteY53" fmla="*/ 147874 h 823866"/>
                <a:gd name="connsiteX54" fmla="*/ 691081 w 829901"/>
                <a:gd name="connsiteY54" fmla="*/ 147874 h 823866"/>
                <a:gd name="connsiteX55" fmla="*/ 672974 w 829901"/>
                <a:gd name="connsiteY55" fmla="*/ 147874 h 823866"/>
                <a:gd name="connsiteX56" fmla="*/ 654867 w 829901"/>
                <a:gd name="connsiteY56" fmla="*/ 117695 h 823866"/>
                <a:gd name="connsiteX57" fmla="*/ 615636 w 829901"/>
                <a:gd name="connsiteY57" fmla="*/ 117695 h 823866"/>
                <a:gd name="connsiteX58" fmla="*/ 564333 w 829901"/>
                <a:gd name="connsiteY58" fmla="*/ 111660 h 823866"/>
                <a:gd name="connsiteX59" fmla="*/ 497941 w 829901"/>
                <a:gd name="connsiteY59" fmla="*/ 99589 h 823866"/>
                <a:gd name="connsiteX60" fmla="*/ 443620 w 829901"/>
                <a:gd name="connsiteY60" fmla="*/ 99589 h 823866"/>
                <a:gd name="connsiteX61" fmla="*/ 401370 w 829901"/>
                <a:gd name="connsiteY61" fmla="*/ 93553 h 823866"/>
                <a:gd name="connsiteX62" fmla="*/ 347049 w 829901"/>
                <a:gd name="connsiteY62" fmla="*/ 72428 h 823866"/>
                <a:gd name="connsiteX63" fmla="*/ 328943 w 829901"/>
                <a:gd name="connsiteY63" fmla="*/ 48286 h 823866"/>
                <a:gd name="connsiteX64" fmla="*/ 250479 w 829901"/>
                <a:gd name="connsiteY64" fmla="*/ 51303 h 823866"/>
                <a:gd name="connsiteX65" fmla="*/ 235390 w 829901"/>
                <a:gd name="connsiteY65" fmla="*/ 0 h 823866"/>
                <a:gd name="connsiteX66" fmla="*/ 168998 w 829901"/>
                <a:gd name="connsiteY66" fmla="*/ 30179 h 823866"/>
                <a:gd name="connsiteX67" fmla="*/ 84499 w 829901"/>
                <a:gd name="connsiteY67" fmla="*/ 33196 h 823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829901" h="823866">
                  <a:moveTo>
                    <a:pt x="84499" y="33196"/>
                  </a:moveTo>
                  <a:lnTo>
                    <a:pt x="57339" y="96571"/>
                  </a:lnTo>
                  <a:lnTo>
                    <a:pt x="66392" y="175034"/>
                  </a:lnTo>
                  <a:lnTo>
                    <a:pt x="0" y="259533"/>
                  </a:lnTo>
                  <a:lnTo>
                    <a:pt x="33196" y="301783"/>
                  </a:lnTo>
                  <a:lnTo>
                    <a:pt x="45267" y="331961"/>
                  </a:lnTo>
                  <a:lnTo>
                    <a:pt x="27160" y="380246"/>
                  </a:lnTo>
                  <a:lnTo>
                    <a:pt x="36214" y="446638"/>
                  </a:lnTo>
                  <a:lnTo>
                    <a:pt x="75446" y="449656"/>
                  </a:lnTo>
                  <a:lnTo>
                    <a:pt x="100221" y="468870"/>
                  </a:lnTo>
                  <a:lnTo>
                    <a:pt x="138967" y="486341"/>
                  </a:lnTo>
                  <a:lnTo>
                    <a:pt x="175815" y="538280"/>
                  </a:lnTo>
                  <a:lnTo>
                    <a:pt x="220301" y="537173"/>
                  </a:lnTo>
                  <a:lnTo>
                    <a:pt x="249361" y="585126"/>
                  </a:lnTo>
                  <a:lnTo>
                    <a:pt x="277640" y="564333"/>
                  </a:lnTo>
                  <a:lnTo>
                    <a:pt x="292729" y="618654"/>
                  </a:lnTo>
                  <a:lnTo>
                    <a:pt x="292729" y="636761"/>
                  </a:lnTo>
                  <a:lnTo>
                    <a:pt x="301782" y="666939"/>
                  </a:lnTo>
                  <a:lnTo>
                    <a:pt x="298764" y="682028"/>
                  </a:lnTo>
                  <a:lnTo>
                    <a:pt x="304800" y="697117"/>
                  </a:lnTo>
                  <a:lnTo>
                    <a:pt x="301782" y="763509"/>
                  </a:lnTo>
                  <a:lnTo>
                    <a:pt x="337996" y="793688"/>
                  </a:lnTo>
                  <a:lnTo>
                    <a:pt x="380246" y="808777"/>
                  </a:lnTo>
                  <a:lnTo>
                    <a:pt x="404388" y="823866"/>
                  </a:lnTo>
                  <a:lnTo>
                    <a:pt x="473798" y="808777"/>
                  </a:lnTo>
                  <a:lnTo>
                    <a:pt x="790669" y="751438"/>
                  </a:lnTo>
                  <a:lnTo>
                    <a:pt x="802741" y="751438"/>
                  </a:lnTo>
                  <a:lnTo>
                    <a:pt x="802741" y="688064"/>
                  </a:lnTo>
                  <a:lnTo>
                    <a:pt x="766527" y="579422"/>
                  </a:lnTo>
                  <a:lnTo>
                    <a:pt x="772562" y="522084"/>
                  </a:lnTo>
                  <a:lnTo>
                    <a:pt x="757473" y="473798"/>
                  </a:lnTo>
                  <a:lnTo>
                    <a:pt x="778598" y="443620"/>
                  </a:lnTo>
                  <a:lnTo>
                    <a:pt x="781616" y="407406"/>
                  </a:lnTo>
                  <a:lnTo>
                    <a:pt x="772562" y="353086"/>
                  </a:lnTo>
                  <a:lnTo>
                    <a:pt x="811794" y="292729"/>
                  </a:lnTo>
                  <a:lnTo>
                    <a:pt x="829901" y="226337"/>
                  </a:lnTo>
                  <a:lnTo>
                    <a:pt x="823865" y="220301"/>
                  </a:lnTo>
                  <a:lnTo>
                    <a:pt x="805758" y="235391"/>
                  </a:lnTo>
                  <a:lnTo>
                    <a:pt x="787651" y="271604"/>
                  </a:lnTo>
                  <a:lnTo>
                    <a:pt x="769545" y="307818"/>
                  </a:lnTo>
                  <a:lnTo>
                    <a:pt x="751438" y="316872"/>
                  </a:lnTo>
                  <a:lnTo>
                    <a:pt x="745402" y="341014"/>
                  </a:lnTo>
                  <a:lnTo>
                    <a:pt x="727295" y="362139"/>
                  </a:lnTo>
                  <a:lnTo>
                    <a:pt x="715224" y="371193"/>
                  </a:lnTo>
                  <a:lnTo>
                    <a:pt x="715224" y="371193"/>
                  </a:lnTo>
                  <a:lnTo>
                    <a:pt x="715224" y="371193"/>
                  </a:lnTo>
                  <a:lnTo>
                    <a:pt x="721259" y="316872"/>
                  </a:lnTo>
                  <a:lnTo>
                    <a:pt x="718242" y="301783"/>
                  </a:lnTo>
                  <a:lnTo>
                    <a:pt x="730313" y="265569"/>
                  </a:lnTo>
                  <a:lnTo>
                    <a:pt x="727295" y="226337"/>
                  </a:lnTo>
                  <a:lnTo>
                    <a:pt x="703152" y="193141"/>
                  </a:lnTo>
                  <a:lnTo>
                    <a:pt x="697117" y="178052"/>
                  </a:lnTo>
                  <a:lnTo>
                    <a:pt x="706170" y="162963"/>
                  </a:lnTo>
                  <a:lnTo>
                    <a:pt x="709188" y="147874"/>
                  </a:lnTo>
                  <a:lnTo>
                    <a:pt x="691081" y="147874"/>
                  </a:lnTo>
                  <a:lnTo>
                    <a:pt x="672974" y="147874"/>
                  </a:lnTo>
                  <a:lnTo>
                    <a:pt x="654867" y="117695"/>
                  </a:lnTo>
                  <a:lnTo>
                    <a:pt x="615636" y="117695"/>
                  </a:lnTo>
                  <a:lnTo>
                    <a:pt x="564333" y="111660"/>
                  </a:lnTo>
                  <a:lnTo>
                    <a:pt x="497941" y="99589"/>
                  </a:lnTo>
                  <a:lnTo>
                    <a:pt x="443620" y="99589"/>
                  </a:lnTo>
                  <a:lnTo>
                    <a:pt x="401370" y="93553"/>
                  </a:lnTo>
                  <a:lnTo>
                    <a:pt x="347049" y="72428"/>
                  </a:lnTo>
                  <a:lnTo>
                    <a:pt x="328943" y="48286"/>
                  </a:lnTo>
                  <a:lnTo>
                    <a:pt x="250479" y="51303"/>
                  </a:lnTo>
                  <a:lnTo>
                    <a:pt x="235390" y="0"/>
                  </a:lnTo>
                  <a:lnTo>
                    <a:pt x="168998" y="30179"/>
                  </a:lnTo>
                  <a:lnTo>
                    <a:pt x="84499" y="3319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1" name="Freeform 110"/>
            <p:cNvSpPr/>
            <p:nvPr/>
          </p:nvSpPr>
          <p:spPr>
            <a:xfrm>
              <a:off x="3540275" y="2827241"/>
              <a:ext cx="388007" cy="623971"/>
            </a:xfrm>
            <a:custGeom>
              <a:avLst/>
              <a:gdLst>
                <a:gd name="connsiteX0" fmla="*/ 78463 w 615635"/>
                <a:gd name="connsiteY0" fmla="*/ 78464 h 1056238"/>
                <a:gd name="connsiteX1" fmla="*/ 147873 w 615635"/>
                <a:gd name="connsiteY1" fmla="*/ 159945 h 1056238"/>
                <a:gd name="connsiteX2" fmla="*/ 150891 w 615635"/>
                <a:gd name="connsiteY2" fmla="*/ 202194 h 1056238"/>
                <a:gd name="connsiteX3" fmla="*/ 93552 w 615635"/>
                <a:gd name="connsiteY3" fmla="*/ 280658 h 1056238"/>
                <a:gd name="connsiteX4" fmla="*/ 27160 w 615635"/>
                <a:gd name="connsiteY4" fmla="*/ 289711 h 1056238"/>
                <a:gd name="connsiteX5" fmla="*/ 54321 w 615635"/>
                <a:gd name="connsiteY5" fmla="*/ 356103 h 1056238"/>
                <a:gd name="connsiteX6" fmla="*/ 0 w 615635"/>
                <a:gd name="connsiteY6" fmla="*/ 431549 h 1056238"/>
                <a:gd name="connsiteX7" fmla="*/ 30178 w 615635"/>
                <a:gd name="connsiteY7" fmla="*/ 606582 h 1056238"/>
                <a:gd name="connsiteX8" fmla="*/ 114677 w 615635"/>
                <a:gd name="connsiteY8" fmla="*/ 636761 h 1056238"/>
                <a:gd name="connsiteX9" fmla="*/ 156926 w 615635"/>
                <a:gd name="connsiteY9" fmla="*/ 739367 h 1056238"/>
                <a:gd name="connsiteX10" fmla="*/ 196158 w 615635"/>
                <a:gd name="connsiteY10" fmla="*/ 727295 h 1056238"/>
                <a:gd name="connsiteX11" fmla="*/ 223319 w 615635"/>
                <a:gd name="connsiteY11" fmla="*/ 760491 h 1056238"/>
                <a:gd name="connsiteX12" fmla="*/ 205212 w 615635"/>
                <a:gd name="connsiteY12" fmla="*/ 793687 h 1056238"/>
                <a:gd name="connsiteX13" fmla="*/ 208229 w 615635"/>
                <a:gd name="connsiteY13" fmla="*/ 811794 h 1056238"/>
                <a:gd name="connsiteX14" fmla="*/ 247461 w 615635"/>
                <a:gd name="connsiteY14" fmla="*/ 902329 h 1056238"/>
                <a:gd name="connsiteX15" fmla="*/ 337996 w 615635"/>
                <a:gd name="connsiteY15" fmla="*/ 944578 h 1056238"/>
                <a:gd name="connsiteX16" fmla="*/ 371192 w 615635"/>
                <a:gd name="connsiteY16" fmla="*/ 1029077 h 1056238"/>
                <a:gd name="connsiteX17" fmla="*/ 431548 w 615635"/>
                <a:gd name="connsiteY17" fmla="*/ 1056238 h 1056238"/>
                <a:gd name="connsiteX18" fmla="*/ 437584 w 615635"/>
                <a:gd name="connsiteY18" fmla="*/ 1020024 h 1056238"/>
                <a:gd name="connsiteX19" fmla="*/ 473798 w 615635"/>
                <a:gd name="connsiteY19" fmla="*/ 1017006 h 1056238"/>
                <a:gd name="connsiteX20" fmla="*/ 525101 w 615635"/>
                <a:gd name="connsiteY20" fmla="*/ 1032095 h 1056238"/>
                <a:gd name="connsiteX21" fmla="*/ 534154 w 615635"/>
                <a:gd name="connsiteY21" fmla="*/ 1017006 h 1056238"/>
                <a:gd name="connsiteX22" fmla="*/ 525101 w 615635"/>
                <a:gd name="connsiteY22" fmla="*/ 983810 h 1056238"/>
                <a:gd name="connsiteX23" fmla="*/ 573386 w 615635"/>
                <a:gd name="connsiteY23" fmla="*/ 950614 h 1056238"/>
                <a:gd name="connsiteX24" fmla="*/ 579422 w 615635"/>
                <a:gd name="connsiteY24" fmla="*/ 920436 h 1056238"/>
                <a:gd name="connsiteX25" fmla="*/ 579422 w 615635"/>
                <a:gd name="connsiteY25" fmla="*/ 893275 h 1056238"/>
                <a:gd name="connsiteX26" fmla="*/ 573386 w 615635"/>
                <a:gd name="connsiteY26" fmla="*/ 866115 h 1056238"/>
                <a:gd name="connsiteX27" fmla="*/ 576404 w 615635"/>
                <a:gd name="connsiteY27" fmla="*/ 826883 h 1056238"/>
                <a:gd name="connsiteX28" fmla="*/ 579422 w 615635"/>
                <a:gd name="connsiteY28" fmla="*/ 802741 h 1056238"/>
                <a:gd name="connsiteX29" fmla="*/ 567350 w 615635"/>
                <a:gd name="connsiteY29" fmla="*/ 784634 h 1056238"/>
                <a:gd name="connsiteX30" fmla="*/ 603564 w 615635"/>
                <a:gd name="connsiteY30" fmla="*/ 748420 h 1056238"/>
                <a:gd name="connsiteX31" fmla="*/ 606582 w 615635"/>
                <a:gd name="connsiteY31" fmla="*/ 715224 h 1056238"/>
                <a:gd name="connsiteX32" fmla="*/ 615635 w 615635"/>
                <a:gd name="connsiteY32" fmla="*/ 703153 h 1056238"/>
                <a:gd name="connsiteX33" fmla="*/ 609600 w 615635"/>
                <a:gd name="connsiteY33" fmla="*/ 672974 h 1056238"/>
                <a:gd name="connsiteX34" fmla="*/ 597528 w 615635"/>
                <a:gd name="connsiteY34" fmla="*/ 624689 h 1056238"/>
                <a:gd name="connsiteX35" fmla="*/ 597528 w 615635"/>
                <a:gd name="connsiteY35" fmla="*/ 582440 h 1056238"/>
                <a:gd name="connsiteX36" fmla="*/ 615635 w 615635"/>
                <a:gd name="connsiteY36" fmla="*/ 519066 h 1056238"/>
                <a:gd name="connsiteX37" fmla="*/ 579422 w 615635"/>
                <a:gd name="connsiteY37" fmla="*/ 334978 h 1056238"/>
                <a:gd name="connsiteX38" fmla="*/ 570368 w 615635"/>
                <a:gd name="connsiteY38" fmla="*/ 307818 h 1056238"/>
                <a:gd name="connsiteX39" fmla="*/ 561315 w 615635"/>
                <a:gd name="connsiteY39" fmla="*/ 250479 h 1056238"/>
                <a:gd name="connsiteX40" fmla="*/ 552261 w 615635"/>
                <a:gd name="connsiteY40" fmla="*/ 202194 h 1056238"/>
                <a:gd name="connsiteX41" fmla="*/ 540190 w 615635"/>
                <a:gd name="connsiteY41" fmla="*/ 141838 h 1056238"/>
                <a:gd name="connsiteX42" fmla="*/ 531136 w 615635"/>
                <a:gd name="connsiteY42" fmla="*/ 126749 h 1056238"/>
                <a:gd name="connsiteX43" fmla="*/ 488887 w 615635"/>
                <a:gd name="connsiteY43" fmla="*/ 63374 h 1056238"/>
                <a:gd name="connsiteX44" fmla="*/ 479833 w 615635"/>
                <a:gd name="connsiteY44" fmla="*/ 21125 h 1056238"/>
                <a:gd name="connsiteX45" fmla="*/ 473798 w 615635"/>
                <a:gd name="connsiteY45" fmla="*/ 0 h 1056238"/>
                <a:gd name="connsiteX46" fmla="*/ 78463 w 615635"/>
                <a:gd name="connsiteY46" fmla="*/ 78464 h 1056238"/>
                <a:gd name="connsiteX0" fmla="*/ 78463 w 615635"/>
                <a:gd name="connsiteY0" fmla="*/ 78464 h 1056238"/>
                <a:gd name="connsiteX1" fmla="*/ 147873 w 615635"/>
                <a:gd name="connsiteY1" fmla="*/ 159945 h 1056238"/>
                <a:gd name="connsiteX2" fmla="*/ 150891 w 615635"/>
                <a:gd name="connsiteY2" fmla="*/ 202194 h 1056238"/>
                <a:gd name="connsiteX3" fmla="*/ 93552 w 615635"/>
                <a:gd name="connsiteY3" fmla="*/ 280658 h 1056238"/>
                <a:gd name="connsiteX4" fmla="*/ 27160 w 615635"/>
                <a:gd name="connsiteY4" fmla="*/ 277816 h 1056238"/>
                <a:gd name="connsiteX5" fmla="*/ 54321 w 615635"/>
                <a:gd name="connsiteY5" fmla="*/ 356103 h 1056238"/>
                <a:gd name="connsiteX6" fmla="*/ 0 w 615635"/>
                <a:gd name="connsiteY6" fmla="*/ 431549 h 1056238"/>
                <a:gd name="connsiteX7" fmla="*/ 30178 w 615635"/>
                <a:gd name="connsiteY7" fmla="*/ 606582 h 1056238"/>
                <a:gd name="connsiteX8" fmla="*/ 114677 w 615635"/>
                <a:gd name="connsiteY8" fmla="*/ 636761 h 1056238"/>
                <a:gd name="connsiteX9" fmla="*/ 156926 w 615635"/>
                <a:gd name="connsiteY9" fmla="*/ 739367 h 1056238"/>
                <a:gd name="connsiteX10" fmla="*/ 196158 w 615635"/>
                <a:gd name="connsiteY10" fmla="*/ 727295 h 1056238"/>
                <a:gd name="connsiteX11" fmla="*/ 223319 w 615635"/>
                <a:gd name="connsiteY11" fmla="*/ 760491 h 1056238"/>
                <a:gd name="connsiteX12" fmla="*/ 205212 w 615635"/>
                <a:gd name="connsiteY12" fmla="*/ 793687 h 1056238"/>
                <a:gd name="connsiteX13" fmla="*/ 208229 w 615635"/>
                <a:gd name="connsiteY13" fmla="*/ 811794 h 1056238"/>
                <a:gd name="connsiteX14" fmla="*/ 247461 w 615635"/>
                <a:gd name="connsiteY14" fmla="*/ 902329 h 1056238"/>
                <a:gd name="connsiteX15" fmla="*/ 337996 w 615635"/>
                <a:gd name="connsiteY15" fmla="*/ 944578 h 1056238"/>
                <a:gd name="connsiteX16" fmla="*/ 371192 w 615635"/>
                <a:gd name="connsiteY16" fmla="*/ 1029077 h 1056238"/>
                <a:gd name="connsiteX17" fmla="*/ 431548 w 615635"/>
                <a:gd name="connsiteY17" fmla="*/ 1056238 h 1056238"/>
                <a:gd name="connsiteX18" fmla="*/ 437584 w 615635"/>
                <a:gd name="connsiteY18" fmla="*/ 1020024 h 1056238"/>
                <a:gd name="connsiteX19" fmla="*/ 473798 w 615635"/>
                <a:gd name="connsiteY19" fmla="*/ 1017006 h 1056238"/>
                <a:gd name="connsiteX20" fmla="*/ 525101 w 615635"/>
                <a:gd name="connsiteY20" fmla="*/ 1032095 h 1056238"/>
                <a:gd name="connsiteX21" fmla="*/ 534154 w 615635"/>
                <a:gd name="connsiteY21" fmla="*/ 1017006 h 1056238"/>
                <a:gd name="connsiteX22" fmla="*/ 525101 w 615635"/>
                <a:gd name="connsiteY22" fmla="*/ 983810 h 1056238"/>
                <a:gd name="connsiteX23" fmla="*/ 573386 w 615635"/>
                <a:gd name="connsiteY23" fmla="*/ 950614 h 1056238"/>
                <a:gd name="connsiteX24" fmla="*/ 579422 w 615635"/>
                <a:gd name="connsiteY24" fmla="*/ 920436 h 1056238"/>
                <a:gd name="connsiteX25" fmla="*/ 579422 w 615635"/>
                <a:gd name="connsiteY25" fmla="*/ 893275 h 1056238"/>
                <a:gd name="connsiteX26" fmla="*/ 573386 w 615635"/>
                <a:gd name="connsiteY26" fmla="*/ 866115 h 1056238"/>
                <a:gd name="connsiteX27" fmla="*/ 576404 w 615635"/>
                <a:gd name="connsiteY27" fmla="*/ 826883 h 1056238"/>
                <a:gd name="connsiteX28" fmla="*/ 579422 w 615635"/>
                <a:gd name="connsiteY28" fmla="*/ 802741 h 1056238"/>
                <a:gd name="connsiteX29" fmla="*/ 567350 w 615635"/>
                <a:gd name="connsiteY29" fmla="*/ 784634 h 1056238"/>
                <a:gd name="connsiteX30" fmla="*/ 603564 w 615635"/>
                <a:gd name="connsiteY30" fmla="*/ 748420 h 1056238"/>
                <a:gd name="connsiteX31" fmla="*/ 606582 w 615635"/>
                <a:gd name="connsiteY31" fmla="*/ 715224 h 1056238"/>
                <a:gd name="connsiteX32" fmla="*/ 615635 w 615635"/>
                <a:gd name="connsiteY32" fmla="*/ 703153 h 1056238"/>
                <a:gd name="connsiteX33" fmla="*/ 609600 w 615635"/>
                <a:gd name="connsiteY33" fmla="*/ 672974 h 1056238"/>
                <a:gd name="connsiteX34" fmla="*/ 597528 w 615635"/>
                <a:gd name="connsiteY34" fmla="*/ 624689 h 1056238"/>
                <a:gd name="connsiteX35" fmla="*/ 597528 w 615635"/>
                <a:gd name="connsiteY35" fmla="*/ 582440 h 1056238"/>
                <a:gd name="connsiteX36" fmla="*/ 615635 w 615635"/>
                <a:gd name="connsiteY36" fmla="*/ 519066 h 1056238"/>
                <a:gd name="connsiteX37" fmla="*/ 579422 w 615635"/>
                <a:gd name="connsiteY37" fmla="*/ 334978 h 1056238"/>
                <a:gd name="connsiteX38" fmla="*/ 570368 w 615635"/>
                <a:gd name="connsiteY38" fmla="*/ 307818 h 1056238"/>
                <a:gd name="connsiteX39" fmla="*/ 561315 w 615635"/>
                <a:gd name="connsiteY39" fmla="*/ 250479 h 1056238"/>
                <a:gd name="connsiteX40" fmla="*/ 552261 w 615635"/>
                <a:gd name="connsiteY40" fmla="*/ 202194 h 1056238"/>
                <a:gd name="connsiteX41" fmla="*/ 540190 w 615635"/>
                <a:gd name="connsiteY41" fmla="*/ 141838 h 1056238"/>
                <a:gd name="connsiteX42" fmla="*/ 531136 w 615635"/>
                <a:gd name="connsiteY42" fmla="*/ 126749 h 1056238"/>
                <a:gd name="connsiteX43" fmla="*/ 488887 w 615635"/>
                <a:gd name="connsiteY43" fmla="*/ 63374 h 1056238"/>
                <a:gd name="connsiteX44" fmla="*/ 479833 w 615635"/>
                <a:gd name="connsiteY44" fmla="*/ 21125 h 1056238"/>
                <a:gd name="connsiteX45" fmla="*/ 473798 w 615635"/>
                <a:gd name="connsiteY45" fmla="*/ 0 h 1056238"/>
                <a:gd name="connsiteX46" fmla="*/ 78463 w 615635"/>
                <a:gd name="connsiteY46" fmla="*/ 78464 h 1056238"/>
                <a:gd name="connsiteX0" fmla="*/ 78463 w 615635"/>
                <a:gd name="connsiteY0" fmla="*/ 78464 h 1056238"/>
                <a:gd name="connsiteX1" fmla="*/ 147873 w 615635"/>
                <a:gd name="connsiteY1" fmla="*/ 159945 h 1056238"/>
                <a:gd name="connsiteX2" fmla="*/ 150891 w 615635"/>
                <a:gd name="connsiteY2" fmla="*/ 202194 h 1056238"/>
                <a:gd name="connsiteX3" fmla="*/ 93552 w 615635"/>
                <a:gd name="connsiteY3" fmla="*/ 280658 h 1056238"/>
                <a:gd name="connsiteX4" fmla="*/ 27160 w 615635"/>
                <a:gd name="connsiteY4" fmla="*/ 277816 h 1056238"/>
                <a:gd name="connsiteX5" fmla="*/ 54321 w 615635"/>
                <a:gd name="connsiteY5" fmla="*/ 356103 h 1056238"/>
                <a:gd name="connsiteX6" fmla="*/ 0 w 615635"/>
                <a:gd name="connsiteY6" fmla="*/ 431549 h 1056238"/>
                <a:gd name="connsiteX7" fmla="*/ 30178 w 615635"/>
                <a:gd name="connsiteY7" fmla="*/ 606582 h 1056238"/>
                <a:gd name="connsiteX8" fmla="*/ 114677 w 615635"/>
                <a:gd name="connsiteY8" fmla="*/ 636761 h 1056238"/>
                <a:gd name="connsiteX9" fmla="*/ 156926 w 615635"/>
                <a:gd name="connsiteY9" fmla="*/ 739367 h 1056238"/>
                <a:gd name="connsiteX10" fmla="*/ 196158 w 615635"/>
                <a:gd name="connsiteY10" fmla="*/ 727295 h 1056238"/>
                <a:gd name="connsiteX11" fmla="*/ 223319 w 615635"/>
                <a:gd name="connsiteY11" fmla="*/ 760491 h 1056238"/>
                <a:gd name="connsiteX12" fmla="*/ 205212 w 615635"/>
                <a:gd name="connsiteY12" fmla="*/ 793687 h 1056238"/>
                <a:gd name="connsiteX13" fmla="*/ 208229 w 615635"/>
                <a:gd name="connsiteY13" fmla="*/ 811794 h 1056238"/>
                <a:gd name="connsiteX14" fmla="*/ 247461 w 615635"/>
                <a:gd name="connsiteY14" fmla="*/ 902329 h 1056238"/>
                <a:gd name="connsiteX15" fmla="*/ 337996 w 615635"/>
                <a:gd name="connsiteY15" fmla="*/ 944578 h 1056238"/>
                <a:gd name="connsiteX16" fmla="*/ 371192 w 615635"/>
                <a:gd name="connsiteY16" fmla="*/ 1029077 h 1056238"/>
                <a:gd name="connsiteX17" fmla="*/ 431548 w 615635"/>
                <a:gd name="connsiteY17" fmla="*/ 1056238 h 1056238"/>
                <a:gd name="connsiteX18" fmla="*/ 437584 w 615635"/>
                <a:gd name="connsiteY18" fmla="*/ 1020024 h 1056238"/>
                <a:gd name="connsiteX19" fmla="*/ 473798 w 615635"/>
                <a:gd name="connsiteY19" fmla="*/ 1017006 h 1056238"/>
                <a:gd name="connsiteX20" fmla="*/ 525101 w 615635"/>
                <a:gd name="connsiteY20" fmla="*/ 1032095 h 1056238"/>
                <a:gd name="connsiteX21" fmla="*/ 534154 w 615635"/>
                <a:gd name="connsiteY21" fmla="*/ 1017006 h 1056238"/>
                <a:gd name="connsiteX22" fmla="*/ 525101 w 615635"/>
                <a:gd name="connsiteY22" fmla="*/ 983810 h 1056238"/>
                <a:gd name="connsiteX23" fmla="*/ 573386 w 615635"/>
                <a:gd name="connsiteY23" fmla="*/ 950614 h 1056238"/>
                <a:gd name="connsiteX24" fmla="*/ 579422 w 615635"/>
                <a:gd name="connsiteY24" fmla="*/ 920436 h 1056238"/>
                <a:gd name="connsiteX25" fmla="*/ 579422 w 615635"/>
                <a:gd name="connsiteY25" fmla="*/ 893275 h 1056238"/>
                <a:gd name="connsiteX26" fmla="*/ 573386 w 615635"/>
                <a:gd name="connsiteY26" fmla="*/ 866115 h 1056238"/>
                <a:gd name="connsiteX27" fmla="*/ 576404 w 615635"/>
                <a:gd name="connsiteY27" fmla="*/ 826883 h 1056238"/>
                <a:gd name="connsiteX28" fmla="*/ 579422 w 615635"/>
                <a:gd name="connsiteY28" fmla="*/ 802741 h 1056238"/>
                <a:gd name="connsiteX29" fmla="*/ 586390 w 615635"/>
                <a:gd name="connsiteY29" fmla="*/ 787012 h 1056238"/>
                <a:gd name="connsiteX30" fmla="*/ 603564 w 615635"/>
                <a:gd name="connsiteY30" fmla="*/ 748420 h 1056238"/>
                <a:gd name="connsiteX31" fmla="*/ 606582 w 615635"/>
                <a:gd name="connsiteY31" fmla="*/ 715224 h 1056238"/>
                <a:gd name="connsiteX32" fmla="*/ 615635 w 615635"/>
                <a:gd name="connsiteY32" fmla="*/ 703153 h 1056238"/>
                <a:gd name="connsiteX33" fmla="*/ 609600 w 615635"/>
                <a:gd name="connsiteY33" fmla="*/ 672974 h 1056238"/>
                <a:gd name="connsiteX34" fmla="*/ 597528 w 615635"/>
                <a:gd name="connsiteY34" fmla="*/ 624689 h 1056238"/>
                <a:gd name="connsiteX35" fmla="*/ 597528 w 615635"/>
                <a:gd name="connsiteY35" fmla="*/ 582440 h 1056238"/>
                <a:gd name="connsiteX36" fmla="*/ 615635 w 615635"/>
                <a:gd name="connsiteY36" fmla="*/ 519066 h 1056238"/>
                <a:gd name="connsiteX37" fmla="*/ 579422 w 615635"/>
                <a:gd name="connsiteY37" fmla="*/ 334978 h 1056238"/>
                <a:gd name="connsiteX38" fmla="*/ 570368 w 615635"/>
                <a:gd name="connsiteY38" fmla="*/ 307818 h 1056238"/>
                <a:gd name="connsiteX39" fmla="*/ 561315 w 615635"/>
                <a:gd name="connsiteY39" fmla="*/ 250479 h 1056238"/>
                <a:gd name="connsiteX40" fmla="*/ 552261 w 615635"/>
                <a:gd name="connsiteY40" fmla="*/ 202194 h 1056238"/>
                <a:gd name="connsiteX41" fmla="*/ 540190 w 615635"/>
                <a:gd name="connsiteY41" fmla="*/ 141838 h 1056238"/>
                <a:gd name="connsiteX42" fmla="*/ 531136 w 615635"/>
                <a:gd name="connsiteY42" fmla="*/ 126749 h 1056238"/>
                <a:gd name="connsiteX43" fmla="*/ 488887 w 615635"/>
                <a:gd name="connsiteY43" fmla="*/ 63374 h 1056238"/>
                <a:gd name="connsiteX44" fmla="*/ 479833 w 615635"/>
                <a:gd name="connsiteY44" fmla="*/ 21125 h 1056238"/>
                <a:gd name="connsiteX45" fmla="*/ 473798 w 615635"/>
                <a:gd name="connsiteY45" fmla="*/ 0 h 1056238"/>
                <a:gd name="connsiteX46" fmla="*/ 78463 w 615635"/>
                <a:gd name="connsiteY46" fmla="*/ 78464 h 1056238"/>
                <a:gd name="connsiteX0" fmla="*/ 78463 w 615635"/>
                <a:gd name="connsiteY0" fmla="*/ 78464 h 1056238"/>
                <a:gd name="connsiteX1" fmla="*/ 147873 w 615635"/>
                <a:gd name="connsiteY1" fmla="*/ 159945 h 1056238"/>
                <a:gd name="connsiteX2" fmla="*/ 150891 w 615635"/>
                <a:gd name="connsiteY2" fmla="*/ 202194 h 1056238"/>
                <a:gd name="connsiteX3" fmla="*/ 93552 w 615635"/>
                <a:gd name="connsiteY3" fmla="*/ 280658 h 1056238"/>
                <a:gd name="connsiteX4" fmla="*/ 27160 w 615635"/>
                <a:gd name="connsiteY4" fmla="*/ 277816 h 1056238"/>
                <a:gd name="connsiteX5" fmla="*/ 54321 w 615635"/>
                <a:gd name="connsiteY5" fmla="*/ 356103 h 1056238"/>
                <a:gd name="connsiteX6" fmla="*/ 0 w 615635"/>
                <a:gd name="connsiteY6" fmla="*/ 431549 h 1056238"/>
                <a:gd name="connsiteX7" fmla="*/ 30178 w 615635"/>
                <a:gd name="connsiteY7" fmla="*/ 606582 h 1056238"/>
                <a:gd name="connsiteX8" fmla="*/ 114677 w 615635"/>
                <a:gd name="connsiteY8" fmla="*/ 636761 h 1056238"/>
                <a:gd name="connsiteX9" fmla="*/ 156926 w 615635"/>
                <a:gd name="connsiteY9" fmla="*/ 739367 h 1056238"/>
                <a:gd name="connsiteX10" fmla="*/ 196158 w 615635"/>
                <a:gd name="connsiteY10" fmla="*/ 727295 h 1056238"/>
                <a:gd name="connsiteX11" fmla="*/ 223319 w 615635"/>
                <a:gd name="connsiteY11" fmla="*/ 760491 h 1056238"/>
                <a:gd name="connsiteX12" fmla="*/ 205212 w 615635"/>
                <a:gd name="connsiteY12" fmla="*/ 793687 h 1056238"/>
                <a:gd name="connsiteX13" fmla="*/ 208229 w 615635"/>
                <a:gd name="connsiteY13" fmla="*/ 811794 h 1056238"/>
                <a:gd name="connsiteX14" fmla="*/ 247461 w 615635"/>
                <a:gd name="connsiteY14" fmla="*/ 902329 h 1056238"/>
                <a:gd name="connsiteX15" fmla="*/ 337996 w 615635"/>
                <a:gd name="connsiteY15" fmla="*/ 944578 h 1056238"/>
                <a:gd name="connsiteX16" fmla="*/ 371192 w 615635"/>
                <a:gd name="connsiteY16" fmla="*/ 1029077 h 1056238"/>
                <a:gd name="connsiteX17" fmla="*/ 431548 w 615635"/>
                <a:gd name="connsiteY17" fmla="*/ 1056238 h 1056238"/>
                <a:gd name="connsiteX18" fmla="*/ 437584 w 615635"/>
                <a:gd name="connsiteY18" fmla="*/ 1020024 h 1056238"/>
                <a:gd name="connsiteX19" fmla="*/ 473798 w 615635"/>
                <a:gd name="connsiteY19" fmla="*/ 1017006 h 1056238"/>
                <a:gd name="connsiteX20" fmla="*/ 525101 w 615635"/>
                <a:gd name="connsiteY20" fmla="*/ 1032095 h 1056238"/>
                <a:gd name="connsiteX21" fmla="*/ 534154 w 615635"/>
                <a:gd name="connsiteY21" fmla="*/ 1017006 h 1056238"/>
                <a:gd name="connsiteX22" fmla="*/ 525101 w 615635"/>
                <a:gd name="connsiteY22" fmla="*/ 983810 h 1056238"/>
                <a:gd name="connsiteX23" fmla="*/ 587665 w 615635"/>
                <a:gd name="connsiteY23" fmla="*/ 967266 h 1056238"/>
                <a:gd name="connsiteX24" fmla="*/ 579422 w 615635"/>
                <a:gd name="connsiteY24" fmla="*/ 920436 h 1056238"/>
                <a:gd name="connsiteX25" fmla="*/ 579422 w 615635"/>
                <a:gd name="connsiteY25" fmla="*/ 893275 h 1056238"/>
                <a:gd name="connsiteX26" fmla="*/ 573386 w 615635"/>
                <a:gd name="connsiteY26" fmla="*/ 866115 h 1056238"/>
                <a:gd name="connsiteX27" fmla="*/ 576404 w 615635"/>
                <a:gd name="connsiteY27" fmla="*/ 826883 h 1056238"/>
                <a:gd name="connsiteX28" fmla="*/ 579422 w 615635"/>
                <a:gd name="connsiteY28" fmla="*/ 802741 h 1056238"/>
                <a:gd name="connsiteX29" fmla="*/ 586390 w 615635"/>
                <a:gd name="connsiteY29" fmla="*/ 787012 h 1056238"/>
                <a:gd name="connsiteX30" fmla="*/ 603564 w 615635"/>
                <a:gd name="connsiteY30" fmla="*/ 748420 h 1056238"/>
                <a:gd name="connsiteX31" fmla="*/ 606582 w 615635"/>
                <a:gd name="connsiteY31" fmla="*/ 715224 h 1056238"/>
                <a:gd name="connsiteX32" fmla="*/ 615635 w 615635"/>
                <a:gd name="connsiteY32" fmla="*/ 703153 h 1056238"/>
                <a:gd name="connsiteX33" fmla="*/ 609600 w 615635"/>
                <a:gd name="connsiteY33" fmla="*/ 672974 h 1056238"/>
                <a:gd name="connsiteX34" fmla="*/ 597528 w 615635"/>
                <a:gd name="connsiteY34" fmla="*/ 624689 h 1056238"/>
                <a:gd name="connsiteX35" fmla="*/ 597528 w 615635"/>
                <a:gd name="connsiteY35" fmla="*/ 582440 h 1056238"/>
                <a:gd name="connsiteX36" fmla="*/ 615635 w 615635"/>
                <a:gd name="connsiteY36" fmla="*/ 519066 h 1056238"/>
                <a:gd name="connsiteX37" fmla="*/ 579422 w 615635"/>
                <a:gd name="connsiteY37" fmla="*/ 334978 h 1056238"/>
                <a:gd name="connsiteX38" fmla="*/ 570368 w 615635"/>
                <a:gd name="connsiteY38" fmla="*/ 307818 h 1056238"/>
                <a:gd name="connsiteX39" fmla="*/ 561315 w 615635"/>
                <a:gd name="connsiteY39" fmla="*/ 250479 h 1056238"/>
                <a:gd name="connsiteX40" fmla="*/ 552261 w 615635"/>
                <a:gd name="connsiteY40" fmla="*/ 202194 h 1056238"/>
                <a:gd name="connsiteX41" fmla="*/ 540190 w 615635"/>
                <a:gd name="connsiteY41" fmla="*/ 141838 h 1056238"/>
                <a:gd name="connsiteX42" fmla="*/ 531136 w 615635"/>
                <a:gd name="connsiteY42" fmla="*/ 126749 h 1056238"/>
                <a:gd name="connsiteX43" fmla="*/ 488887 w 615635"/>
                <a:gd name="connsiteY43" fmla="*/ 63374 h 1056238"/>
                <a:gd name="connsiteX44" fmla="*/ 479833 w 615635"/>
                <a:gd name="connsiteY44" fmla="*/ 21125 h 1056238"/>
                <a:gd name="connsiteX45" fmla="*/ 473798 w 615635"/>
                <a:gd name="connsiteY45" fmla="*/ 0 h 1056238"/>
                <a:gd name="connsiteX46" fmla="*/ 78463 w 615635"/>
                <a:gd name="connsiteY46" fmla="*/ 78464 h 1056238"/>
                <a:gd name="connsiteX0" fmla="*/ 78463 w 615635"/>
                <a:gd name="connsiteY0" fmla="*/ 78464 h 1056238"/>
                <a:gd name="connsiteX1" fmla="*/ 147873 w 615635"/>
                <a:gd name="connsiteY1" fmla="*/ 159945 h 1056238"/>
                <a:gd name="connsiteX2" fmla="*/ 150891 w 615635"/>
                <a:gd name="connsiteY2" fmla="*/ 202194 h 1056238"/>
                <a:gd name="connsiteX3" fmla="*/ 93552 w 615635"/>
                <a:gd name="connsiteY3" fmla="*/ 280658 h 1056238"/>
                <a:gd name="connsiteX4" fmla="*/ 27160 w 615635"/>
                <a:gd name="connsiteY4" fmla="*/ 277816 h 1056238"/>
                <a:gd name="connsiteX5" fmla="*/ 54321 w 615635"/>
                <a:gd name="connsiteY5" fmla="*/ 356103 h 1056238"/>
                <a:gd name="connsiteX6" fmla="*/ 0 w 615635"/>
                <a:gd name="connsiteY6" fmla="*/ 431549 h 1056238"/>
                <a:gd name="connsiteX7" fmla="*/ 30178 w 615635"/>
                <a:gd name="connsiteY7" fmla="*/ 606582 h 1056238"/>
                <a:gd name="connsiteX8" fmla="*/ 114677 w 615635"/>
                <a:gd name="connsiteY8" fmla="*/ 636761 h 1056238"/>
                <a:gd name="connsiteX9" fmla="*/ 156926 w 615635"/>
                <a:gd name="connsiteY9" fmla="*/ 739367 h 1056238"/>
                <a:gd name="connsiteX10" fmla="*/ 196158 w 615635"/>
                <a:gd name="connsiteY10" fmla="*/ 727295 h 1056238"/>
                <a:gd name="connsiteX11" fmla="*/ 223319 w 615635"/>
                <a:gd name="connsiteY11" fmla="*/ 760491 h 1056238"/>
                <a:gd name="connsiteX12" fmla="*/ 205212 w 615635"/>
                <a:gd name="connsiteY12" fmla="*/ 793687 h 1056238"/>
                <a:gd name="connsiteX13" fmla="*/ 208229 w 615635"/>
                <a:gd name="connsiteY13" fmla="*/ 811794 h 1056238"/>
                <a:gd name="connsiteX14" fmla="*/ 247461 w 615635"/>
                <a:gd name="connsiteY14" fmla="*/ 902329 h 1056238"/>
                <a:gd name="connsiteX15" fmla="*/ 337996 w 615635"/>
                <a:gd name="connsiteY15" fmla="*/ 944578 h 1056238"/>
                <a:gd name="connsiteX16" fmla="*/ 371192 w 615635"/>
                <a:gd name="connsiteY16" fmla="*/ 1029077 h 1056238"/>
                <a:gd name="connsiteX17" fmla="*/ 431548 w 615635"/>
                <a:gd name="connsiteY17" fmla="*/ 1056238 h 1056238"/>
                <a:gd name="connsiteX18" fmla="*/ 437584 w 615635"/>
                <a:gd name="connsiteY18" fmla="*/ 1020024 h 1056238"/>
                <a:gd name="connsiteX19" fmla="*/ 478558 w 615635"/>
                <a:gd name="connsiteY19" fmla="*/ 1036038 h 1056238"/>
                <a:gd name="connsiteX20" fmla="*/ 525101 w 615635"/>
                <a:gd name="connsiteY20" fmla="*/ 1032095 h 1056238"/>
                <a:gd name="connsiteX21" fmla="*/ 534154 w 615635"/>
                <a:gd name="connsiteY21" fmla="*/ 1017006 h 1056238"/>
                <a:gd name="connsiteX22" fmla="*/ 525101 w 615635"/>
                <a:gd name="connsiteY22" fmla="*/ 983810 h 1056238"/>
                <a:gd name="connsiteX23" fmla="*/ 587665 w 615635"/>
                <a:gd name="connsiteY23" fmla="*/ 967266 h 1056238"/>
                <a:gd name="connsiteX24" fmla="*/ 579422 w 615635"/>
                <a:gd name="connsiteY24" fmla="*/ 920436 h 1056238"/>
                <a:gd name="connsiteX25" fmla="*/ 579422 w 615635"/>
                <a:gd name="connsiteY25" fmla="*/ 893275 h 1056238"/>
                <a:gd name="connsiteX26" fmla="*/ 573386 w 615635"/>
                <a:gd name="connsiteY26" fmla="*/ 866115 h 1056238"/>
                <a:gd name="connsiteX27" fmla="*/ 576404 w 615635"/>
                <a:gd name="connsiteY27" fmla="*/ 826883 h 1056238"/>
                <a:gd name="connsiteX28" fmla="*/ 579422 w 615635"/>
                <a:gd name="connsiteY28" fmla="*/ 802741 h 1056238"/>
                <a:gd name="connsiteX29" fmla="*/ 586390 w 615635"/>
                <a:gd name="connsiteY29" fmla="*/ 787012 h 1056238"/>
                <a:gd name="connsiteX30" fmla="*/ 603564 w 615635"/>
                <a:gd name="connsiteY30" fmla="*/ 748420 h 1056238"/>
                <a:gd name="connsiteX31" fmla="*/ 606582 w 615635"/>
                <a:gd name="connsiteY31" fmla="*/ 715224 h 1056238"/>
                <a:gd name="connsiteX32" fmla="*/ 615635 w 615635"/>
                <a:gd name="connsiteY32" fmla="*/ 703153 h 1056238"/>
                <a:gd name="connsiteX33" fmla="*/ 609600 w 615635"/>
                <a:gd name="connsiteY33" fmla="*/ 672974 h 1056238"/>
                <a:gd name="connsiteX34" fmla="*/ 597528 w 615635"/>
                <a:gd name="connsiteY34" fmla="*/ 624689 h 1056238"/>
                <a:gd name="connsiteX35" fmla="*/ 597528 w 615635"/>
                <a:gd name="connsiteY35" fmla="*/ 582440 h 1056238"/>
                <a:gd name="connsiteX36" fmla="*/ 615635 w 615635"/>
                <a:gd name="connsiteY36" fmla="*/ 519066 h 1056238"/>
                <a:gd name="connsiteX37" fmla="*/ 579422 w 615635"/>
                <a:gd name="connsiteY37" fmla="*/ 334978 h 1056238"/>
                <a:gd name="connsiteX38" fmla="*/ 570368 w 615635"/>
                <a:gd name="connsiteY38" fmla="*/ 307818 h 1056238"/>
                <a:gd name="connsiteX39" fmla="*/ 561315 w 615635"/>
                <a:gd name="connsiteY39" fmla="*/ 250479 h 1056238"/>
                <a:gd name="connsiteX40" fmla="*/ 552261 w 615635"/>
                <a:gd name="connsiteY40" fmla="*/ 202194 h 1056238"/>
                <a:gd name="connsiteX41" fmla="*/ 540190 w 615635"/>
                <a:gd name="connsiteY41" fmla="*/ 141838 h 1056238"/>
                <a:gd name="connsiteX42" fmla="*/ 531136 w 615635"/>
                <a:gd name="connsiteY42" fmla="*/ 126749 h 1056238"/>
                <a:gd name="connsiteX43" fmla="*/ 488887 w 615635"/>
                <a:gd name="connsiteY43" fmla="*/ 63374 h 1056238"/>
                <a:gd name="connsiteX44" fmla="*/ 479833 w 615635"/>
                <a:gd name="connsiteY44" fmla="*/ 21125 h 1056238"/>
                <a:gd name="connsiteX45" fmla="*/ 473798 w 615635"/>
                <a:gd name="connsiteY45" fmla="*/ 0 h 1056238"/>
                <a:gd name="connsiteX46" fmla="*/ 78463 w 615635"/>
                <a:gd name="connsiteY46" fmla="*/ 78464 h 1056238"/>
                <a:gd name="connsiteX0" fmla="*/ 78463 w 615635"/>
                <a:gd name="connsiteY0" fmla="*/ 78464 h 1056238"/>
                <a:gd name="connsiteX1" fmla="*/ 147873 w 615635"/>
                <a:gd name="connsiteY1" fmla="*/ 159945 h 1056238"/>
                <a:gd name="connsiteX2" fmla="*/ 150891 w 615635"/>
                <a:gd name="connsiteY2" fmla="*/ 202194 h 1056238"/>
                <a:gd name="connsiteX3" fmla="*/ 93552 w 615635"/>
                <a:gd name="connsiteY3" fmla="*/ 280658 h 1056238"/>
                <a:gd name="connsiteX4" fmla="*/ 27160 w 615635"/>
                <a:gd name="connsiteY4" fmla="*/ 277816 h 1056238"/>
                <a:gd name="connsiteX5" fmla="*/ 54321 w 615635"/>
                <a:gd name="connsiteY5" fmla="*/ 356103 h 1056238"/>
                <a:gd name="connsiteX6" fmla="*/ 0 w 615635"/>
                <a:gd name="connsiteY6" fmla="*/ 431549 h 1056238"/>
                <a:gd name="connsiteX7" fmla="*/ 30178 w 615635"/>
                <a:gd name="connsiteY7" fmla="*/ 606582 h 1056238"/>
                <a:gd name="connsiteX8" fmla="*/ 114677 w 615635"/>
                <a:gd name="connsiteY8" fmla="*/ 636761 h 1056238"/>
                <a:gd name="connsiteX9" fmla="*/ 156926 w 615635"/>
                <a:gd name="connsiteY9" fmla="*/ 739367 h 1056238"/>
                <a:gd name="connsiteX10" fmla="*/ 196158 w 615635"/>
                <a:gd name="connsiteY10" fmla="*/ 727295 h 1056238"/>
                <a:gd name="connsiteX11" fmla="*/ 223319 w 615635"/>
                <a:gd name="connsiteY11" fmla="*/ 760491 h 1056238"/>
                <a:gd name="connsiteX12" fmla="*/ 205212 w 615635"/>
                <a:gd name="connsiteY12" fmla="*/ 793687 h 1056238"/>
                <a:gd name="connsiteX13" fmla="*/ 208229 w 615635"/>
                <a:gd name="connsiteY13" fmla="*/ 811794 h 1056238"/>
                <a:gd name="connsiteX14" fmla="*/ 247461 w 615635"/>
                <a:gd name="connsiteY14" fmla="*/ 902329 h 1056238"/>
                <a:gd name="connsiteX15" fmla="*/ 337996 w 615635"/>
                <a:gd name="connsiteY15" fmla="*/ 944578 h 1056238"/>
                <a:gd name="connsiteX16" fmla="*/ 359292 w 615635"/>
                <a:gd name="connsiteY16" fmla="*/ 1043351 h 1056238"/>
                <a:gd name="connsiteX17" fmla="*/ 431548 w 615635"/>
                <a:gd name="connsiteY17" fmla="*/ 1056238 h 1056238"/>
                <a:gd name="connsiteX18" fmla="*/ 437584 w 615635"/>
                <a:gd name="connsiteY18" fmla="*/ 1020024 h 1056238"/>
                <a:gd name="connsiteX19" fmla="*/ 478558 w 615635"/>
                <a:gd name="connsiteY19" fmla="*/ 1036038 h 1056238"/>
                <a:gd name="connsiteX20" fmla="*/ 525101 w 615635"/>
                <a:gd name="connsiteY20" fmla="*/ 1032095 h 1056238"/>
                <a:gd name="connsiteX21" fmla="*/ 534154 w 615635"/>
                <a:gd name="connsiteY21" fmla="*/ 1017006 h 1056238"/>
                <a:gd name="connsiteX22" fmla="*/ 525101 w 615635"/>
                <a:gd name="connsiteY22" fmla="*/ 983810 h 1056238"/>
                <a:gd name="connsiteX23" fmla="*/ 587665 w 615635"/>
                <a:gd name="connsiteY23" fmla="*/ 967266 h 1056238"/>
                <a:gd name="connsiteX24" fmla="*/ 579422 w 615635"/>
                <a:gd name="connsiteY24" fmla="*/ 920436 h 1056238"/>
                <a:gd name="connsiteX25" fmla="*/ 579422 w 615635"/>
                <a:gd name="connsiteY25" fmla="*/ 893275 h 1056238"/>
                <a:gd name="connsiteX26" fmla="*/ 573386 w 615635"/>
                <a:gd name="connsiteY26" fmla="*/ 866115 h 1056238"/>
                <a:gd name="connsiteX27" fmla="*/ 576404 w 615635"/>
                <a:gd name="connsiteY27" fmla="*/ 826883 h 1056238"/>
                <a:gd name="connsiteX28" fmla="*/ 579422 w 615635"/>
                <a:gd name="connsiteY28" fmla="*/ 802741 h 1056238"/>
                <a:gd name="connsiteX29" fmla="*/ 586390 w 615635"/>
                <a:gd name="connsiteY29" fmla="*/ 787012 h 1056238"/>
                <a:gd name="connsiteX30" fmla="*/ 603564 w 615635"/>
                <a:gd name="connsiteY30" fmla="*/ 748420 h 1056238"/>
                <a:gd name="connsiteX31" fmla="*/ 606582 w 615635"/>
                <a:gd name="connsiteY31" fmla="*/ 715224 h 1056238"/>
                <a:gd name="connsiteX32" fmla="*/ 615635 w 615635"/>
                <a:gd name="connsiteY32" fmla="*/ 703153 h 1056238"/>
                <a:gd name="connsiteX33" fmla="*/ 609600 w 615635"/>
                <a:gd name="connsiteY33" fmla="*/ 672974 h 1056238"/>
                <a:gd name="connsiteX34" fmla="*/ 597528 w 615635"/>
                <a:gd name="connsiteY34" fmla="*/ 624689 h 1056238"/>
                <a:gd name="connsiteX35" fmla="*/ 597528 w 615635"/>
                <a:gd name="connsiteY35" fmla="*/ 582440 h 1056238"/>
                <a:gd name="connsiteX36" fmla="*/ 615635 w 615635"/>
                <a:gd name="connsiteY36" fmla="*/ 519066 h 1056238"/>
                <a:gd name="connsiteX37" fmla="*/ 579422 w 615635"/>
                <a:gd name="connsiteY37" fmla="*/ 334978 h 1056238"/>
                <a:gd name="connsiteX38" fmla="*/ 570368 w 615635"/>
                <a:gd name="connsiteY38" fmla="*/ 307818 h 1056238"/>
                <a:gd name="connsiteX39" fmla="*/ 561315 w 615635"/>
                <a:gd name="connsiteY39" fmla="*/ 250479 h 1056238"/>
                <a:gd name="connsiteX40" fmla="*/ 552261 w 615635"/>
                <a:gd name="connsiteY40" fmla="*/ 202194 h 1056238"/>
                <a:gd name="connsiteX41" fmla="*/ 540190 w 615635"/>
                <a:gd name="connsiteY41" fmla="*/ 141838 h 1056238"/>
                <a:gd name="connsiteX42" fmla="*/ 531136 w 615635"/>
                <a:gd name="connsiteY42" fmla="*/ 126749 h 1056238"/>
                <a:gd name="connsiteX43" fmla="*/ 488887 w 615635"/>
                <a:gd name="connsiteY43" fmla="*/ 63374 h 1056238"/>
                <a:gd name="connsiteX44" fmla="*/ 479833 w 615635"/>
                <a:gd name="connsiteY44" fmla="*/ 21125 h 1056238"/>
                <a:gd name="connsiteX45" fmla="*/ 473798 w 615635"/>
                <a:gd name="connsiteY45" fmla="*/ 0 h 1056238"/>
                <a:gd name="connsiteX46" fmla="*/ 78463 w 615635"/>
                <a:gd name="connsiteY46" fmla="*/ 78464 h 1056238"/>
                <a:gd name="connsiteX0" fmla="*/ 78463 w 615635"/>
                <a:gd name="connsiteY0" fmla="*/ 78464 h 1056238"/>
                <a:gd name="connsiteX1" fmla="*/ 147873 w 615635"/>
                <a:gd name="connsiteY1" fmla="*/ 159945 h 1056238"/>
                <a:gd name="connsiteX2" fmla="*/ 150891 w 615635"/>
                <a:gd name="connsiteY2" fmla="*/ 202194 h 1056238"/>
                <a:gd name="connsiteX3" fmla="*/ 93552 w 615635"/>
                <a:gd name="connsiteY3" fmla="*/ 280658 h 1056238"/>
                <a:gd name="connsiteX4" fmla="*/ 27160 w 615635"/>
                <a:gd name="connsiteY4" fmla="*/ 277816 h 1056238"/>
                <a:gd name="connsiteX5" fmla="*/ 54321 w 615635"/>
                <a:gd name="connsiteY5" fmla="*/ 356103 h 1056238"/>
                <a:gd name="connsiteX6" fmla="*/ 0 w 615635"/>
                <a:gd name="connsiteY6" fmla="*/ 431549 h 1056238"/>
                <a:gd name="connsiteX7" fmla="*/ 30178 w 615635"/>
                <a:gd name="connsiteY7" fmla="*/ 606582 h 1056238"/>
                <a:gd name="connsiteX8" fmla="*/ 114677 w 615635"/>
                <a:gd name="connsiteY8" fmla="*/ 636761 h 1056238"/>
                <a:gd name="connsiteX9" fmla="*/ 156926 w 615635"/>
                <a:gd name="connsiteY9" fmla="*/ 739367 h 1056238"/>
                <a:gd name="connsiteX10" fmla="*/ 196158 w 615635"/>
                <a:gd name="connsiteY10" fmla="*/ 727295 h 1056238"/>
                <a:gd name="connsiteX11" fmla="*/ 223319 w 615635"/>
                <a:gd name="connsiteY11" fmla="*/ 760491 h 1056238"/>
                <a:gd name="connsiteX12" fmla="*/ 205212 w 615635"/>
                <a:gd name="connsiteY12" fmla="*/ 793687 h 1056238"/>
                <a:gd name="connsiteX13" fmla="*/ 196330 w 615635"/>
                <a:gd name="connsiteY13" fmla="*/ 814173 h 1056238"/>
                <a:gd name="connsiteX14" fmla="*/ 247461 w 615635"/>
                <a:gd name="connsiteY14" fmla="*/ 902329 h 1056238"/>
                <a:gd name="connsiteX15" fmla="*/ 337996 w 615635"/>
                <a:gd name="connsiteY15" fmla="*/ 944578 h 1056238"/>
                <a:gd name="connsiteX16" fmla="*/ 359292 w 615635"/>
                <a:gd name="connsiteY16" fmla="*/ 1043351 h 1056238"/>
                <a:gd name="connsiteX17" fmla="*/ 431548 w 615635"/>
                <a:gd name="connsiteY17" fmla="*/ 1056238 h 1056238"/>
                <a:gd name="connsiteX18" fmla="*/ 437584 w 615635"/>
                <a:gd name="connsiteY18" fmla="*/ 1020024 h 1056238"/>
                <a:gd name="connsiteX19" fmla="*/ 478558 w 615635"/>
                <a:gd name="connsiteY19" fmla="*/ 1036038 h 1056238"/>
                <a:gd name="connsiteX20" fmla="*/ 525101 w 615635"/>
                <a:gd name="connsiteY20" fmla="*/ 1032095 h 1056238"/>
                <a:gd name="connsiteX21" fmla="*/ 534154 w 615635"/>
                <a:gd name="connsiteY21" fmla="*/ 1017006 h 1056238"/>
                <a:gd name="connsiteX22" fmla="*/ 525101 w 615635"/>
                <a:gd name="connsiteY22" fmla="*/ 983810 h 1056238"/>
                <a:gd name="connsiteX23" fmla="*/ 587665 w 615635"/>
                <a:gd name="connsiteY23" fmla="*/ 967266 h 1056238"/>
                <a:gd name="connsiteX24" fmla="*/ 579422 w 615635"/>
                <a:gd name="connsiteY24" fmla="*/ 920436 h 1056238"/>
                <a:gd name="connsiteX25" fmla="*/ 579422 w 615635"/>
                <a:gd name="connsiteY25" fmla="*/ 893275 h 1056238"/>
                <a:gd name="connsiteX26" fmla="*/ 573386 w 615635"/>
                <a:gd name="connsiteY26" fmla="*/ 866115 h 1056238"/>
                <a:gd name="connsiteX27" fmla="*/ 576404 w 615635"/>
                <a:gd name="connsiteY27" fmla="*/ 826883 h 1056238"/>
                <a:gd name="connsiteX28" fmla="*/ 579422 w 615635"/>
                <a:gd name="connsiteY28" fmla="*/ 802741 h 1056238"/>
                <a:gd name="connsiteX29" fmla="*/ 586390 w 615635"/>
                <a:gd name="connsiteY29" fmla="*/ 787012 h 1056238"/>
                <a:gd name="connsiteX30" fmla="*/ 603564 w 615635"/>
                <a:gd name="connsiteY30" fmla="*/ 748420 h 1056238"/>
                <a:gd name="connsiteX31" fmla="*/ 606582 w 615635"/>
                <a:gd name="connsiteY31" fmla="*/ 715224 h 1056238"/>
                <a:gd name="connsiteX32" fmla="*/ 615635 w 615635"/>
                <a:gd name="connsiteY32" fmla="*/ 703153 h 1056238"/>
                <a:gd name="connsiteX33" fmla="*/ 609600 w 615635"/>
                <a:gd name="connsiteY33" fmla="*/ 672974 h 1056238"/>
                <a:gd name="connsiteX34" fmla="*/ 597528 w 615635"/>
                <a:gd name="connsiteY34" fmla="*/ 624689 h 1056238"/>
                <a:gd name="connsiteX35" fmla="*/ 597528 w 615635"/>
                <a:gd name="connsiteY35" fmla="*/ 582440 h 1056238"/>
                <a:gd name="connsiteX36" fmla="*/ 615635 w 615635"/>
                <a:gd name="connsiteY36" fmla="*/ 519066 h 1056238"/>
                <a:gd name="connsiteX37" fmla="*/ 579422 w 615635"/>
                <a:gd name="connsiteY37" fmla="*/ 334978 h 1056238"/>
                <a:gd name="connsiteX38" fmla="*/ 570368 w 615635"/>
                <a:gd name="connsiteY38" fmla="*/ 307818 h 1056238"/>
                <a:gd name="connsiteX39" fmla="*/ 561315 w 615635"/>
                <a:gd name="connsiteY39" fmla="*/ 250479 h 1056238"/>
                <a:gd name="connsiteX40" fmla="*/ 552261 w 615635"/>
                <a:gd name="connsiteY40" fmla="*/ 202194 h 1056238"/>
                <a:gd name="connsiteX41" fmla="*/ 540190 w 615635"/>
                <a:gd name="connsiteY41" fmla="*/ 141838 h 1056238"/>
                <a:gd name="connsiteX42" fmla="*/ 531136 w 615635"/>
                <a:gd name="connsiteY42" fmla="*/ 126749 h 1056238"/>
                <a:gd name="connsiteX43" fmla="*/ 488887 w 615635"/>
                <a:gd name="connsiteY43" fmla="*/ 63374 h 1056238"/>
                <a:gd name="connsiteX44" fmla="*/ 479833 w 615635"/>
                <a:gd name="connsiteY44" fmla="*/ 21125 h 1056238"/>
                <a:gd name="connsiteX45" fmla="*/ 473798 w 615635"/>
                <a:gd name="connsiteY45" fmla="*/ 0 h 1056238"/>
                <a:gd name="connsiteX46" fmla="*/ 78463 w 615635"/>
                <a:gd name="connsiteY46" fmla="*/ 78464 h 1056238"/>
                <a:gd name="connsiteX0" fmla="*/ 78463 w 615635"/>
                <a:gd name="connsiteY0" fmla="*/ 78464 h 1056238"/>
                <a:gd name="connsiteX1" fmla="*/ 147873 w 615635"/>
                <a:gd name="connsiteY1" fmla="*/ 159945 h 1056238"/>
                <a:gd name="connsiteX2" fmla="*/ 150891 w 615635"/>
                <a:gd name="connsiteY2" fmla="*/ 202194 h 1056238"/>
                <a:gd name="connsiteX3" fmla="*/ 93552 w 615635"/>
                <a:gd name="connsiteY3" fmla="*/ 280658 h 1056238"/>
                <a:gd name="connsiteX4" fmla="*/ 27160 w 615635"/>
                <a:gd name="connsiteY4" fmla="*/ 277816 h 1056238"/>
                <a:gd name="connsiteX5" fmla="*/ 54321 w 615635"/>
                <a:gd name="connsiteY5" fmla="*/ 356103 h 1056238"/>
                <a:gd name="connsiteX6" fmla="*/ 0 w 615635"/>
                <a:gd name="connsiteY6" fmla="*/ 431549 h 1056238"/>
                <a:gd name="connsiteX7" fmla="*/ 30178 w 615635"/>
                <a:gd name="connsiteY7" fmla="*/ 620855 h 1056238"/>
                <a:gd name="connsiteX8" fmla="*/ 114677 w 615635"/>
                <a:gd name="connsiteY8" fmla="*/ 636761 h 1056238"/>
                <a:gd name="connsiteX9" fmla="*/ 156926 w 615635"/>
                <a:gd name="connsiteY9" fmla="*/ 739367 h 1056238"/>
                <a:gd name="connsiteX10" fmla="*/ 196158 w 615635"/>
                <a:gd name="connsiteY10" fmla="*/ 727295 h 1056238"/>
                <a:gd name="connsiteX11" fmla="*/ 223319 w 615635"/>
                <a:gd name="connsiteY11" fmla="*/ 760491 h 1056238"/>
                <a:gd name="connsiteX12" fmla="*/ 205212 w 615635"/>
                <a:gd name="connsiteY12" fmla="*/ 793687 h 1056238"/>
                <a:gd name="connsiteX13" fmla="*/ 196330 w 615635"/>
                <a:gd name="connsiteY13" fmla="*/ 814173 h 1056238"/>
                <a:gd name="connsiteX14" fmla="*/ 247461 w 615635"/>
                <a:gd name="connsiteY14" fmla="*/ 902329 h 1056238"/>
                <a:gd name="connsiteX15" fmla="*/ 337996 w 615635"/>
                <a:gd name="connsiteY15" fmla="*/ 944578 h 1056238"/>
                <a:gd name="connsiteX16" fmla="*/ 359292 w 615635"/>
                <a:gd name="connsiteY16" fmla="*/ 1043351 h 1056238"/>
                <a:gd name="connsiteX17" fmla="*/ 431548 w 615635"/>
                <a:gd name="connsiteY17" fmla="*/ 1056238 h 1056238"/>
                <a:gd name="connsiteX18" fmla="*/ 437584 w 615635"/>
                <a:gd name="connsiteY18" fmla="*/ 1020024 h 1056238"/>
                <a:gd name="connsiteX19" fmla="*/ 478558 w 615635"/>
                <a:gd name="connsiteY19" fmla="*/ 1036038 h 1056238"/>
                <a:gd name="connsiteX20" fmla="*/ 525101 w 615635"/>
                <a:gd name="connsiteY20" fmla="*/ 1032095 h 1056238"/>
                <a:gd name="connsiteX21" fmla="*/ 534154 w 615635"/>
                <a:gd name="connsiteY21" fmla="*/ 1017006 h 1056238"/>
                <a:gd name="connsiteX22" fmla="*/ 525101 w 615635"/>
                <a:gd name="connsiteY22" fmla="*/ 983810 h 1056238"/>
                <a:gd name="connsiteX23" fmla="*/ 587665 w 615635"/>
                <a:gd name="connsiteY23" fmla="*/ 967266 h 1056238"/>
                <a:gd name="connsiteX24" fmla="*/ 579422 w 615635"/>
                <a:gd name="connsiteY24" fmla="*/ 920436 h 1056238"/>
                <a:gd name="connsiteX25" fmla="*/ 579422 w 615635"/>
                <a:gd name="connsiteY25" fmla="*/ 893275 h 1056238"/>
                <a:gd name="connsiteX26" fmla="*/ 573386 w 615635"/>
                <a:gd name="connsiteY26" fmla="*/ 866115 h 1056238"/>
                <a:gd name="connsiteX27" fmla="*/ 576404 w 615635"/>
                <a:gd name="connsiteY27" fmla="*/ 826883 h 1056238"/>
                <a:gd name="connsiteX28" fmla="*/ 579422 w 615635"/>
                <a:gd name="connsiteY28" fmla="*/ 802741 h 1056238"/>
                <a:gd name="connsiteX29" fmla="*/ 586390 w 615635"/>
                <a:gd name="connsiteY29" fmla="*/ 787012 h 1056238"/>
                <a:gd name="connsiteX30" fmla="*/ 603564 w 615635"/>
                <a:gd name="connsiteY30" fmla="*/ 748420 h 1056238"/>
                <a:gd name="connsiteX31" fmla="*/ 606582 w 615635"/>
                <a:gd name="connsiteY31" fmla="*/ 715224 h 1056238"/>
                <a:gd name="connsiteX32" fmla="*/ 615635 w 615635"/>
                <a:gd name="connsiteY32" fmla="*/ 703153 h 1056238"/>
                <a:gd name="connsiteX33" fmla="*/ 609600 w 615635"/>
                <a:gd name="connsiteY33" fmla="*/ 672974 h 1056238"/>
                <a:gd name="connsiteX34" fmla="*/ 597528 w 615635"/>
                <a:gd name="connsiteY34" fmla="*/ 624689 h 1056238"/>
                <a:gd name="connsiteX35" fmla="*/ 597528 w 615635"/>
                <a:gd name="connsiteY35" fmla="*/ 582440 h 1056238"/>
                <a:gd name="connsiteX36" fmla="*/ 615635 w 615635"/>
                <a:gd name="connsiteY36" fmla="*/ 519066 h 1056238"/>
                <a:gd name="connsiteX37" fmla="*/ 579422 w 615635"/>
                <a:gd name="connsiteY37" fmla="*/ 334978 h 1056238"/>
                <a:gd name="connsiteX38" fmla="*/ 570368 w 615635"/>
                <a:gd name="connsiteY38" fmla="*/ 307818 h 1056238"/>
                <a:gd name="connsiteX39" fmla="*/ 561315 w 615635"/>
                <a:gd name="connsiteY39" fmla="*/ 250479 h 1056238"/>
                <a:gd name="connsiteX40" fmla="*/ 552261 w 615635"/>
                <a:gd name="connsiteY40" fmla="*/ 202194 h 1056238"/>
                <a:gd name="connsiteX41" fmla="*/ 540190 w 615635"/>
                <a:gd name="connsiteY41" fmla="*/ 141838 h 1056238"/>
                <a:gd name="connsiteX42" fmla="*/ 531136 w 615635"/>
                <a:gd name="connsiteY42" fmla="*/ 126749 h 1056238"/>
                <a:gd name="connsiteX43" fmla="*/ 488887 w 615635"/>
                <a:gd name="connsiteY43" fmla="*/ 63374 h 1056238"/>
                <a:gd name="connsiteX44" fmla="*/ 479833 w 615635"/>
                <a:gd name="connsiteY44" fmla="*/ 21125 h 1056238"/>
                <a:gd name="connsiteX45" fmla="*/ 473798 w 615635"/>
                <a:gd name="connsiteY45" fmla="*/ 0 h 1056238"/>
                <a:gd name="connsiteX46" fmla="*/ 78463 w 615635"/>
                <a:gd name="connsiteY46" fmla="*/ 78464 h 1056238"/>
                <a:gd name="connsiteX0" fmla="*/ 78463 w 615635"/>
                <a:gd name="connsiteY0" fmla="*/ 78464 h 1056238"/>
                <a:gd name="connsiteX1" fmla="*/ 147873 w 615635"/>
                <a:gd name="connsiteY1" fmla="*/ 159945 h 1056238"/>
                <a:gd name="connsiteX2" fmla="*/ 150891 w 615635"/>
                <a:gd name="connsiteY2" fmla="*/ 202194 h 1056238"/>
                <a:gd name="connsiteX3" fmla="*/ 93552 w 615635"/>
                <a:gd name="connsiteY3" fmla="*/ 280658 h 1056238"/>
                <a:gd name="connsiteX4" fmla="*/ 27160 w 615635"/>
                <a:gd name="connsiteY4" fmla="*/ 277816 h 1056238"/>
                <a:gd name="connsiteX5" fmla="*/ 54321 w 615635"/>
                <a:gd name="connsiteY5" fmla="*/ 356103 h 1056238"/>
                <a:gd name="connsiteX6" fmla="*/ 0 w 615635"/>
                <a:gd name="connsiteY6" fmla="*/ 431549 h 1056238"/>
                <a:gd name="connsiteX7" fmla="*/ 30178 w 615635"/>
                <a:gd name="connsiteY7" fmla="*/ 620855 h 1056238"/>
                <a:gd name="connsiteX8" fmla="*/ 109918 w 615635"/>
                <a:gd name="connsiteY8" fmla="*/ 648656 h 1056238"/>
                <a:gd name="connsiteX9" fmla="*/ 156926 w 615635"/>
                <a:gd name="connsiteY9" fmla="*/ 739367 h 1056238"/>
                <a:gd name="connsiteX10" fmla="*/ 196158 w 615635"/>
                <a:gd name="connsiteY10" fmla="*/ 727295 h 1056238"/>
                <a:gd name="connsiteX11" fmla="*/ 223319 w 615635"/>
                <a:gd name="connsiteY11" fmla="*/ 760491 h 1056238"/>
                <a:gd name="connsiteX12" fmla="*/ 205212 w 615635"/>
                <a:gd name="connsiteY12" fmla="*/ 793687 h 1056238"/>
                <a:gd name="connsiteX13" fmla="*/ 196330 w 615635"/>
                <a:gd name="connsiteY13" fmla="*/ 814173 h 1056238"/>
                <a:gd name="connsiteX14" fmla="*/ 247461 w 615635"/>
                <a:gd name="connsiteY14" fmla="*/ 902329 h 1056238"/>
                <a:gd name="connsiteX15" fmla="*/ 337996 w 615635"/>
                <a:gd name="connsiteY15" fmla="*/ 944578 h 1056238"/>
                <a:gd name="connsiteX16" fmla="*/ 359292 w 615635"/>
                <a:gd name="connsiteY16" fmla="*/ 1043351 h 1056238"/>
                <a:gd name="connsiteX17" fmla="*/ 431548 w 615635"/>
                <a:gd name="connsiteY17" fmla="*/ 1056238 h 1056238"/>
                <a:gd name="connsiteX18" fmla="*/ 437584 w 615635"/>
                <a:gd name="connsiteY18" fmla="*/ 1020024 h 1056238"/>
                <a:gd name="connsiteX19" fmla="*/ 478558 w 615635"/>
                <a:gd name="connsiteY19" fmla="*/ 1036038 h 1056238"/>
                <a:gd name="connsiteX20" fmla="*/ 525101 w 615635"/>
                <a:gd name="connsiteY20" fmla="*/ 1032095 h 1056238"/>
                <a:gd name="connsiteX21" fmla="*/ 534154 w 615635"/>
                <a:gd name="connsiteY21" fmla="*/ 1017006 h 1056238"/>
                <a:gd name="connsiteX22" fmla="*/ 525101 w 615635"/>
                <a:gd name="connsiteY22" fmla="*/ 983810 h 1056238"/>
                <a:gd name="connsiteX23" fmla="*/ 587665 w 615635"/>
                <a:gd name="connsiteY23" fmla="*/ 967266 h 1056238"/>
                <a:gd name="connsiteX24" fmla="*/ 579422 w 615635"/>
                <a:gd name="connsiteY24" fmla="*/ 920436 h 1056238"/>
                <a:gd name="connsiteX25" fmla="*/ 579422 w 615635"/>
                <a:gd name="connsiteY25" fmla="*/ 893275 h 1056238"/>
                <a:gd name="connsiteX26" fmla="*/ 573386 w 615635"/>
                <a:gd name="connsiteY26" fmla="*/ 866115 h 1056238"/>
                <a:gd name="connsiteX27" fmla="*/ 576404 w 615635"/>
                <a:gd name="connsiteY27" fmla="*/ 826883 h 1056238"/>
                <a:gd name="connsiteX28" fmla="*/ 579422 w 615635"/>
                <a:gd name="connsiteY28" fmla="*/ 802741 h 1056238"/>
                <a:gd name="connsiteX29" fmla="*/ 586390 w 615635"/>
                <a:gd name="connsiteY29" fmla="*/ 787012 h 1056238"/>
                <a:gd name="connsiteX30" fmla="*/ 603564 w 615635"/>
                <a:gd name="connsiteY30" fmla="*/ 748420 h 1056238"/>
                <a:gd name="connsiteX31" fmla="*/ 606582 w 615635"/>
                <a:gd name="connsiteY31" fmla="*/ 715224 h 1056238"/>
                <a:gd name="connsiteX32" fmla="*/ 615635 w 615635"/>
                <a:gd name="connsiteY32" fmla="*/ 703153 h 1056238"/>
                <a:gd name="connsiteX33" fmla="*/ 609600 w 615635"/>
                <a:gd name="connsiteY33" fmla="*/ 672974 h 1056238"/>
                <a:gd name="connsiteX34" fmla="*/ 597528 w 615635"/>
                <a:gd name="connsiteY34" fmla="*/ 624689 h 1056238"/>
                <a:gd name="connsiteX35" fmla="*/ 597528 w 615635"/>
                <a:gd name="connsiteY35" fmla="*/ 582440 h 1056238"/>
                <a:gd name="connsiteX36" fmla="*/ 615635 w 615635"/>
                <a:gd name="connsiteY36" fmla="*/ 519066 h 1056238"/>
                <a:gd name="connsiteX37" fmla="*/ 579422 w 615635"/>
                <a:gd name="connsiteY37" fmla="*/ 334978 h 1056238"/>
                <a:gd name="connsiteX38" fmla="*/ 570368 w 615635"/>
                <a:gd name="connsiteY38" fmla="*/ 307818 h 1056238"/>
                <a:gd name="connsiteX39" fmla="*/ 561315 w 615635"/>
                <a:gd name="connsiteY39" fmla="*/ 250479 h 1056238"/>
                <a:gd name="connsiteX40" fmla="*/ 552261 w 615635"/>
                <a:gd name="connsiteY40" fmla="*/ 202194 h 1056238"/>
                <a:gd name="connsiteX41" fmla="*/ 540190 w 615635"/>
                <a:gd name="connsiteY41" fmla="*/ 141838 h 1056238"/>
                <a:gd name="connsiteX42" fmla="*/ 531136 w 615635"/>
                <a:gd name="connsiteY42" fmla="*/ 126749 h 1056238"/>
                <a:gd name="connsiteX43" fmla="*/ 488887 w 615635"/>
                <a:gd name="connsiteY43" fmla="*/ 63374 h 1056238"/>
                <a:gd name="connsiteX44" fmla="*/ 479833 w 615635"/>
                <a:gd name="connsiteY44" fmla="*/ 21125 h 1056238"/>
                <a:gd name="connsiteX45" fmla="*/ 473798 w 615635"/>
                <a:gd name="connsiteY45" fmla="*/ 0 h 1056238"/>
                <a:gd name="connsiteX46" fmla="*/ 78463 w 615635"/>
                <a:gd name="connsiteY46" fmla="*/ 78464 h 1056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615635" h="1056238">
                  <a:moveTo>
                    <a:pt x="78463" y="78464"/>
                  </a:moveTo>
                  <a:lnTo>
                    <a:pt x="147873" y="159945"/>
                  </a:lnTo>
                  <a:lnTo>
                    <a:pt x="150891" y="202194"/>
                  </a:lnTo>
                  <a:lnTo>
                    <a:pt x="93552" y="280658"/>
                  </a:lnTo>
                  <a:lnTo>
                    <a:pt x="27160" y="277816"/>
                  </a:lnTo>
                  <a:lnTo>
                    <a:pt x="54321" y="356103"/>
                  </a:lnTo>
                  <a:lnTo>
                    <a:pt x="0" y="431549"/>
                  </a:lnTo>
                  <a:lnTo>
                    <a:pt x="30178" y="620855"/>
                  </a:lnTo>
                  <a:lnTo>
                    <a:pt x="109918" y="648656"/>
                  </a:lnTo>
                  <a:lnTo>
                    <a:pt x="156926" y="739367"/>
                  </a:lnTo>
                  <a:lnTo>
                    <a:pt x="196158" y="727295"/>
                  </a:lnTo>
                  <a:lnTo>
                    <a:pt x="223319" y="760491"/>
                  </a:lnTo>
                  <a:lnTo>
                    <a:pt x="205212" y="793687"/>
                  </a:lnTo>
                  <a:lnTo>
                    <a:pt x="196330" y="814173"/>
                  </a:lnTo>
                  <a:lnTo>
                    <a:pt x="247461" y="902329"/>
                  </a:lnTo>
                  <a:lnTo>
                    <a:pt x="337996" y="944578"/>
                  </a:lnTo>
                  <a:lnTo>
                    <a:pt x="359292" y="1043351"/>
                  </a:lnTo>
                  <a:lnTo>
                    <a:pt x="431548" y="1056238"/>
                  </a:lnTo>
                  <a:lnTo>
                    <a:pt x="437584" y="1020024"/>
                  </a:lnTo>
                  <a:lnTo>
                    <a:pt x="478558" y="1036038"/>
                  </a:lnTo>
                  <a:lnTo>
                    <a:pt x="525101" y="1032095"/>
                  </a:lnTo>
                  <a:lnTo>
                    <a:pt x="534154" y="1017006"/>
                  </a:lnTo>
                  <a:lnTo>
                    <a:pt x="525101" y="983810"/>
                  </a:lnTo>
                  <a:lnTo>
                    <a:pt x="587665" y="967266"/>
                  </a:lnTo>
                  <a:lnTo>
                    <a:pt x="579422" y="920436"/>
                  </a:lnTo>
                  <a:lnTo>
                    <a:pt x="579422" y="893275"/>
                  </a:lnTo>
                  <a:lnTo>
                    <a:pt x="573386" y="866115"/>
                  </a:lnTo>
                  <a:lnTo>
                    <a:pt x="576404" y="826883"/>
                  </a:lnTo>
                  <a:lnTo>
                    <a:pt x="579422" y="802741"/>
                  </a:lnTo>
                  <a:lnTo>
                    <a:pt x="586390" y="787012"/>
                  </a:lnTo>
                  <a:lnTo>
                    <a:pt x="603564" y="748420"/>
                  </a:lnTo>
                  <a:lnTo>
                    <a:pt x="606582" y="715224"/>
                  </a:lnTo>
                  <a:lnTo>
                    <a:pt x="615635" y="703153"/>
                  </a:lnTo>
                  <a:lnTo>
                    <a:pt x="609600" y="672974"/>
                  </a:lnTo>
                  <a:lnTo>
                    <a:pt x="597528" y="624689"/>
                  </a:lnTo>
                  <a:lnTo>
                    <a:pt x="597528" y="582440"/>
                  </a:lnTo>
                  <a:lnTo>
                    <a:pt x="615635" y="519066"/>
                  </a:lnTo>
                  <a:lnTo>
                    <a:pt x="579422" y="334978"/>
                  </a:lnTo>
                  <a:lnTo>
                    <a:pt x="570368" y="307818"/>
                  </a:lnTo>
                  <a:lnTo>
                    <a:pt x="561315" y="250479"/>
                  </a:lnTo>
                  <a:lnTo>
                    <a:pt x="552261" y="202194"/>
                  </a:lnTo>
                  <a:lnTo>
                    <a:pt x="540190" y="141838"/>
                  </a:lnTo>
                  <a:lnTo>
                    <a:pt x="531136" y="126749"/>
                  </a:lnTo>
                  <a:lnTo>
                    <a:pt x="488887" y="63374"/>
                  </a:lnTo>
                  <a:lnTo>
                    <a:pt x="479833" y="21125"/>
                  </a:lnTo>
                  <a:lnTo>
                    <a:pt x="473798" y="0"/>
                  </a:lnTo>
                  <a:lnTo>
                    <a:pt x="78463" y="7846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2" name="Freeform 111"/>
            <p:cNvSpPr/>
            <p:nvPr/>
          </p:nvSpPr>
          <p:spPr>
            <a:xfrm>
              <a:off x="3933283" y="3625474"/>
              <a:ext cx="375007" cy="575253"/>
            </a:xfrm>
            <a:custGeom>
              <a:avLst/>
              <a:gdLst>
                <a:gd name="connsiteX0" fmla="*/ 0 w 594511"/>
                <a:gd name="connsiteY0" fmla="*/ 84499 h 974757"/>
                <a:gd name="connsiteX1" fmla="*/ 69410 w 594511"/>
                <a:gd name="connsiteY1" fmla="*/ 962686 h 974757"/>
                <a:gd name="connsiteX2" fmla="*/ 87517 w 594511"/>
                <a:gd name="connsiteY2" fmla="*/ 962686 h 974757"/>
                <a:gd name="connsiteX3" fmla="*/ 111659 w 594511"/>
                <a:gd name="connsiteY3" fmla="*/ 962686 h 974757"/>
                <a:gd name="connsiteX4" fmla="*/ 132784 w 594511"/>
                <a:gd name="connsiteY4" fmla="*/ 941561 h 974757"/>
                <a:gd name="connsiteX5" fmla="*/ 129766 w 594511"/>
                <a:gd name="connsiteY5" fmla="*/ 902329 h 974757"/>
                <a:gd name="connsiteX6" fmla="*/ 184087 w 594511"/>
                <a:gd name="connsiteY6" fmla="*/ 974757 h 974757"/>
                <a:gd name="connsiteX7" fmla="*/ 220301 w 594511"/>
                <a:gd name="connsiteY7" fmla="*/ 959668 h 974757"/>
                <a:gd name="connsiteX8" fmla="*/ 217283 w 594511"/>
                <a:gd name="connsiteY8" fmla="*/ 908365 h 974757"/>
                <a:gd name="connsiteX9" fmla="*/ 214265 w 594511"/>
                <a:gd name="connsiteY9" fmla="*/ 878187 h 974757"/>
                <a:gd name="connsiteX10" fmla="*/ 193140 w 594511"/>
                <a:gd name="connsiteY10" fmla="*/ 851026 h 974757"/>
                <a:gd name="connsiteX11" fmla="*/ 588475 w 594511"/>
                <a:gd name="connsiteY11" fmla="*/ 751438 h 974757"/>
                <a:gd name="connsiteX12" fmla="*/ 591493 w 594511"/>
                <a:gd name="connsiteY12" fmla="*/ 685046 h 974757"/>
                <a:gd name="connsiteX13" fmla="*/ 582439 w 594511"/>
                <a:gd name="connsiteY13" fmla="*/ 633743 h 974757"/>
                <a:gd name="connsiteX14" fmla="*/ 588475 w 594511"/>
                <a:gd name="connsiteY14" fmla="*/ 585458 h 974757"/>
                <a:gd name="connsiteX15" fmla="*/ 570368 w 594511"/>
                <a:gd name="connsiteY15" fmla="*/ 528119 h 974757"/>
                <a:gd name="connsiteX16" fmla="*/ 576404 w 594511"/>
                <a:gd name="connsiteY16" fmla="*/ 510012 h 974757"/>
                <a:gd name="connsiteX17" fmla="*/ 594511 w 594511"/>
                <a:gd name="connsiteY17" fmla="*/ 488888 h 974757"/>
                <a:gd name="connsiteX18" fmla="*/ 588475 w 594511"/>
                <a:gd name="connsiteY18" fmla="*/ 467763 h 974757"/>
                <a:gd name="connsiteX19" fmla="*/ 543208 w 594511"/>
                <a:gd name="connsiteY19" fmla="*/ 425513 h 974757"/>
                <a:gd name="connsiteX20" fmla="*/ 470780 w 594511"/>
                <a:gd name="connsiteY20" fmla="*/ 162963 h 974757"/>
                <a:gd name="connsiteX21" fmla="*/ 449655 w 594511"/>
                <a:gd name="connsiteY21" fmla="*/ 111660 h 974757"/>
                <a:gd name="connsiteX22" fmla="*/ 410424 w 594511"/>
                <a:gd name="connsiteY22" fmla="*/ 0 h 974757"/>
                <a:gd name="connsiteX23" fmla="*/ 202194 w 594511"/>
                <a:gd name="connsiteY23" fmla="*/ 51303 h 974757"/>
                <a:gd name="connsiteX24" fmla="*/ 114677 w 594511"/>
                <a:gd name="connsiteY24" fmla="*/ 66392 h 974757"/>
                <a:gd name="connsiteX25" fmla="*/ 96570 w 594511"/>
                <a:gd name="connsiteY25" fmla="*/ 51303 h 974757"/>
                <a:gd name="connsiteX26" fmla="*/ 0 w 594511"/>
                <a:gd name="connsiteY26" fmla="*/ 84499 h 974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94511" h="974757">
                  <a:moveTo>
                    <a:pt x="0" y="84499"/>
                  </a:moveTo>
                  <a:lnTo>
                    <a:pt x="69410" y="962686"/>
                  </a:lnTo>
                  <a:lnTo>
                    <a:pt x="87517" y="962686"/>
                  </a:lnTo>
                  <a:lnTo>
                    <a:pt x="111659" y="962686"/>
                  </a:lnTo>
                  <a:lnTo>
                    <a:pt x="132784" y="941561"/>
                  </a:lnTo>
                  <a:lnTo>
                    <a:pt x="129766" y="902329"/>
                  </a:lnTo>
                  <a:lnTo>
                    <a:pt x="184087" y="974757"/>
                  </a:lnTo>
                  <a:lnTo>
                    <a:pt x="220301" y="959668"/>
                  </a:lnTo>
                  <a:lnTo>
                    <a:pt x="217283" y="908365"/>
                  </a:lnTo>
                  <a:lnTo>
                    <a:pt x="214265" y="878187"/>
                  </a:lnTo>
                  <a:lnTo>
                    <a:pt x="193140" y="851026"/>
                  </a:lnTo>
                  <a:lnTo>
                    <a:pt x="588475" y="751438"/>
                  </a:lnTo>
                  <a:lnTo>
                    <a:pt x="591493" y="685046"/>
                  </a:lnTo>
                  <a:lnTo>
                    <a:pt x="582439" y="633743"/>
                  </a:lnTo>
                  <a:lnTo>
                    <a:pt x="588475" y="585458"/>
                  </a:lnTo>
                  <a:lnTo>
                    <a:pt x="570368" y="528119"/>
                  </a:lnTo>
                  <a:lnTo>
                    <a:pt x="576404" y="510012"/>
                  </a:lnTo>
                  <a:lnTo>
                    <a:pt x="594511" y="488888"/>
                  </a:lnTo>
                  <a:lnTo>
                    <a:pt x="588475" y="467763"/>
                  </a:lnTo>
                  <a:lnTo>
                    <a:pt x="543208" y="425513"/>
                  </a:lnTo>
                  <a:lnTo>
                    <a:pt x="470780" y="162963"/>
                  </a:lnTo>
                  <a:lnTo>
                    <a:pt x="449655" y="111660"/>
                  </a:lnTo>
                  <a:lnTo>
                    <a:pt x="410424" y="0"/>
                  </a:lnTo>
                  <a:lnTo>
                    <a:pt x="202194" y="51303"/>
                  </a:lnTo>
                  <a:lnTo>
                    <a:pt x="114677" y="66392"/>
                  </a:lnTo>
                  <a:lnTo>
                    <a:pt x="96570" y="51303"/>
                  </a:lnTo>
                  <a:lnTo>
                    <a:pt x="0" y="8449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3" name="Freeform 112"/>
            <p:cNvSpPr/>
            <p:nvPr/>
          </p:nvSpPr>
          <p:spPr>
            <a:xfrm>
              <a:off x="4188288" y="3573946"/>
              <a:ext cx="521009" cy="514354"/>
            </a:xfrm>
            <a:custGeom>
              <a:avLst/>
              <a:gdLst>
                <a:gd name="connsiteX0" fmla="*/ 0 w 832919"/>
                <a:gd name="connsiteY0" fmla="*/ 87516 h 872150"/>
                <a:gd name="connsiteX1" fmla="*/ 69410 w 832919"/>
                <a:gd name="connsiteY1" fmla="*/ 262550 h 872150"/>
                <a:gd name="connsiteX2" fmla="*/ 141838 w 832919"/>
                <a:gd name="connsiteY2" fmla="*/ 510011 h 872150"/>
                <a:gd name="connsiteX3" fmla="*/ 187105 w 832919"/>
                <a:gd name="connsiteY3" fmla="*/ 576404 h 872150"/>
                <a:gd name="connsiteX4" fmla="*/ 165980 w 832919"/>
                <a:gd name="connsiteY4" fmla="*/ 618653 h 872150"/>
                <a:gd name="connsiteX5" fmla="*/ 175034 w 832919"/>
                <a:gd name="connsiteY5" fmla="*/ 672974 h 872150"/>
                <a:gd name="connsiteX6" fmla="*/ 184087 w 832919"/>
                <a:gd name="connsiteY6" fmla="*/ 688063 h 872150"/>
                <a:gd name="connsiteX7" fmla="*/ 178051 w 832919"/>
                <a:gd name="connsiteY7" fmla="*/ 733330 h 872150"/>
                <a:gd name="connsiteX8" fmla="*/ 187105 w 832919"/>
                <a:gd name="connsiteY8" fmla="*/ 781615 h 872150"/>
                <a:gd name="connsiteX9" fmla="*/ 175034 w 832919"/>
                <a:gd name="connsiteY9" fmla="*/ 829901 h 872150"/>
                <a:gd name="connsiteX10" fmla="*/ 259533 w 832919"/>
                <a:gd name="connsiteY10" fmla="*/ 872150 h 872150"/>
                <a:gd name="connsiteX11" fmla="*/ 383263 w 832919"/>
                <a:gd name="connsiteY11" fmla="*/ 863097 h 872150"/>
                <a:gd name="connsiteX12" fmla="*/ 645814 w 832919"/>
                <a:gd name="connsiteY12" fmla="*/ 826883 h 872150"/>
                <a:gd name="connsiteX13" fmla="*/ 700135 w 832919"/>
                <a:gd name="connsiteY13" fmla="*/ 851025 h 872150"/>
                <a:gd name="connsiteX14" fmla="*/ 706170 w 832919"/>
                <a:gd name="connsiteY14" fmla="*/ 772562 h 872150"/>
                <a:gd name="connsiteX15" fmla="*/ 724277 w 832919"/>
                <a:gd name="connsiteY15" fmla="*/ 751437 h 872150"/>
                <a:gd name="connsiteX16" fmla="*/ 781616 w 832919"/>
                <a:gd name="connsiteY16" fmla="*/ 766526 h 872150"/>
                <a:gd name="connsiteX17" fmla="*/ 805758 w 832919"/>
                <a:gd name="connsiteY17" fmla="*/ 757473 h 872150"/>
                <a:gd name="connsiteX18" fmla="*/ 784634 w 832919"/>
                <a:gd name="connsiteY18" fmla="*/ 651849 h 872150"/>
                <a:gd name="connsiteX19" fmla="*/ 796705 w 832919"/>
                <a:gd name="connsiteY19" fmla="*/ 642796 h 872150"/>
                <a:gd name="connsiteX20" fmla="*/ 796705 w 832919"/>
                <a:gd name="connsiteY20" fmla="*/ 585457 h 872150"/>
                <a:gd name="connsiteX21" fmla="*/ 817830 w 832919"/>
                <a:gd name="connsiteY21" fmla="*/ 519065 h 872150"/>
                <a:gd name="connsiteX22" fmla="*/ 832919 w 832919"/>
                <a:gd name="connsiteY22" fmla="*/ 482851 h 872150"/>
                <a:gd name="connsiteX23" fmla="*/ 832919 w 832919"/>
                <a:gd name="connsiteY23" fmla="*/ 464744 h 872150"/>
                <a:gd name="connsiteX24" fmla="*/ 805758 w 832919"/>
                <a:gd name="connsiteY24" fmla="*/ 461726 h 872150"/>
                <a:gd name="connsiteX25" fmla="*/ 793687 w 832919"/>
                <a:gd name="connsiteY25" fmla="*/ 431548 h 872150"/>
                <a:gd name="connsiteX26" fmla="*/ 724277 w 832919"/>
                <a:gd name="connsiteY26" fmla="*/ 359120 h 872150"/>
                <a:gd name="connsiteX27" fmla="*/ 712206 w 832919"/>
                <a:gd name="connsiteY27" fmla="*/ 307817 h 872150"/>
                <a:gd name="connsiteX28" fmla="*/ 636760 w 832919"/>
                <a:gd name="connsiteY28" fmla="*/ 271604 h 872150"/>
                <a:gd name="connsiteX29" fmla="*/ 564333 w 832919"/>
                <a:gd name="connsiteY29" fmla="*/ 196158 h 872150"/>
                <a:gd name="connsiteX30" fmla="*/ 531137 w 832919"/>
                <a:gd name="connsiteY30" fmla="*/ 175033 h 872150"/>
                <a:gd name="connsiteX31" fmla="*/ 488887 w 832919"/>
                <a:gd name="connsiteY31" fmla="*/ 156926 h 872150"/>
                <a:gd name="connsiteX32" fmla="*/ 470780 w 832919"/>
                <a:gd name="connsiteY32" fmla="*/ 150891 h 872150"/>
                <a:gd name="connsiteX33" fmla="*/ 434566 w 832919"/>
                <a:gd name="connsiteY33" fmla="*/ 99588 h 872150"/>
                <a:gd name="connsiteX34" fmla="*/ 377228 w 832919"/>
                <a:gd name="connsiteY34" fmla="*/ 63374 h 872150"/>
                <a:gd name="connsiteX35" fmla="*/ 371192 w 832919"/>
                <a:gd name="connsiteY35" fmla="*/ 36213 h 872150"/>
                <a:gd name="connsiteX36" fmla="*/ 371192 w 832919"/>
                <a:gd name="connsiteY36" fmla="*/ 0 h 872150"/>
                <a:gd name="connsiteX37" fmla="*/ 205212 w 832919"/>
                <a:gd name="connsiteY37" fmla="*/ 45267 h 872150"/>
                <a:gd name="connsiteX38" fmla="*/ 0 w 832919"/>
                <a:gd name="connsiteY38" fmla="*/ 87516 h 872150"/>
                <a:gd name="connsiteX0" fmla="*/ 0 w 832919"/>
                <a:gd name="connsiteY0" fmla="*/ 87516 h 872150"/>
                <a:gd name="connsiteX1" fmla="*/ 69410 w 832919"/>
                <a:gd name="connsiteY1" fmla="*/ 262550 h 872150"/>
                <a:gd name="connsiteX2" fmla="*/ 141838 w 832919"/>
                <a:gd name="connsiteY2" fmla="*/ 510011 h 872150"/>
                <a:gd name="connsiteX3" fmla="*/ 187105 w 832919"/>
                <a:gd name="connsiteY3" fmla="*/ 576404 h 872150"/>
                <a:gd name="connsiteX4" fmla="*/ 165980 w 832919"/>
                <a:gd name="connsiteY4" fmla="*/ 618653 h 872150"/>
                <a:gd name="connsiteX5" fmla="*/ 175034 w 832919"/>
                <a:gd name="connsiteY5" fmla="*/ 672974 h 872150"/>
                <a:gd name="connsiteX6" fmla="*/ 184087 w 832919"/>
                <a:gd name="connsiteY6" fmla="*/ 688063 h 872150"/>
                <a:gd name="connsiteX7" fmla="*/ 178051 w 832919"/>
                <a:gd name="connsiteY7" fmla="*/ 733330 h 872150"/>
                <a:gd name="connsiteX8" fmla="*/ 187105 w 832919"/>
                <a:gd name="connsiteY8" fmla="*/ 781615 h 872150"/>
                <a:gd name="connsiteX9" fmla="*/ 172655 w 832919"/>
                <a:gd name="connsiteY9" fmla="*/ 848965 h 872150"/>
                <a:gd name="connsiteX10" fmla="*/ 259533 w 832919"/>
                <a:gd name="connsiteY10" fmla="*/ 872150 h 872150"/>
                <a:gd name="connsiteX11" fmla="*/ 383263 w 832919"/>
                <a:gd name="connsiteY11" fmla="*/ 863097 h 872150"/>
                <a:gd name="connsiteX12" fmla="*/ 645814 w 832919"/>
                <a:gd name="connsiteY12" fmla="*/ 826883 h 872150"/>
                <a:gd name="connsiteX13" fmla="*/ 700135 w 832919"/>
                <a:gd name="connsiteY13" fmla="*/ 851025 h 872150"/>
                <a:gd name="connsiteX14" fmla="*/ 706170 w 832919"/>
                <a:gd name="connsiteY14" fmla="*/ 772562 h 872150"/>
                <a:gd name="connsiteX15" fmla="*/ 724277 w 832919"/>
                <a:gd name="connsiteY15" fmla="*/ 751437 h 872150"/>
                <a:gd name="connsiteX16" fmla="*/ 781616 w 832919"/>
                <a:gd name="connsiteY16" fmla="*/ 766526 h 872150"/>
                <a:gd name="connsiteX17" fmla="*/ 805758 w 832919"/>
                <a:gd name="connsiteY17" fmla="*/ 757473 h 872150"/>
                <a:gd name="connsiteX18" fmla="*/ 784634 w 832919"/>
                <a:gd name="connsiteY18" fmla="*/ 651849 h 872150"/>
                <a:gd name="connsiteX19" fmla="*/ 796705 w 832919"/>
                <a:gd name="connsiteY19" fmla="*/ 642796 h 872150"/>
                <a:gd name="connsiteX20" fmla="*/ 796705 w 832919"/>
                <a:gd name="connsiteY20" fmla="*/ 585457 h 872150"/>
                <a:gd name="connsiteX21" fmla="*/ 817830 w 832919"/>
                <a:gd name="connsiteY21" fmla="*/ 519065 h 872150"/>
                <a:gd name="connsiteX22" fmla="*/ 832919 w 832919"/>
                <a:gd name="connsiteY22" fmla="*/ 482851 h 872150"/>
                <a:gd name="connsiteX23" fmla="*/ 832919 w 832919"/>
                <a:gd name="connsiteY23" fmla="*/ 464744 h 872150"/>
                <a:gd name="connsiteX24" fmla="*/ 805758 w 832919"/>
                <a:gd name="connsiteY24" fmla="*/ 461726 h 872150"/>
                <a:gd name="connsiteX25" fmla="*/ 793687 w 832919"/>
                <a:gd name="connsiteY25" fmla="*/ 431548 h 872150"/>
                <a:gd name="connsiteX26" fmla="*/ 724277 w 832919"/>
                <a:gd name="connsiteY26" fmla="*/ 359120 h 872150"/>
                <a:gd name="connsiteX27" fmla="*/ 712206 w 832919"/>
                <a:gd name="connsiteY27" fmla="*/ 307817 h 872150"/>
                <a:gd name="connsiteX28" fmla="*/ 636760 w 832919"/>
                <a:gd name="connsiteY28" fmla="*/ 271604 h 872150"/>
                <a:gd name="connsiteX29" fmla="*/ 564333 w 832919"/>
                <a:gd name="connsiteY29" fmla="*/ 196158 h 872150"/>
                <a:gd name="connsiteX30" fmla="*/ 531137 w 832919"/>
                <a:gd name="connsiteY30" fmla="*/ 175033 h 872150"/>
                <a:gd name="connsiteX31" fmla="*/ 488887 w 832919"/>
                <a:gd name="connsiteY31" fmla="*/ 156926 h 872150"/>
                <a:gd name="connsiteX32" fmla="*/ 470780 w 832919"/>
                <a:gd name="connsiteY32" fmla="*/ 150891 h 872150"/>
                <a:gd name="connsiteX33" fmla="*/ 434566 w 832919"/>
                <a:gd name="connsiteY33" fmla="*/ 99588 h 872150"/>
                <a:gd name="connsiteX34" fmla="*/ 377228 w 832919"/>
                <a:gd name="connsiteY34" fmla="*/ 63374 h 872150"/>
                <a:gd name="connsiteX35" fmla="*/ 371192 w 832919"/>
                <a:gd name="connsiteY35" fmla="*/ 36213 h 872150"/>
                <a:gd name="connsiteX36" fmla="*/ 371192 w 832919"/>
                <a:gd name="connsiteY36" fmla="*/ 0 h 872150"/>
                <a:gd name="connsiteX37" fmla="*/ 205212 w 832919"/>
                <a:gd name="connsiteY37" fmla="*/ 45267 h 872150"/>
                <a:gd name="connsiteX38" fmla="*/ 0 w 832919"/>
                <a:gd name="connsiteY38" fmla="*/ 87516 h 872150"/>
                <a:gd name="connsiteX0" fmla="*/ 0 w 832919"/>
                <a:gd name="connsiteY0" fmla="*/ 87516 h 872150"/>
                <a:gd name="connsiteX1" fmla="*/ 69410 w 832919"/>
                <a:gd name="connsiteY1" fmla="*/ 262550 h 872150"/>
                <a:gd name="connsiteX2" fmla="*/ 141838 w 832919"/>
                <a:gd name="connsiteY2" fmla="*/ 510011 h 872150"/>
                <a:gd name="connsiteX3" fmla="*/ 187105 w 832919"/>
                <a:gd name="connsiteY3" fmla="*/ 576404 h 872150"/>
                <a:gd name="connsiteX4" fmla="*/ 165980 w 832919"/>
                <a:gd name="connsiteY4" fmla="*/ 618653 h 872150"/>
                <a:gd name="connsiteX5" fmla="*/ 175034 w 832919"/>
                <a:gd name="connsiteY5" fmla="*/ 672974 h 872150"/>
                <a:gd name="connsiteX6" fmla="*/ 184087 w 832919"/>
                <a:gd name="connsiteY6" fmla="*/ 688063 h 872150"/>
                <a:gd name="connsiteX7" fmla="*/ 178051 w 832919"/>
                <a:gd name="connsiteY7" fmla="*/ 733330 h 872150"/>
                <a:gd name="connsiteX8" fmla="*/ 187105 w 832919"/>
                <a:gd name="connsiteY8" fmla="*/ 781615 h 872150"/>
                <a:gd name="connsiteX9" fmla="*/ 172655 w 832919"/>
                <a:gd name="connsiteY9" fmla="*/ 848965 h 872150"/>
                <a:gd name="connsiteX10" fmla="*/ 259533 w 832919"/>
                <a:gd name="connsiteY10" fmla="*/ 872150 h 872150"/>
                <a:gd name="connsiteX11" fmla="*/ 383263 w 832919"/>
                <a:gd name="connsiteY11" fmla="*/ 863097 h 872150"/>
                <a:gd name="connsiteX12" fmla="*/ 652953 w 832919"/>
                <a:gd name="connsiteY12" fmla="*/ 841180 h 872150"/>
                <a:gd name="connsiteX13" fmla="*/ 700135 w 832919"/>
                <a:gd name="connsiteY13" fmla="*/ 851025 h 872150"/>
                <a:gd name="connsiteX14" fmla="*/ 706170 w 832919"/>
                <a:gd name="connsiteY14" fmla="*/ 772562 h 872150"/>
                <a:gd name="connsiteX15" fmla="*/ 724277 w 832919"/>
                <a:gd name="connsiteY15" fmla="*/ 751437 h 872150"/>
                <a:gd name="connsiteX16" fmla="*/ 781616 w 832919"/>
                <a:gd name="connsiteY16" fmla="*/ 766526 h 872150"/>
                <a:gd name="connsiteX17" fmla="*/ 805758 w 832919"/>
                <a:gd name="connsiteY17" fmla="*/ 757473 h 872150"/>
                <a:gd name="connsiteX18" fmla="*/ 784634 w 832919"/>
                <a:gd name="connsiteY18" fmla="*/ 651849 h 872150"/>
                <a:gd name="connsiteX19" fmla="*/ 796705 w 832919"/>
                <a:gd name="connsiteY19" fmla="*/ 642796 h 872150"/>
                <a:gd name="connsiteX20" fmla="*/ 796705 w 832919"/>
                <a:gd name="connsiteY20" fmla="*/ 585457 h 872150"/>
                <a:gd name="connsiteX21" fmla="*/ 817830 w 832919"/>
                <a:gd name="connsiteY21" fmla="*/ 519065 h 872150"/>
                <a:gd name="connsiteX22" fmla="*/ 832919 w 832919"/>
                <a:gd name="connsiteY22" fmla="*/ 482851 h 872150"/>
                <a:gd name="connsiteX23" fmla="*/ 832919 w 832919"/>
                <a:gd name="connsiteY23" fmla="*/ 464744 h 872150"/>
                <a:gd name="connsiteX24" fmla="*/ 805758 w 832919"/>
                <a:gd name="connsiteY24" fmla="*/ 461726 h 872150"/>
                <a:gd name="connsiteX25" fmla="*/ 793687 w 832919"/>
                <a:gd name="connsiteY25" fmla="*/ 431548 h 872150"/>
                <a:gd name="connsiteX26" fmla="*/ 724277 w 832919"/>
                <a:gd name="connsiteY26" fmla="*/ 359120 h 872150"/>
                <a:gd name="connsiteX27" fmla="*/ 712206 w 832919"/>
                <a:gd name="connsiteY27" fmla="*/ 307817 h 872150"/>
                <a:gd name="connsiteX28" fmla="*/ 636760 w 832919"/>
                <a:gd name="connsiteY28" fmla="*/ 271604 h 872150"/>
                <a:gd name="connsiteX29" fmla="*/ 564333 w 832919"/>
                <a:gd name="connsiteY29" fmla="*/ 196158 h 872150"/>
                <a:gd name="connsiteX30" fmla="*/ 531137 w 832919"/>
                <a:gd name="connsiteY30" fmla="*/ 175033 h 872150"/>
                <a:gd name="connsiteX31" fmla="*/ 488887 w 832919"/>
                <a:gd name="connsiteY31" fmla="*/ 156926 h 872150"/>
                <a:gd name="connsiteX32" fmla="*/ 470780 w 832919"/>
                <a:gd name="connsiteY32" fmla="*/ 150891 h 872150"/>
                <a:gd name="connsiteX33" fmla="*/ 434566 w 832919"/>
                <a:gd name="connsiteY33" fmla="*/ 99588 h 872150"/>
                <a:gd name="connsiteX34" fmla="*/ 377228 w 832919"/>
                <a:gd name="connsiteY34" fmla="*/ 63374 h 872150"/>
                <a:gd name="connsiteX35" fmla="*/ 371192 w 832919"/>
                <a:gd name="connsiteY35" fmla="*/ 36213 h 872150"/>
                <a:gd name="connsiteX36" fmla="*/ 371192 w 832919"/>
                <a:gd name="connsiteY36" fmla="*/ 0 h 872150"/>
                <a:gd name="connsiteX37" fmla="*/ 205212 w 832919"/>
                <a:gd name="connsiteY37" fmla="*/ 45267 h 872150"/>
                <a:gd name="connsiteX38" fmla="*/ 0 w 832919"/>
                <a:gd name="connsiteY38" fmla="*/ 87516 h 872150"/>
                <a:gd name="connsiteX0" fmla="*/ 0 w 832919"/>
                <a:gd name="connsiteY0" fmla="*/ 87516 h 872150"/>
                <a:gd name="connsiteX1" fmla="*/ 69410 w 832919"/>
                <a:gd name="connsiteY1" fmla="*/ 262550 h 872150"/>
                <a:gd name="connsiteX2" fmla="*/ 141838 w 832919"/>
                <a:gd name="connsiteY2" fmla="*/ 510011 h 872150"/>
                <a:gd name="connsiteX3" fmla="*/ 187105 w 832919"/>
                <a:gd name="connsiteY3" fmla="*/ 576404 h 872150"/>
                <a:gd name="connsiteX4" fmla="*/ 165980 w 832919"/>
                <a:gd name="connsiteY4" fmla="*/ 618653 h 872150"/>
                <a:gd name="connsiteX5" fmla="*/ 175034 w 832919"/>
                <a:gd name="connsiteY5" fmla="*/ 672974 h 872150"/>
                <a:gd name="connsiteX6" fmla="*/ 184087 w 832919"/>
                <a:gd name="connsiteY6" fmla="*/ 688063 h 872150"/>
                <a:gd name="connsiteX7" fmla="*/ 178051 w 832919"/>
                <a:gd name="connsiteY7" fmla="*/ 733330 h 872150"/>
                <a:gd name="connsiteX8" fmla="*/ 187105 w 832919"/>
                <a:gd name="connsiteY8" fmla="*/ 781615 h 872150"/>
                <a:gd name="connsiteX9" fmla="*/ 172655 w 832919"/>
                <a:gd name="connsiteY9" fmla="*/ 848965 h 872150"/>
                <a:gd name="connsiteX10" fmla="*/ 259533 w 832919"/>
                <a:gd name="connsiteY10" fmla="*/ 872150 h 872150"/>
                <a:gd name="connsiteX11" fmla="*/ 383263 w 832919"/>
                <a:gd name="connsiteY11" fmla="*/ 863097 h 872150"/>
                <a:gd name="connsiteX12" fmla="*/ 652953 w 832919"/>
                <a:gd name="connsiteY12" fmla="*/ 841180 h 872150"/>
                <a:gd name="connsiteX13" fmla="*/ 700135 w 832919"/>
                <a:gd name="connsiteY13" fmla="*/ 851025 h 872150"/>
                <a:gd name="connsiteX14" fmla="*/ 706170 w 832919"/>
                <a:gd name="connsiteY14" fmla="*/ 772562 h 872150"/>
                <a:gd name="connsiteX15" fmla="*/ 724277 w 832919"/>
                <a:gd name="connsiteY15" fmla="*/ 751437 h 872150"/>
                <a:gd name="connsiteX16" fmla="*/ 764958 w 832919"/>
                <a:gd name="connsiteY16" fmla="*/ 776057 h 872150"/>
                <a:gd name="connsiteX17" fmla="*/ 805758 w 832919"/>
                <a:gd name="connsiteY17" fmla="*/ 757473 h 872150"/>
                <a:gd name="connsiteX18" fmla="*/ 784634 w 832919"/>
                <a:gd name="connsiteY18" fmla="*/ 651849 h 872150"/>
                <a:gd name="connsiteX19" fmla="*/ 796705 w 832919"/>
                <a:gd name="connsiteY19" fmla="*/ 642796 h 872150"/>
                <a:gd name="connsiteX20" fmla="*/ 796705 w 832919"/>
                <a:gd name="connsiteY20" fmla="*/ 585457 h 872150"/>
                <a:gd name="connsiteX21" fmla="*/ 817830 w 832919"/>
                <a:gd name="connsiteY21" fmla="*/ 519065 h 872150"/>
                <a:gd name="connsiteX22" fmla="*/ 832919 w 832919"/>
                <a:gd name="connsiteY22" fmla="*/ 482851 h 872150"/>
                <a:gd name="connsiteX23" fmla="*/ 832919 w 832919"/>
                <a:gd name="connsiteY23" fmla="*/ 464744 h 872150"/>
                <a:gd name="connsiteX24" fmla="*/ 805758 w 832919"/>
                <a:gd name="connsiteY24" fmla="*/ 461726 h 872150"/>
                <a:gd name="connsiteX25" fmla="*/ 793687 w 832919"/>
                <a:gd name="connsiteY25" fmla="*/ 431548 h 872150"/>
                <a:gd name="connsiteX26" fmla="*/ 724277 w 832919"/>
                <a:gd name="connsiteY26" fmla="*/ 359120 h 872150"/>
                <a:gd name="connsiteX27" fmla="*/ 712206 w 832919"/>
                <a:gd name="connsiteY27" fmla="*/ 307817 h 872150"/>
                <a:gd name="connsiteX28" fmla="*/ 636760 w 832919"/>
                <a:gd name="connsiteY28" fmla="*/ 271604 h 872150"/>
                <a:gd name="connsiteX29" fmla="*/ 564333 w 832919"/>
                <a:gd name="connsiteY29" fmla="*/ 196158 h 872150"/>
                <a:gd name="connsiteX30" fmla="*/ 531137 w 832919"/>
                <a:gd name="connsiteY30" fmla="*/ 175033 h 872150"/>
                <a:gd name="connsiteX31" fmla="*/ 488887 w 832919"/>
                <a:gd name="connsiteY31" fmla="*/ 156926 h 872150"/>
                <a:gd name="connsiteX32" fmla="*/ 470780 w 832919"/>
                <a:gd name="connsiteY32" fmla="*/ 150891 h 872150"/>
                <a:gd name="connsiteX33" fmla="*/ 434566 w 832919"/>
                <a:gd name="connsiteY33" fmla="*/ 99588 h 872150"/>
                <a:gd name="connsiteX34" fmla="*/ 377228 w 832919"/>
                <a:gd name="connsiteY34" fmla="*/ 63374 h 872150"/>
                <a:gd name="connsiteX35" fmla="*/ 371192 w 832919"/>
                <a:gd name="connsiteY35" fmla="*/ 36213 h 872150"/>
                <a:gd name="connsiteX36" fmla="*/ 371192 w 832919"/>
                <a:gd name="connsiteY36" fmla="*/ 0 h 872150"/>
                <a:gd name="connsiteX37" fmla="*/ 205212 w 832919"/>
                <a:gd name="connsiteY37" fmla="*/ 45267 h 872150"/>
                <a:gd name="connsiteX38" fmla="*/ 0 w 832919"/>
                <a:gd name="connsiteY38" fmla="*/ 87516 h 872150"/>
                <a:gd name="connsiteX0" fmla="*/ 0 w 832919"/>
                <a:gd name="connsiteY0" fmla="*/ 87516 h 872150"/>
                <a:gd name="connsiteX1" fmla="*/ 69410 w 832919"/>
                <a:gd name="connsiteY1" fmla="*/ 262550 h 872150"/>
                <a:gd name="connsiteX2" fmla="*/ 141838 w 832919"/>
                <a:gd name="connsiteY2" fmla="*/ 510011 h 872150"/>
                <a:gd name="connsiteX3" fmla="*/ 187105 w 832919"/>
                <a:gd name="connsiteY3" fmla="*/ 576404 h 872150"/>
                <a:gd name="connsiteX4" fmla="*/ 165980 w 832919"/>
                <a:gd name="connsiteY4" fmla="*/ 618653 h 872150"/>
                <a:gd name="connsiteX5" fmla="*/ 175034 w 832919"/>
                <a:gd name="connsiteY5" fmla="*/ 672974 h 872150"/>
                <a:gd name="connsiteX6" fmla="*/ 184087 w 832919"/>
                <a:gd name="connsiteY6" fmla="*/ 688063 h 872150"/>
                <a:gd name="connsiteX7" fmla="*/ 178051 w 832919"/>
                <a:gd name="connsiteY7" fmla="*/ 733330 h 872150"/>
                <a:gd name="connsiteX8" fmla="*/ 187105 w 832919"/>
                <a:gd name="connsiteY8" fmla="*/ 781615 h 872150"/>
                <a:gd name="connsiteX9" fmla="*/ 172655 w 832919"/>
                <a:gd name="connsiteY9" fmla="*/ 848965 h 872150"/>
                <a:gd name="connsiteX10" fmla="*/ 259533 w 832919"/>
                <a:gd name="connsiteY10" fmla="*/ 872150 h 872150"/>
                <a:gd name="connsiteX11" fmla="*/ 383263 w 832919"/>
                <a:gd name="connsiteY11" fmla="*/ 863097 h 872150"/>
                <a:gd name="connsiteX12" fmla="*/ 652953 w 832919"/>
                <a:gd name="connsiteY12" fmla="*/ 841180 h 872150"/>
                <a:gd name="connsiteX13" fmla="*/ 700135 w 832919"/>
                <a:gd name="connsiteY13" fmla="*/ 851025 h 872150"/>
                <a:gd name="connsiteX14" fmla="*/ 706170 w 832919"/>
                <a:gd name="connsiteY14" fmla="*/ 772562 h 872150"/>
                <a:gd name="connsiteX15" fmla="*/ 724277 w 832919"/>
                <a:gd name="connsiteY15" fmla="*/ 751437 h 872150"/>
                <a:gd name="connsiteX16" fmla="*/ 764958 w 832919"/>
                <a:gd name="connsiteY16" fmla="*/ 776057 h 872150"/>
                <a:gd name="connsiteX17" fmla="*/ 805758 w 832919"/>
                <a:gd name="connsiteY17" fmla="*/ 757473 h 872150"/>
                <a:gd name="connsiteX18" fmla="*/ 784634 w 832919"/>
                <a:gd name="connsiteY18" fmla="*/ 651849 h 872150"/>
                <a:gd name="connsiteX19" fmla="*/ 796705 w 832919"/>
                <a:gd name="connsiteY19" fmla="*/ 642796 h 872150"/>
                <a:gd name="connsiteX20" fmla="*/ 796705 w 832919"/>
                <a:gd name="connsiteY20" fmla="*/ 585457 h 872150"/>
                <a:gd name="connsiteX21" fmla="*/ 817830 w 832919"/>
                <a:gd name="connsiteY21" fmla="*/ 519065 h 872150"/>
                <a:gd name="connsiteX22" fmla="*/ 832919 w 832919"/>
                <a:gd name="connsiteY22" fmla="*/ 464744 h 872150"/>
                <a:gd name="connsiteX23" fmla="*/ 805758 w 832919"/>
                <a:gd name="connsiteY23" fmla="*/ 461726 h 872150"/>
                <a:gd name="connsiteX24" fmla="*/ 793687 w 832919"/>
                <a:gd name="connsiteY24" fmla="*/ 431548 h 872150"/>
                <a:gd name="connsiteX25" fmla="*/ 724277 w 832919"/>
                <a:gd name="connsiteY25" fmla="*/ 359120 h 872150"/>
                <a:gd name="connsiteX26" fmla="*/ 712206 w 832919"/>
                <a:gd name="connsiteY26" fmla="*/ 307817 h 872150"/>
                <a:gd name="connsiteX27" fmla="*/ 636760 w 832919"/>
                <a:gd name="connsiteY27" fmla="*/ 271604 h 872150"/>
                <a:gd name="connsiteX28" fmla="*/ 564333 w 832919"/>
                <a:gd name="connsiteY28" fmla="*/ 196158 h 872150"/>
                <a:gd name="connsiteX29" fmla="*/ 531137 w 832919"/>
                <a:gd name="connsiteY29" fmla="*/ 175033 h 872150"/>
                <a:gd name="connsiteX30" fmla="*/ 488887 w 832919"/>
                <a:gd name="connsiteY30" fmla="*/ 156926 h 872150"/>
                <a:gd name="connsiteX31" fmla="*/ 470780 w 832919"/>
                <a:gd name="connsiteY31" fmla="*/ 150891 h 872150"/>
                <a:gd name="connsiteX32" fmla="*/ 434566 w 832919"/>
                <a:gd name="connsiteY32" fmla="*/ 99588 h 872150"/>
                <a:gd name="connsiteX33" fmla="*/ 377228 w 832919"/>
                <a:gd name="connsiteY33" fmla="*/ 63374 h 872150"/>
                <a:gd name="connsiteX34" fmla="*/ 371192 w 832919"/>
                <a:gd name="connsiteY34" fmla="*/ 36213 h 872150"/>
                <a:gd name="connsiteX35" fmla="*/ 371192 w 832919"/>
                <a:gd name="connsiteY35" fmla="*/ 0 h 872150"/>
                <a:gd name="connsiteX36" fmla="*/ 205212 w 832919"/>
                <a:gd name="connsiteY36" fmla="*/ 45267 h 872150"/>
                <a:gd name="connsiteX37" fmla="*/ 0 w 832919"/>
                <a:gd name="connsiteY37" fmla="*/ 87516 h 872150"/>
                <a:gd name="connsiteX0" fmla="*/ 0 w 825779"/>
                <a:gd name="connsiteY0" fmla="*/ 87516 h 872150"/>
                <a:gd name="connsiteX1" fmla="*/ 69410 w 825779"/>
                <a:gd name="connsiteY1" fmla="*/ 262550 h 872150"/>
                <a:gd name="connsiteX2" fmla="*/ 141838 w 825779"/>
                <a:gd name="connsiteY2" fmla="*/ 510011 h 872150"/>
                <a:gd name="connsiteX3" fmla="*/ 187105 w 825779"/>
                <a:gd name="connsiteY3" fmla="*/ 576404 h 872150"/>
                <a:gd name="connsiteX4" fmla="*/ 165980 w 825779"/>
                <a:gd name="connsiteY4" fmla="*/ 618653 h 872150"/>
                <a:gd name="connsiteX5" fmla="*/ 175034 w 825779"/>
                <a:gd name="connsiteY5" fmla="*/ 672974 h 872150"/>
                <a:gd name="connsiteX6" fmla="*/ 184087 w 825779"/>
                <a:gd name="connsiteY6" fmla="*/ 688063 h 872150"/>
                <a:gd name="connsiteX7" fmla="*/ 178051 w 825779"/>
                <a:gd name="connsiteY7" fmla="*/ 733330 h 872150"/>
                <a:gd name="connsiteX8" fmla="*/ 187105 w 825779"/>
                <a:gd name="connsiteY8" fmla="*/ 781615 h 872150"/>
                <a:gd name="connsiteX9" fmla="*/ 172655 w 825779"/>
                <a:gd name="connsiteY9" fmla="*/ 848965 h 872150"/>
                <a:gd name="connsiteX10" fmla="*/ 259533 w 825779"/>
                <a:gd name="connsiteY10" fmla="*/ 872150 h 872150"/>
                <a:gd name="connsiteX11" fmla="*/ 383263 w 825779"/>
                <a:gd name="connsiteY11" fmla="*/ 863097 h 872150"/>
                <a:gd name="connsiteX12" fmla="*/ 652953 w 825779"/>
                <a:gd name="connsiteY12" fmla="*/ 841180 h 872150"/>
                <a:gd name="connsiteX13" fmla="*/ 700135 w 825779"/>
                <a:gd name="connsiteY13" fmla="*/ 851025 h 872150"/>
                <a:gd name="connsiteX14" fmla="*/ 706170 w 825779"/>
                <a:gd name="connsiteY14" fmla="*/ 772562 h 872150"/>
                <a:gd name="connsiteX15" fmla="*/ 724277 w 825779"/>
                <a:gd name="connsiteY15" fmla="*/ 751437 h 872150"/>
                <a:gd name="connsiteX16" fmla="*/ 764958 w 825779"/>
                <a:gd name="connsiteY16" fmla="*/ 776057 h 872150"/>
                <a:gd name="connsiteX17" fmla="*/ 805758 w 825779"/>
                <a:gd name="connsiteY17" fmla="*/ 757473 h 872150"/>
                <a:gd name="connsiteX18" fmla="*/ 784634 w 825779"/>
                <a:gd name="connsiteY18" fmla="*/ 651849 h 872150"/>
                <a:gd name="connsiteX19" fmla="*/ 796705 w 825779"/>
                <a:gd name="connsiteY19" fmla="*/ 642796 h 872150"/>
                <a:gd name="connsiteX20" fmla="*/ 796705 w 825779"/>
                <a:gd name="connsiteY20" fmla="*/ 585457 h 872150"/>
                <a:gd name="connsiteX21" fmla="*/ 817830 w 825779"/>
                <a:gd name="connsiteY21" fmla="*/ 519065 h 872150"/>
                <a:gd name="connsiteX22" fmla="*/ 825779 w 825779"/>
                <a:gd name="connsiteY22" fmla="*/ 469510 h 872150"/>
                <a:gd name="connsiteX23" fmla="*/ 805758 w 825779"/>
                <a:gd name="connsiteY23" fmla="*/ 461726 h 872150"/>
                <a:gd name="connsiteX24" fmla="*/ 793687 w 825779"/>
                <a:gd name="connsiteY24" fmla="*/ 431548 h 872150"/>
                <a:gd name="connsiteX25" fmla="*/ 724277 w 825779"/>
                <a:gd name="connsiteY25" fmla="*/ 359120 h 872150"/>
                <a:gd name="connsiteX26" fmla="*/ 712206 w 825779"/>
                <a:gd name="connsiteY26" fmla="*/ 307817 h 872150"/>
                <a:gd name="connsiteX27" fmla="*/ 636760 w 825779"/>
                <a:gd name="connsiteY27" fmla="*/ 271604 h 872150"/>
                <a:gd name="connsiteX28" fmla="*/ 564333 w 825779"/>
                <a:gd name="connsiteY28" fmla="*/ 196158 h 872150"/>
                <a:gd name="connsiteX29" fmla="*/ 531137 w 825779"/>
                <a:gd name="connsiteY29" fmla="*/ 175033 h 872150"/>
                <a:gd name="connsiteX30" fmla="*/ 488887 w 825779"/>
                <a:gd name="connsiteY30" fmla="*/ 156926 h 872150"/>
                <a:gd name="connsiteX31" fmla="*/ 470780 w 825779"/>
                <a:gd name="connsiteY31" fmla="*/ 150891 h 872150"/>
                <a:gd name="connsiteX32" fmla="*/ 434566 w 825779"/>
                <a:gd name="connsiteY32" fmla="*/ 99588 h 872150"/>
                <a:gd name="connsiteX33" fmla="*/ 377228 w 825779"/>
                <a:gd name="connsiteY33" fmla="*/ 63374 h 872150"/>
                <a:gd name="connsiteX34" fmla="*/ 371192 w 825779"/>
                <a:gd name="connsiteY34" fmla="*/ 36213 h 872150"/>
                <a:gd name="connsiteX35" fmla="*/ 371192 w 825779"/>
                <a:gd name="connsiteY35" fmla="*/ 0 h 872150"/>
                <a:gd name="connsiteX36" fmla="*/ 205212 w 825779"/>
                <a:gd name="connsiteY36" fmla="*/ 45267 h 872150"/>
                <a:gd name="connsiteX37" fmla="*/ 0 w 825779"/>
                <a:gd name="connsiteY37" fmla="*/ 87516 h 872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825779" h="872150">
                  <a:moveTo>
                    <a:pt x="0" y="87516"/>
                  </a:moveTo>
                  <a:lnTo>
                    <a:pt x="69410" y="262550"/>
                  </a:lnTo>
                  <a:lnTo>
                    <a:pt x="141838" y="510011"/>
                  </a:lnTo>
                  <a:lnTo>
                    <a:pt x="187105" y="576404"/>
                  </a:lnTo>
                  <a:lnTo>
                    <a:pt x="165980" y="618653"/>
                  </a:lnTo>
                  <a:lnTo>
                    <a:pt x="175034" y="672974"/>
                  </a:lnTo>
                  <a:lnTo>
                    <a:pt x="184087" y="688063"/>
                  </a:lnTo>
                  <a:lnTo>
                    <a:pt x="178051" y="733330"/>
                  </a:lnTo>
                  <a:lnTo>
                    <a:pt x="187105" y="781615"/>
                  </a:lnTo>
                  <a:lnTo>
                    <a:pt x="172655" y="848965"/>
                  </a:lnTo>
                  <a:lnTo>
                    <a:pt x="259533" y="872150"/>
                  </a:lnTo>
                  <a:lnTo>
                    <a:pt x="383263" y="863097"/>
                  </a:lnTo>
                  <a:lnTo>
                    <a:pt x="652953" y="841180"/>
                  </a:lnTo>
                  <a:lnTo>
                    <a:pt x="700135" y="851025"/>
                  </a:lnTo>
                  <a:lnTo>
                    <a:pt x="706170" y="772562"/>
                  </a:lnTo>
                  <a:lnTo>
                    <a:pt x="724277" y="751437"/>
                  </a:lnTo>
                  <a:lnTo>
                    <a:pt x="764958" y="776057"/>
                  </a:lnTo>
                  <a:lnTo>
                    <a:pt x="805758" y="757473"/>
                  </a:lnTo>
                  <a:lnTo>
                    <a:pt x="784634" y="651849"/>
                  </a:lnTo>
                  <a:lnTo>
                    <a:pt x="796705" y="642796"/>
                  </a:lnTo>
                  <a:lnTo>
                    <a:pt x="796705" y="585457"/>
                  </a:lnTo>
                  <a:lnTo>
                    <a:pt x="817830" y="519065"/>
                  </a:lnTo>
                  <a:lnTo>
                    <a:pt x="825779" y="469510"/>
                  </a:lnTo>
                  <a:lnTo>
                    <a:pt x="805758" y="461726"/>
                  </a:lnTo>
                  <a:lnTo>
                    <a:pt x="793687" y="431548"/>
                  </a:lnTo>
                  <a:lnTo>
                    <a:pt x="724277" y="359120"/>
                  </a:lnTo>
                  <a:lnTo>
                    <a:pt x="712206" y="307817"/>
                  </a:lnTo>
                  <a:lnTo>
                    <a:pt x="636760" y="271604"/>
                  </a:lnTo>
                  <a:lnTo>
                    <a:pt x="564333" y="196158"/>
                  </a:lnTo>
                  <a:lnTo>
                    <a:pt x="531137" y="175033"/>
                  </a:lnTo>
                  <a:lnTo>
                    <a:pt x="488887" y="156926"/>
                  </a:lnTo>
                  <a:lnTo>
                    <a:pt x="470780" y="150891"/>
                  </a:lnTo>
                  <a:lnTo>
                    <a:pt x="434566" y="99588"/>
                  </a:lnTo>
                  <a:lnTo>
                    <a:pt x="377228" y="63374"/>
                  </a:lnTo>
                  <a:lnTo>
                    <a:pt x="371192" y="36213"/>
                  </a:lnTo>
                  <a:lnTo>
                    <a:pt x="371192" y="0"/>
                  </a:lnTo>
                  <a:lnTo>
                    <a:pt x="205212" y="45267"/>
                  </a:lnTo>
                  <a:lnTo>
                    <a:pt x="0" y="8751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4" name="Freeform 113"/>
            <p:cNvSpPr/>
            <p:nvPr/>
          </p:nvSpPr>
          <p:spPr>
            <a:xfrm>
              <a:off x="4422292" y="3504616"/>
              <a:ext cx="479009" cy="344777"/>
            </a:xfrm>
            <a:custGeom>
              <a:avLst/>
              <a:gdLst>
                <a:gd name="connsiteX0" fmla="*/ 0 w 760491"/>
                <a:gd name="connsiteY0" fmla="*/ 111659 h 585457"/>
                <a:gd name="connsiteX1" fmla="*/ 9054 w 760491"/>
                <a:gd name="connsiteY1" fmla="*/ 184087 h 585457"/>
                <a:gd name="connsiteX2" fmla="*/ 57339 w 760491"/>
                <a:gd name="connsiteY2" fmla="*/ 217283 h 585457"/>
                <a:gd name="connsiteX3" fmla="*/ 99588 w 760491"/>
                <a:gd name="connsiteY3" fmla="*/ 277639 h 585457"/>
                <a:gd name="connsiteX4" fmla="*/ 190123 w 760491"/>
                <a:gd name="connsiteY4" fmla="*/ 307817 h 585457"/>
                <a:gd name="connsiteX5" fmla="*/ 262551 w 760491"/>
                <a:gd name="connsiteY5" fmla="*/ 395334 h 585457"/>
                <a:gd name="connsiteX6" fmla="*/ 344032 w 760491"/>
                <a:gd name="connsiteY6" fmla="*/ 422495 h 585457"/>
                <a:gd name="connsiteX7" fmla="*/ 359121 w 760491"/>
                <a:gd name="connsiteY7" fmla="*/ 491904 h 585457"/>
                <a:gd name="connsiteX8" fmla="*/ 434566 w 760491"/>
                <a:gd name="connsiteY8" fmla="*/ 576403 h 585457"/>
                <a:gd name="connsiteX9" fmla="*/ 455691 w 760491"/>
                <a:gd name="connsiteY9" fmla="*/ 585457 h 585457"/>
                <a:gd name="connsiteX10" fmla="*/ 473798 w 760491"/>
                <a:gd name="connsiteY10" fmla="*/ 540190 h 585457"/>
                <a:gd name="connsiteX11" fmla="*/ 470780 w 760491"/>
                <a:gd name="connsiteY11" fmla="*/ 500958 h 585457"/>
                <a:gd name="connsiteX12" fmla="*/ 500958 w 760491"/>
                <a:gd name="connsiteY12" fmla="*/ 513029 h 585457"/>
                <a:gd name="connsiteX13" fmla="*/ 510012 w 760491"/>
                <a:gd name="connsiteY13" fmla="*/ 473798 h 585457"/>
                <a:gd name="connsiteX14" fmla="*/ 546226 w 760491"/>
                <a:gd name="connsiteY14" fmla="*/ 470780 h 585457"/>
                <a:gd name="connsiteX15" fmla="*/ 594511 w 760491"/>
                <a:gd name="connsiteY15" fmla="*/ 425512 h 585457"/>
                <a:gd name="connsiteX16" fmla="*/ 609600 w 760491"/>
                <a:gd name="connsiteY16" fmla="*/ 374209 h 585457"/>
                <a:gd name="connsiteX17" fmla="*/ 639778 w 760491"/>
                <a:gd name="connsiteY17" fmla="*/ 362138 h 585457"/>
                <a:gd name="connsiteX18" fmla="*/ 651850 w 760491"/>
                <a:gd name="connsiteY18" fmla="*/ 331960 h 585457"/>
                <a:gd name="connsiteX19" fmla="*/ 672974 w 760491"/>
                <a:gd name="connsiteY19" fmla="*/ 271603 h 585457"/>
                <a:gd name="connsiteX20" fmla="*/ 709188 w 760491"/>
                <a:gd name="connsiteY20" fmla="*/ 256514 h 585457"/>
                <a:gd name="connsiteX21" fmla="*/ 733331 w 760491"/>
                <a:gd name="connsiteY21" fmla="*/ 193140 h 585457"/>
                <a:gd name="connsiteX22" fmla="*/ 760491 w 760491"/>
                <a:gd name="connsiteY22" fmla="*/ 135801 h 585457"/>
                <a:gd name="connsiteX23" fmla="*/ 564333 w 760491"/>
                <a:gd name="connsiteY23" fmla="*/ 0 h 585457"/>
                <a:gd name="connsiteX24" fmla="*/ 416459 w 760491"/>
                <a:gd name="connsiteY24" fmla="*/ 45267 h 585457"/>
                <a:gd name="connsiteX25" fmla="*/ 386281 w 760491"/>
                <a:gd name="connsiteY25" fmla="*/ 51302 h 585457"/>
                <a:gd name="connsiteX26" fmla="*/ 377228 w 760491"/>
                <a:gd name="connsiteY26" fmla="*/ 48285 h 585457"/>
                <a:gd name="connsiteX27" fmla="*/ 347050 w 760491"/>
                <a:gd name="connsiteY27" fmla="*/ 24142 h 585457"/>
                <a:gd name="connsiteX28" fmla="*/ 322907 w 760491"/>
                <a:gd name="connsiteY28" fmla="*/ 12071 h 585457"/>
                <a:gd name="connsiteX29" fmla="*/ 280657 w 760491"/>
                <a:gd name="connsiteY29" fmla="*/ 18106 h 585457"/>
                <a:gd name="connsiteX30" fmla="*/ 229354 w 760491"/>
                <a:gd name="connsiteY30" fmla="*/ 27160 h 585457"/>
                <a:gd name="connsiteX31" fmla="*/ 187105 w 760491"/>
                <a:gd name="connsiteY31" fmla="*/ 27160 h 585457"/>
                <a:gd name="connsiteX32" fmla="*/ 147873 w 760491"/>
                <a:gd name="connsiteY32" fmla="*/ 45267 h 585457"/>
                <a:gd name="connsiteX33" fmla="*/ 0 w 760491"/>
                <a:gd name="connsiteY33" fmla="*/ 111659 h 585457"/>
                <a:gd name="connsiteX0" fmla="*/ 0 w 760491"/>
                <a:gd name="connsiteY0" fmla="*/ 111659 h 585457"/>
                <a:gd name="connsiteX1" fmla="*/ 1909 w 760491"/>
                <a:gd name="connsiteY1" fmla="*/ 184087 h 585457"/>
                <a:gd name="connsiteX2" fmla="*/ 57339 w 760491"/>
                <a:gd name="connsiteY2" fmla="*/ 217283 h 585457"/>
                <a:gd name="connsiteX3" fmla="*/ 99588 w 760491"/>
                <a:gd name="connsiteY3" fmla="*/ 277639 h 585457"/>
                <a:gd name="connsiteX4" fmla="*/ 190123 w 760491"/>
                <a:gd name="connsiteY4" fmla="*/ 307817 h 585457"/>
                <a:gd name="connsiteX5" fmla="*/ 262551 w 760491"/>
                <a:gd name="connsiteY5" fmla="*/ 395334 h 585457"/>
                <a:gd name="connsiteX6" fmla="*/ 344032 w 760491"/>
                <a:gd name="connsiteY6" fmla="*/ 422495 h 585457"/>
                <a:gd name="connsiteX7" fmla="*/ 359121 w 760491"/>
                <a:gd name="connsiteY7" fmla="*/ 491904 h 585457"/>
                <a:gd name="connsiteX8" fmla="*/ 434566 w 760491"/>
                <a:gd name="connsiteY8" fmla="*/ 576403 h 585457"/>
                <a:gd name="connsiteX9" fmla="*/ 455691 w 760491"/>
                <a:gd name="connsiteY9" fmla="*/ 585457 h 585457"/>
                <a:gd name="connsiteX10" fmla="*/ 473798 w 760491"/>
                <a:gd name="connsiteY10" fmla="*/ 540190 h 585457"/>
                <a:gd name="connsiteX11" fmla="*/ 470780 w 760491"/>
                <a:gd name="connsiteY11" fmla="*/ 500958 h 585457"/>
                <a:gd name="connsiteX12" fmla="*/ 500958 w 760491"/>
                <a:gd name="connsiteY12" fmla="*/ 513029 h 585457"/>
                <a:gd name="connsiteX13" fmla="*/ 510012 w 760491"/>
                <a:gd name="connsiteY13" fmla="*/ 473798 h 585457"/>
                <a:gd name="connsiteX14" fmla="*/ 546226 w 760491"/>
                <a:gd name="connsiteY14" fmla="*/ 470780 h 585457"/>
                <a:gd name="connsiteX15" fmla="*/ 594511 w 760491"/>
                <a:gd name="connsiteY15" fmla="*/ 425512 h 585457"/>
                <a:gd name="connsiteX16" fmla="*/ 609600 w 760491"/>
                <a:gd name="connsiteY16" fmla="*/ 374209 h 585457"/>
                <a:gd name="connsiteX17" fmla="*/ 639778 w 760491"/>
                <a:gd name="connsiteY17" fmla="*/ 362138 h 585457"/>
                <a:gd name="connsiteX18" fmla="*/ 651850 w 760491"/>
                <a:gd name="connsiteY18" fmla="*/ 331960 h 585457"/>
                <a:gd name="connsiteX19" fmla="*/ 672974 w 760491"/>
                <a:gd name="connsiteY19" fmla="*/ 271603 h 585457"/>
                <a:gd name="connsiteX20" fmla="*/ 709188 w 760491"/>
                <a:gd name="connsiteY20" fmla="*/ 256514 h 585457"/>
                <a:gd name="connsiteX21" fmla="*/ 733331 w 760491"/>
                <a:gd name="connsiteY21" fmla="*/ 193140 h 585457"/>
                <a:gd name="connsiteX22" fmla="*/ 760491 w 760491"/>
                <a:gd name="connsiteY22" fmla="*/ 135801 h 585457"/>
                <a:gd name="connsiteX23" fmla="*/ 564333 w 760491"/>
                <a:gd name="connsiteY23" fmla="*/ 0 h 585457"/>
                <a:gd name="connsiteX24" fmla="*/ 416459 w 760491"/>
                <a:gd name="connsiteY24" fmla="*/ 45267 h 585457"/>
                <a:gd name="connsiteX25" fmla="*/ 386281 w 760491"/>
                <a:gd name="connsiteY25" fmla="*/ 51302 h 585457"/>
                <a:gd name="connsiteX26" fmla="*/ 377228 w 760491"/>
                <a:gd name="connsiteY26" fmla="*/ 48285 h 585457"/>
                <a:gd name="connsiteX27" fmla="*/ 347050 w 760491"/>
                <a:gd name="connsiteY27" fmla="*/ 24142 h 585457"/>
                <a:gd name="connsiteX28" fmla="*/ 322907 w 760491"/>
                <a:gd name="connsiteY28" fmla="*/ 12071 h 585457"/>
                <a:gd name="connsiteX29" fmla="*/ 280657 w 760491"/>
                <a:gd name="connsiteY29" fmla="*/ 18106 h 585457"/>
                <a:gd name="connsiteX30" fmla="*/ 229354 w 760491"/>
                <a:gd name="connsiteY30" fmla="*/ 27160 h 585457"/>
                <a:gd name="connsiteX31" fmla="*/ 187105 w 760491"/>
                <a:gd name="connsiteY31" fmla="*/ 27160 h 585457"/>
                <a:gd name="connsiteX32" fmla="*/ 147873 w 760491"/>
                <a:gd name="connsiteY32" fmla="*/ 45267 h 585457"/>
                <a:gd name="connsiteX33" fmla="*/ 0 w 760491"/>
                <a:gd name="connsiteY33" fmla="*/ 111659 h 585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60491" h="585457">
                  <a:moveTo>
                    <a:pt x="0" y="111659"/>
                  </a:moveTo>
                  <a:cubicBezTo>
                    <a:pt x="636" y="135802"/>
                    <a:pt x="1273" y="159944"/>
                    <a:pt x="1909" y="184087"/>
                  </a:cubicBezTo>
                  <a:lnTo>
                    <a:pt x="57339" y="217283"/>
                  </a:lnTo>
                  <a:lnTo>
                    <a:pt x="99588" y="277639"/>
                  </a:lnTo>
                  <a:lnTo>
                    <a:pt x="190123" y="307817"/>
                  </a:lnTo>
                  <a:lnTo>
                    <a:pt x="262551" y="395334"/>
                  </a:lnTo>
                  <a:lnTo>
                    <a:pt x="344032" y="422495"/>
                  </a:lnTo>
                  <a:lnTo>
                    <a:pt x="359121" y="491904"/>
                  </a:lnTo>
                  <a:lnTo>
                    <a:pt x="434566" y="576403"/>
                  </a:lnTo>
                  <a:lnTo>
                    <a:pt x="455691" y="585457"/>
                  </a:lnTo>
                  <a:lnTo>
                    <a:pt x="473798" y="540190"/>
                  </a:lnTo>
                  <a:lnTo>
                    <a:pt x="470780" y="500958"/>
                  </a:lnTo>
                  <a:lnTo>
                    <a:pt x="500958" y="513029"/>
                  </a:lnTo>
                  <a:lnTo>
                    <a:pt x="510012" y="473798"/>
                  </a:lnTo>
                  <a:lnTo>
                    <a:pt x="546226" y="470780"/>
                  </a:lnTo>
                  <a:lnTo>
                    <a:pt x="594511" y="425512"/>
                  </a:lnTo>
                  <a:lnTo>
                    <a:pt x="609600" y="374209"/>
                  </a:lnTo>
                  <a:lnTo>
                    <a:pt x="639778" y="362138"/>
                  </a:lnTo>
                  <a:lnTo>
                    <a:pt x="651850" y="331960"/>
                  </a:lnTo>
                  <a:lnTo>
                    <a:pt x="672974" y="271603"/>
                  </a:lnTo>
                  <a:lnTo>
                    <a:pt x="709188" y="256514"/>
                  </a:lnTo>
                  <a:lnTo>
                    <a:pt x="733331" y="193140"/>
                  </a:lnTo>
                  <a:lnTo>
                    <a:pt x="760491" y="135801"/>
                  </a:lnTo>
                  <a:lnTo>
                    <a:pt x="564333" y="0"/>
                  </a:lnTo>
                  <a:lnTo>
                    <a:pt x="416459" y="45267"/>
                  </a:lnTo>
                  <a:lnTo>
                    <a:pt x="386281" y="51302"/>
                  </a:lnTo>
                  <a:lnTo>
                    <a:pt x="377228" y="48285"/>
                  </a:lnTo>
                  <a:lnTo>
                    <a:pt x="347050" y="24142"/>
                  </a:lnTo>
                  <a:lnTo>
                    <a:pt x="322907" y="12071"/>
                  </a:lnTo>
                  <a:lnTo>
                    <a:pt x="280657" y="18106"/>
                  </a:lnTo>
                  <a:lnTo>
                    <a:pt x="229354" y="27160"/>
                  </a:lnTo>
                  <a:lnTo>
                    <a:pt x="187105" y="27160"/>
                  </a:lnTo>
                  <a:lnTo>
                    <a:pt x="147873" y="45267"/>
                  </a:lnTo>
                  <a:lnTo>
                    <a:pt x="0" y="111659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5" name="Freeform 114"/>
            <p:cNvSpPr/>
            <p:nvPr/>
          </p:nvSpPr>
          <p:spPr>
            <a:xfrm>
              <a:off x="3814281" y="3141100"/>
              <a:ext cx="650012" cy="361641"/>
            </a:xfrm>
            <a:custGeom>
              <a:avLst/>
              <a:gdLst>
                <a:gd name="connsiteX0" fmla="*/ 132784 w 1023042"/>
                <a:gd name="connsiteY0" fmla="*/ 350067 h 612618"/>
                <a:gd name="connsiteX1" fmla="*/ 141838 w 1023042"/>
                <a:gd name="connsiteY1" fmla="*/ 425513 h 612618"/>
                <a:gd name="connsiteX2" fmla="*/ 93553 w 1023042"/>
                <a:gd name="connsiteY2" fmla="*/ 452673 h 612618"/>
                <a:gd name="connsiteX3" fmla="*/ 90535 w 1023042"/>
                <a:gd name="connsiteY3" fmla="*/ 488887 h 612618"/>
                <a:gd name="connsiteX4" fmla="*/ 90535 w 1023042"/>
                <a:gd name="connsiteY4" fmla="*/ 503976 h 612618"/>
                <a:gd name="connsiteX5" fmla="*/ 0 w 1023042"/>
                <a:gd name="connsiteY5" fmla="*/ 482851 h 612618"/>
                <a:gd name="connsiteX6" fmla="*/ 0 w 1023042"/>
                <a:gd name="connsiteY6" fmla="*/ 570368 h 612618"/>
                <a:gd name="connsiteX7" fmla="*/ 15089 w 1023042"/>
                <a:gd name="connsiteY7" fmla="*/ 612618 h 612618"/>
                <a:gd name="connsiteX8" fmla="*/ 75446 w 1023042"/>
                <a:gd name="connsiteY8" fmla="*/ 609600 h 612618"/>
                <a:gd name="connsiteX9" fmla="*/ 135802 w 1023042"/>
                <a:gd name="connsiteY9" fmla="*/ 597529 h 612618"/>
                <a:gd name="connsiteX10" fmla="*/ 208230 w 1023042"/>
                <a:gd name="connsiteY10" fmla="*/ 564333 h 612618"/>
                <a:gd name="connsiteX11" fmla="*/ 310836 w 1023042"/>
                <a:gd name="connsiteY11" fmla="*/ 549243 h 612618"/>
                <a:gd name="connsiteX12" fmla="*/ 449656 w 1023042"/>
                <a:gd name="connsiteY12" fmla="*/ 522083 h 612618"/>
                <a:gd name="connsiteX13" fmla="*/ 624689 w 1023042"/>
                <a:gd name="connsiteY13" fmla="*/ 488887 h 612618"/>
                <a:gd name="connsiteX14" fmla="*/ 781616 w 1023042"/>
                <a:gd name="connsiteY14" fmla="*/ 464744 h 612618"/>
                <a:gd name="connsiteX15" fmla="*/ 841972 w 1023042"/>
                <a:gd name="connsiteY15" fmla="*/ 446637 h 612618"/>
                <a:gd name="connsiteX16" fmla="*/ 881204 w 1023042"/>
                <a:gd name="connsiteY16" fmla="*/ 404388 h 612618"/>
                <a:gd name="connsiteX17" fmla="*/ 941560 w 1023042"/>
                <a:gd name="connsiteY17" fmla="*/ 356103 h 612618"/>
                <a:gd name="connsiteX18" fmla="*/ 962685 w 1023042"/>
                <a:gd name="connsiteY18" fmla="*/ 301782 h 612618"/>
                <a:gd name="connsiteX19" fmla="*/ 989846 w 1023042"/>
                <a:gd name="connsiteY19" fmla="*/ 274622 h 612618"/>
                <a:gd name="connsiteX20" fmla="*/ 1023042 w 1023042"/>
                <a:gd name="connsiteY20" fmla="*/ 241426 h 612618"/>
                <a:gd name="connsiteX21" fmla="*/ 1010970 w 1023042"/>
                <a:gd name="connsiteY21" fmla="*/ 190123 h 612618"/>
                <a:gd name="connsiteX22" fmla="*/ 959667 w 1023042"/>
                <a:gd name="connsiteY22" fmla="*/ 156927 h 612618"/>
                <a:gd name="connsiteX23" fmla="*/ 932507 w 1023042"/>
                <a:gd name="connsiteY23" fmla="*/ 57338 h 612618"/>
                <a:gd name="connsiteX24" fmla="*/ 917418 w 1023042"/>
                <a:gd name="connsiteY24" fmla="*/ 54321 h 612618"/>
                <a:gd name="connsiteX25" fmla="*/ 899311 w 1023042"/>
                <a:gd name="connsiteY25" fmla="*/ 33196 h 612618"/>
                <a:gd name="connsiteX26" fmla="*/ 878186 w 1023042"/>
                <a:gd name="connsiteY26" fmla="*/ 27160 h 612618"/>
                <a:gd name="connsiteX27" fmla="*/ 860079 w 1023042"/>
                <a:gd name="connsiteY27" fmla="*/ 0 h 612618"/>
                <a:gd name="connsiteX28" fmla="*/ 817830 w 1023042"/>
                <a:gd name="connsiteY28" fmla="*/ 21125 h 612618"/>
                <a:gd name="connsiteX29" fmla="*/ 754456 w 1023042"/>
                <a:gd name="connsiteY29" fmla="*/ 30178 h 612618"/>
                <a:gd name="connsiteX30" fmla="*/ 715224 w 1023042"/>
                <a:gd name="connsiteY30" fmla="*/ 30178 h 612618"/>
                <a:gd name="connsiteX31" fmla="*/ 654867 w 1023042"/>
                <a:gd name="connsiteY31" fmla="*/ 36214 h 612618"/>
                <a:gd name="connsiteX32" fmla="*/ 618654 w 1023042"/>
                <a:gd name="connsiteY32" fmla="*/ 18107 h 612618"/>
                <a:gd name="connsiteX33" fmla="*/ 582440 w 1023042"/>
                <a:gd name="connsiteY33" fmla="*/ 6036 h 612618"/>
                <a:gd name="connsiteX34" fmla="*/ 561315 w 1023042"/>
                <a:gd name="connsiteY34" fmla="*/ 27160 h 612618"/>
                <a:gd name="connsiteX35" fmla="*/ 588475 w 1023042"/>
                <a:gd name="connsiteY35" fmla="*/ 60356 h 612618"/>
                <a:gd name="connsiteX36" fmla="*/ 591493 w 1023042"/>
                <a:gd name="connsiteY36" fmla="*/ 84499 h 612618"/>
                <a:gd name="connsiteX37" fmla="*/ 546226 w 1023042"/>
                <a:gd name="connsiteY37" fmla="*/ 96570 h 612618"/>
                <a:gd name="connsiteX38" fmla="*/ 513030 w 1023042"/>
                <a:gd name="connsiteY38" fmla="*/ 108641 h 612618"/>
                <a:gd name="connsiteX39" fmla="*/ 473798 w 1023042"/>
                <a:gd name="connsiteY39" fmla="*/ 117695 h 612618"/>
                <a:gd name="connsiteX40" fmla="*/ 473798 w 1023042"/>
                <a:gd name="connsiteY40" fmla="*/ 181069 h 612618"/>
                <a:gd name="connsiteX41" fmla="*/ 437584 w 1023042"/>
                <a:gd name="connsiteY41" fmla="*/ 214265 h 612618"/>
                <a:gd name="connsiteX42" fmla="*/ 416459 w 1023042"/>
                <a:gd name="connsiteY42" fmla="*/ 247461 h 612618"/>
                <a:gd name="connsiteX43" fmla="*/ 392317 w 1023042"/>
                <a:gd name="connsiteY43" fmla="*/ 259533 h 612618"/>
                <a:gd name="connsiteX44" fmla="*/ 365157 w 1023042"/>
                <a:gd name="connsiteY44" fmla="*/ 235390 h 612618"/>
                <a:gd name="connsiteX45" fmla="*/ 356103 w 1023042"/>
                <a:gd name="connsiteY45" fmla="*/ 253497 h 612618"/>
                <a:gd name="connsiteX46" fmla="*/ 356103 w 1023042"/>
                <a:gd name="connsiteY46" fmla="*/ 277639 h 612618"/>
                <a:gd name="connsiteX47" fmla="*/ 356103 w 1023042"/>
                <a:gd name="connsiteY47" fmla="*/ 298764 h 612618"/>
                <a:gd name="connsiteX48" fmla="*/ 334978 w 1023042"/>
                <a:gd name="connsiteY48" fmla="*/ 286693 h 612618"/>
                <a:gd name="connsiteX49" fmla="*/ 316871 w 1023042"/>
                <a:gd name="connsiteY49" fmla="*/ 283675 h 612618"/>
                <a:gd name="connsiteX50" fmla="*/ 277640 w 1023042"/>
                <a:gd name="connsiteY50" fmla="*/ 316871 h 612618"/>
                <a:gd name="connsiteX51" fmla="*/ 262551 w 1023042"/>
                <a:gd name="connsiteY51" fmla="*/ 328942 h 612618"/>
                <a:gd name="connsiteX52" fmla="*/ 229355 w 1023042"/>
                <a:gd name="connsiteY52" fmla="*/ 334978 h 612618"/>
                <a:gd name="connsiteX53" fmla="*/ 211248 w 1023042"/>
                <a:gd name="connsiteY53" fmla="*/ 316871 h 612618"/>
                <a:gd name="connsiteX54" fmla="*/ 196158 w 1023042"/>
                <a:gd name="connsiteY54" fmla="*/ 310836 h 612618"/>
                <a:gd name="connsiteX55" fmla="*/ 132784 w 1023042"/>
                <a:gd name="connsiteY55" fmla="*/ 350067 h 612618"/>
                <a:gd name="connsiteX0" fmla="*/ 132784 w 1023042"/>
                <a:gd name="connsiteY0" fmla="*/ 350067 h 612618"/>
                <a:gd name="connsiteX1" fmla="*/ 141838 w 1023042"/>
                <a:gd name="connsiteY1" fmla="*/ 425513 h 612618"/>
                <a:gd name="connsiteX2" fmla="*/ 93553 w 1023042"/>
                <a:gd name="connsiteY2" fmla="*/ 452673 h 612618"/>
                <a:gd name="connsiteX3" fmla="*/ 90535 w 1023042"/>
                <a:gd name="connsiteY3" fmla="*/ 488887 h 612618"/>
                <a:gd name="connsiteX4" fmla="*/ 90535 w 1023042"/>
                <a:gd name="connsiteY4" fmla="*/ 503976 h 612618"/>
                <a:gd name="connsiteX5" fmla="*/ 0 w 1023042"/>
                <a:gd name="connsiteY5" fmla="*/ 482851 h 612618"/>
                <a:gd name="connsiteX6" fmla="*/ 0 w 1023042"/>
                <a:gd name="connsiteY6" fmla="*/ 570368 h 612618"/>
                <a:gd name="connsiteX7" fmla="*/ 15089 w 1023042"/>
                <a:gd name="connsiteY7" fmla="*/ 612618 h 612618"/>
                <a:gd name="connsiteX8" fmla="*/ 75446 w 1023042"/>
                <a:gd name="connsiteY8" fmla="*/ 609600 h 612618"/>
                <a:gd name="connsiteX9" fmla="*/ 135802 w 1023042"/>
                <a:gd name="connsiteY9" fmla="*/ 597529 h 612618"/>
                <a:gd name="connsiteX10" fmla="*/ 208230 w 1023042"/>
                <a:gd name="connsiteY10" fmla="*/ 564333 h 612618"/>
                <a:gd name="connsiteX11" fmla="*/ 310836 w 1023042"/>
                <a:gd name="connsiteY11" fmla="*/ 549243 h 612618"/>
                <a:gd name="connsiteX12" fmla="*/ 449656 w 1023042"/>
                <a:gd name="connsiteY12" fmla="*/ 522083 h 612618"/>
                <a:gd name="connsiteX13" fmla="*/ 624689 w 1023042"/>
                <a:gd name="connsiteY13" fmla="*/ 488887 h 612618"/>
                <a:gd name="connsiteX14" fmla="*/ 781616 w 1023042"/>
                <a:gd name="connsiteY14" fmla="*/ 464744 h 612618"/>
                <a:gd name="connsiteX15" fmla="*/ 841972 w 1023042"/>
                <a:gd name="connsiteY15" fmla="*/ 446637 h 612618"/>
                <a:gd name="connsiteX16" fmla="*/ 919330 w 1023042"/>
                <a:gd name="connsiteY16" fmla="*/ 406769 h 612618"/>
                <a:gd name="connsiteX17" fmla="*/ 941560 w 1023042"/>
                <a:gd name="connsiteY17" fmla="*/ 356103 h 612618"/>
                <a:gd name="connsiteX18" fmla="*/ 962685 w 1023042"/>
                <a:gd name="connsiteY18" fmla="*/ 301782 h 612618"/>
                <a:gd name="connsiteX19" fmla="*/ 989846 w 1023042"/>
                <a:gd name="connsiteY19" fmla="*/ 274622 h 612618"/>
                <a:gd name="connsiteX20" fmla="*/ 1023042 w 1023042"/>
                <a:gd name="connsiteY20" fmla="*/ 241426 h 612618"/>
                <a:gd name="connsiteX21" fmla="*/ 1010970 w 1023042"/>
                <a:gd name="connsiteY21" fmla="*/ 190123 h 612618"/>
                <a:gd name="connsiteX22" fmla="*/ 959667 w 1023042"/>
                <a:gd name="connsiteY22" fmla="*/ 156927 h 612618"/>
                <a:gd name="connsiteX23" fmla="*/ 932507 w 1023042"/>
                <a:gd name="connsiteY23" fmla="*/ 57338 h 612618"/>
                <a:gd name="connsiteX24" fmla="*/ 917418 w 1023042"/>
                <a:gd name="connsiteY24" fmla="*/ 54321 h 612618"/>
                <a:gd name="connsiteX25" fmla="*/ 899311 w 1023042"/>
                <a:gd name="connsiteY25" fmla="*/ 33196 h 612618"/>
                <a:gd name="connsiteX26" fmla="*/ 878186 w 1023042"/>
                <a:gd name="connsiteY26" fmla="*/ 27160 h 612618"/>
                <a:gd name="connsiteX27" fmla="*/ 860079 w 1023042"/>
                <a:gd name="connsiteY27" fmla="*/ 0 h 612618"/>
                <a:gd name="connsiteX28" fmla="*/ 817830 w 1023042"/>
                <a:gd name="connsiteY28" fmla="*/ 21125 h 612618"/>
                <a:gd name="connsiteX29" fmla="*/ 754456 w 1023042"/>
                <a:gd name="connsiteY29" fmla="*/ 30178 h 612618"/>
                <a:gd name="connsiteX30" fmla="*/ 715224 w 1023042"/>
                <a:gd name="connsiteY30" fmla="*/ 30178 h 612618"/>
                <a:gd name="connsiteX31" fmla="*/ 654867 w 1023042"/>
                <a:gd name="connsiteY31" fmla="*/ 36214 h 612618"/>
                <a:gd name="connsiteX32" fmla="*/ 618654 w 1023042"/>
                <a:gd name="connsiteY32" fmla="*/ 18107 h 612618"/>
                <a:gd name="connsiteX33" fmla="*/ 582440 w 1023042"/>
                <a:gd name="connsiteY33" fmla="*/ 6036 h 612618"/>
                <a:gd name="connsiteX34" fmla="*/ 561315 w 1023042"/>
                <a:gd name="connsiteY34" fmla="*/ 27160 h 612618"/>
                <a:gd name="connsiteX35" fmla="*/ 588475 w 1023042"/>
                <a:gd name="connsiteY35" fmla="*/ 60356 h 612618"/>
                <a:gd name="connsiteX36" fmla="*/ 591493 w 1023042"/>
                <a:gd name="connsiteY36" fmla="*/ 84499 h 612618"/>
                <a:gd name="connsiteX37" fmla="*/ 546226 w 1023042"/>
                <a:gd name="connsiteY37" fmla="*/ 96570 h 612618"/>
                <a:gd name="connsiteX38" fmla="*/ 513030 w 1023042"/>
                <a:gd name="connsiteY38" fmla="*/ 108641 h 612618"/>
                <a:gd name="connsiteX39" fmla="*/ 473798 w 1023042"/>
                <a:gd name="connsiteY39" fmla="*/ 117695 h 612618"/>
                <a:gd name="connsiteX40" fmla="*/ 473798 w 1023042"/>
                <a:gd name="connsiteY40" fmla="*/ 181069 h 612618"/>
                <a:gd name="connsiteX41" fmla="*/ 437584 w 1023042"/>
                <a:gd name="connsiteY41" fmla="*/ 214265 h 612618"/>
                <a:gd name="connsiteX42" fmla="*/ 416459 w 1023042"/>
                <a:gd name="connsiteY42" fmla="*/ 247461 h 612618"/>
                <a:gd name="connsiteX43" fmla="*/ 392317 w 1023042"/>
                <a:gd name="connsiteY43" fmla="*/ 259533 h 612618"/>
                <a:gd name="connsiteX44" fmla="*/ 365157 w 1023042"/>
                <a:gd name="connsiteY44" fmla="*/ 235390 h 612618"/>
                <a:gd name="connsiteX45" fmla="*/ 356103 w 1023042"/>
                <a:gd name="connsiteY45" fmla="*/ 253497 h 612618"/>
                <a:gd name="connsiteX46" fmla="*/ 356103 w 1023042"/>
                <a:gd name="connsiteY46" fmla="*/ 277639 h 612618"/>
                <a:gd name="connsiteX47" fmla="*/ 356103 w 1023042"/>
                <a:gd name="connsiteY47" fmla="*/ 298764 h 612618"/>
                <a:gd name="connsiteX48" fmla="*/ 334978 w 1023042"/>
                <a:gd name="connsiteY48" fmla="*/ 286693 h 612618"/>
                <a:gd name="connsiteX49" fmla="*/ 316871 w 1023042"/>
                <a:gd name="connsiteY49" fmla="*/ 283675 h 612618"/>
                <a:gd name="connsiteX50" fmla="*/ 277640 w 1023042"/>
                <a:gd name="connsiteY50" fmla="*/ 316871 h 612618"/>
                <a:gd name="connsiteX51" fmla="*/ 262551 w 1023042"/>
                <a:gd name="connsiteY51" fmla="*/ 328942 h 612618"/>
                <a:gd name="connsiteX52" fmla="*/ 229355 w 1023042"/>
                <a:gd name="connsiteY52" fmla="*/ 334978 h 612618"/>
                <a:gd name="connsiteX53" fmla="*/ 211248 w 1023042"/>
                <a:gd name="connsiteY53" fmla="*/ 316871 h 612618"/>
                <a:gd name="connsiteX54" fmla="*/ 196158 w 1023042"/>
                <a:gd name="connsiteY54" fmla="*/ 310836 h 612618"/>
                <a:gd name="connsiteX55" fmla="*/ 132784 w 1023042"/>
                <a:gd name="connsiteY55" fmla="*/ 350067 h 612618"/>
                <a:gd name="connsiteX0" fmla="*/ 132784 w 1023042"/>
                <a:gd name="connsiteY0" fmla="*/ 350067 h 612618"/>
                <a:gd name="connsiteX1" fmla="*/ 141838 w 1023042"/>
                <a:gd name="connsiteY1" fmla="*/ 425513 h 612618"/>
                <a:gd name="connsiteX2" fmla="*/ 93553 w 1023042"/>
                <a:gd name="connsiteY2" fmla="*/ 452673 h 612618"/>
                <a:gd name="connsiteX3" fmla="*/ 90535 w 1023042"/>
                <a:gd name="connsiteY3" fmla="*/ 488887 h 612618"/>
                <a:gd name="connsiteX4" fmla="*/ 90535 w 1023042"/>
                <a:gd name="connsiteY4" fmla="*/ 503976 h 612618"/>
                <a:gd name="connsiteX5" fmla="*/ 0 w 1023042"/>
                <a:gd name="connsiteY5" fmla="*/ 482851 h 612618"/>
                <a:gd name="connsiteX6" fmla="*/ 0 w 1023042"/>
                <a:gd name="connsiteY6" fmla="*/ 570368 h 612618"/>
                <a:gd name="connsiteX7" fmla="*/ 15089 w 1023042"/>
                <a:gd name="connsiteY7" fmla="*/ 612618 h 612618"/>
                <a:gd name="connsiteX8" fmla="*/ 75446 w 1023042"/>
                <a:gd name="connsiteY8" fmla="*/ 609600 h 612618"/>
                <a:gd name="connsiteX9" fmla="*/ 135802 w 1023042"/>
                <a:gd name="connsiteY9" fmla="*/ 597529 h 612618"/>
                <a:gd name="connsiteX10" fmla="*/ 208230 w 1023042"/>
                <a:gd name="connsiteY10" fmla="*/ 564333 h 612618"/>
                <a:gd name="connsiteX11" fmla="*/ 310836 w 1023042"/>
                <a:gd name="connsiteY11" fmla="*/ 549243 h 612618"/>
                <a:gd name="connsiteX12" fmla="*/ 449656 w 1023042"/>
                <a:gd name="connsiteY12" fmla="*/ 522083 h 612618"/>
                <a:gd name="connsiteX13" fmla="*/ 624689 w 1023042"/>
                <a:gd name="connsiteY13" fmla="*/ 488887 h 612618"/>
                <a:gd name="connsiteX14" fmla="*/ 781616 w 1023042"/>
                <a:gd name="connsiteY14" fmla="*/ 464744 h 612618"/>
                <a:gd name="connsiteX15" fmla="*/ 841972 w 1023042"/>
                <a:gd name="connsiteY15" fmla="*/ 446637 h 612618"/>
                <a:gd name="connsiteX16" fmla="*/ 919330 w 1023042"/>
                <a:gd name="connsiteY16" fmla="*/ 406769 h 612618"/>
                <a:gd name="connsiteX17" fmla="*/ 941560 w 1023042"/>
                <a:gd name="connsiteY17" fmla="*/ 356103 h 612618"/>
                <a:gd name="connsiteX18" fmla="*/ 962685 w 1023042"/>
                <a:gd name="connsiteY18" fmla="*/ 301782 h 612618"/>
                <a:gd name="connsiteX19" fmla="*/ 989846 w 1023042"/>
                <a:gd name="connsiteY19" fmla="*/ 274622 h 612618"/>
                <a:gd name="connsiteX20" fmla="*/ 1023042 w 1023042"/>
                <a:gd name="connsiteY20" fmla="*/ 241426 h 612618"/>
                <a:gd name="connsiteX21" fmla="*/ 1010970 w 1023042"/>
                <a:gd name="connsiteY21" fmla="*/ 190123 h 612618"/>
                <a:gd name="connsiteX22" fmla="*/ 959667 w 1023042"/>
                <a:gd name="connsiteY22" fmla="*/ 156927 h 612618"/>
                <a:gd name="connsiteX23" fmla="*/ 932507 w 1023042"/>
                <a:gd name="connsiteY23" fmla="*/ 57338 h 612618"/>
                <a:gd name="connsiteX24" fmla="*/ 917418 w 1023042"/>
                <a:gd name="connsiteY24" fmla="*/ 54321 h 612618"/>
                <a:gd name="connsiteX25" fmla="*/ 899311 w 1023042"/>
                <a:gd name="connsiteY25" fmla="*/ 33196 h 612618"/>
                <a:gd name="connsiteX26" fmla="*/ 878186 w 1023042"/>
                <a:gd name="connsiteY26" fmla="*/ 27160 h 612618"/>
                <a:gd name="connsiteX27" fmla="*/ 860079 w 1023042"/>
                <a:gd name="connsiteY27" fmla="*/ 0 h 612618"/>
                <a:gd name="connsiteX28" fmla="*/ 817830 w 1023042"/>
                <a:gd name="connsiteY28" fmla="*/ 21125 h 612618"/>
                <a:gd name="connsiteX29" fmla="*/ 754456 w 1023042"/>
                <a:gd name="connsiteY29" fmla="*/ 30178 h 612618"/>
                <a:gd name="connsiteX30" fmla="*/ 715224 w 1023042"/>
                <a:gd name="connsiteY30" fmla="*/ 30178 h 612618"/>
                <a:gd name="connsiteX31" fmla="*/ 654867 w 1023042"/>
                <a:gd name="connsiteY31" fmla="*/ 36214 h 612618"/>
                <a:gd name="connsiteX32" fmla="*/ 618654 w 1023042"/>
                <a:gd name="connsiteY32" fmla="*/ 18107 h 612618"/>
                <a:gd name="connsiteX33" fmla="*/ 582440 w 1023042"/>
                <a:gd name="connsiteY33" fmla="*/ 6036 h 612618"/>
                <a:gd name="connsiteX34" fmla="*/ 561315 w 1023042"/>
                <a:gd name="connsiteY34" fmla="*/ 27160 h 612618"/>
                <a:gd name="connsiteX35" fmla="*/ 588475 w 1023042"/>
                <a:gd name="connsiteY35" fmla="*/ 60356 h 612618"/>
                <a:gd name="connsiteX36" fmla="*/ 591493 w 1023042"/>
                <a:gd name="connsiteY36" fmla="*/ 84499 h 612618"/>
                <a:gd name="connsiteX37" fmla="*/ 546226 w 1023042"/>
                <a:gd name="connsiteY37" fmla="*/ 96570 h 612618"/>
                <a:gd name="connsiteX38" fmla="*/ 513030 w 1023042"/>
                <a:gd name="connsiteY38" fmla="*/ 108641 h 612618"/>
                <a:gd name="connsiteX39" fmla="*/ 459502 w 1023042"/>
                <a:gd name="connsiteY39" fmla="*/ 112933 h 612618"/>
                <a:gd name="connsiteX40" fmla="*/ 473798 w 1023042"/>
                <a:gd name="connsiteY40" fmla="*/ 181069 h 612618"/>
                <a:gd name="connsiteX41" fmla="*/ 437584 w 1023042"/>
                <a:gd name="connsiteY41" fmla="*/ 214265 h 612618"/>
                <a:gd name="connsiteX42" fmla="*/ 416459 w 1023042"/>
                <a:gd name="connsiteY42" fmla="*/ 247461 h 612618"/>
                <a:gd name="connsiteX43" fmla="*/ 392317 w 1023042"/>
                <a:gd name="connsiteY43" fmla="*/ 259533 h 612618"/>
                <a:gd name="connsiteX44" fmla="*/ 365157 w 1023042"/>
                <a:gd name="connsiteY44" fmla="*/ 235390 h 612618"/>
                <a:gd name="connsiteX45" fmla="*/ 356103 w 1023042"/>
                <a:gd name="connsiteY45" fmla="*/ 253497 h 612618"/>
                <a:gd name="connsiteX46" fmla="*/ 356103 w 1023042"/>
                <a:gd name="connsiteY46" fmla="*/ 277639 h 612618"/>
                <a:gd name="connsiteX47" fmla="*/ 356103 w 1023042"/>
                <a:gd name="connsiteY47" fmla="*/ 298764 h 612618"/>
                <a:gd name="connsiteX48" fmla="*/ 334978 w 1023042"/>
                <a:gd name="connsiteY48" fmla="*/ 286693 h 612618"/>
                <a:gd name="connsiteX49" fmla="*/ 316871 w 1023042"/>
                <a:gd name="connsiteY49" fmla="*/ 283675 h 612618"/>
                <a:gd name="connsiteX50" fmla="*/ 277640 w 1023042"/>
                <a:gd name="connsiteY50" fmla="*/ 316871 h 612618"/>
                <a:gd name="connsiteX51" fmla="*/ 262551 w 1023042"/>
                <a:gd name="connsiteY51" fmla="*/ 328942 h 612618"/>
                <a:gd name="connsiteX52" fmla="*/ 229355 w 1023042"/>
                <a:gd name="connsiteY52" fmla="*/ 334978 h 612618"/>
                <a:gd name="connsiteX53" fmla="*/ 211248 w 1023042"/>
                <a:gd name="connsiteY53" fmla="*/ 316871 h 612618"/>
                <a:gd name="connsiteX54" fmla="*/ 196158 w 1023042"/>
                <a:gd name="connsiteY54" fmla="*/ 310836 h 612618"/>
                <a:gd name="connsiteX55" fmla="*/ 132784 w 1023042"/>
                <a:gd name="connsiteY55" fmla="*/ 350067 h 612618"/>
                <a:gd name="connsiteX0" fmla="*/ 132784 w 1023042"/>
                <a:gd name="connsiteY0" fmla="*/ 350067 h 612618"/>
                <a:gd name="connsiteX1" fmla="*/ 141838 w 1023042"/>
                <a:gd name="connsiteY1" fmla="*/ 425513 h 612618"/>
                <a:gd name="connsiteX2" fmla="*/ 93553 w 1023042"/>
                <a:gd name="connsiteY2" fmla="*/ 452673 h 612618"/>
                <a:gd name="connsiteX3" fmla="*/ 90535 w 1023042"/>
                <a:gd name="connsiteY3" fmla="*/ 488887 h 612618"/>
                <a:gd name="connsiteX4" fmla="*/ 90535 w 1023042"/>
                <a:gd name="connsiteY4" fmla="*/ 503976 h 612618"/>
                <a:gd name="connsiteX5" fmla="*/ 0 w 1023042"/>
                <a:gd name="connsiteY5" fmla="*/ 482851 h 612618"/>
                <a:gd name="connsiteX6" fmla="*/ 0 w 1023042"/>
                <a:gd name="connsiteY6" fmla="*/ 570368 h 612618"/>
                <a:gd name="connsiteX7" fmla="*/ 15089 w 1023042"/>
                <a:gd name="connsiteY7" fmla="*/ 612618 h 612618"/>
                <a:gd name="connsiteX8" fmla="*/ 75446 w 1023042"/>
                <a:gd name="connsiteY8" fmla="*/ 609600 h 612618"/>
                <a:gd name="connsiteX9" fmla="*/ 135802 w 1023042"/>
                <a:gd name="connsiteY9" fmla="*/ 597529 h 612618"/>
                <a:gd name="connsiteX10" fmla="*/ 208230 w 1023042"/>
                <a:gd name="connsiteY10" fmla="*/ 564333 h 612618"/>
                <a:gd name="connsiteX11" fmla="*/ 310836 w 1023042"/>
                <a:gd name="connsiteY11" fmla="*/ 549243 h 612618"/>
                <a:gd name="connsiteX12" fmla="*/ 449656 w 1023042"/>
                <a:gd name="connsiteY12" fmla="*/ 522083 h 612618"/>
                <a:gd name="connsiteX13" fmla="*/ 624689 w 1023042"/>
                <a:gd name="connsiteY13" fmla="*/ 488887 h 612618"/>
                <a:gd name="connsiteX14" fmla="*/ 781616 w 1023042"/>
                <a:gd name="connsiteY14" fmla="*/ 464744 h 612618"/>
                <a:gd name="connsiteX15" fmla="*/ 841972 w 1023042"/>
                <a:gd name="connsiteY15" fmla="*/ 446637 h 612618"/>
                <a:gd name="connsiteX16" fmla="*/ 919330 w 1023042"/>
                <a:gd name="connsiteY16" fmla="*/ 406769 h 612618"/>
                <a:gd name="connsiteX17" fmla="*/ 941560 w 1023042"/>
                <a:gd name="connsiteY17" fmla="*/ 356103 h 612618"/>
                <a:gd name="connsiteX18" fmla="*/ 962685 w 1023042"/>
                <a:gd name="connsiteY18" fmla="*/ 301782 h 612618"/>
                <a:gd name="connsiteX19" fmla="*/ 989846 w 1023042"/>
                <a:gd name="connsiteY19" fmla="*/ 274622 h 612618"/>
                <a:gd name="connsiteX20" fmla="*/ 1023042 w 1023042"/>
                <a:gd name="connsiteY20" fmla="*/ 241426 h 612618"/>
                <a:gd name="connsiteX21" fmla="*/ 1010970 w 1023042"/>
                <a:gd name="connsiteY21" fmla="*/ 190123 h 612618"/>
                <a:gd name="connsiteX22" fmla="*/ 959667 w 1023042"/>
                <a:gd name="connsiteY22" fmla="*/ 156927 h 612618"/>
                <a:gd name="connsiteX23" fmla="*/ 932507 w 1023042"/>
                <a:gd name="connsiteY23" fmla="*/ 57338 h 612618"/>
                <a:gd name="connsiteX24" fmla="*/ 917418 w 1023042"/>
                <a:gd name="connsiteY24" fmla="*/ 54321 h 612618"/>
                <a:gd name="connsiteX25" fmla="*/ 899311 w 1023042"/>
                <a:gd name="connsiteY25" fmla="*/ 33196 h 612618"/>
                <a:gd name="connsiteX26" fmla="*/ 878186 w 1023042"/>
                <a:gd name="connsiteY26" fmla="*/ 27160 h 612618"/>
                <a:gd name="connsiteX27" fmla="*/ 860079 w 1023042"/>
                <a:gd name="connsiteY27" fmla="*/ 0 h 612618"/>
                <a:gd name="connsiteX28" fmla="*/ 817830 w 1023042"/>
                <a:gd name="connsiteY28" fmla="*/ 21125 h 612618"/>
                <a:gd name="connsiteX29" fmla="*/ 754456 w 1023042"/>
                <a:gd name="connsiteY29" fmla="*/ 30178 h 612618"/>
                <a:gd name="connsiteX30" fmla="*/ 715224 w 1023042"/>
                <a:gd name="connsiteY30" fmla="*/ 30178 h 612618"/>
                <a:gd name="connsiteX31" fmla="*/ 654867 w 1023042"/>
                <a:gd name="connsiteY31" fmla="*/ 36214 h 612618"/>
                <a:gd name="connsiteX32" fmla="*/ 618654 w 1023042"/>
                <a:gd name="connsiteY32" fmla="*/ 18107 h 612618"/>
                <a:gd name="connsiteX33" fmla="*/ 582440 w 1023042"/>
                <a:gd name="connsiteY33" fmla="*/ 6036 h 612618"/>
                <a:gd name="connsiteX34" fmla="*/ 561315 w 1023042"/>
                <a:gd name="connsiteY34" fmla="*/ 27160 h 612618"/>
                <a:gd name="connsiteX35" fmla="*/ 588475 w 1023042"/>
                <a:gd name="connsiteY35" fmla="*/ 60356 h 612618"/>
                <a:gd name="connsiteX36" fmla="*/ 591493 w 1023042"/>
                <a:gd name="connsiteY36" fmla="*/ 84499 h 612618"/>
                <a:gd name="connsiteX37" fmla="*/ 546226 w 1023042"/>
                <a:gd name="connsiteY37" fmla="*/ 96570 h 612618"/>
                <a:gd name="connsiteX38" fmla="*/ 513030 w 1023042"/>
                <a:gd name="connsiteY38" fmla="*/ 108641 h 612618"/>
                <a:gd name="connsiteX39" fmla="*/ 459502 w 1023042"/>
                <a:gd name="connsiteY39" fmla="*/ 112933 h 612618"/>
                <a:gd name="connsiteX40" fmla="*/ 464267 w 1023042"/>
                <a:gd name="connsiteY40" fmla="*/ 181069 h 612618"/>
                <a:gd name="connsiteX41" fmla="*/ 437584 w 1023042"/>
                <a:gd name="connsiteY41" fmla="*/ 214265 h 612618"/>
                <a:gd name="connsiteX42" fmla="*/ 416459 w 1023042"/>
                <a:gd name="connsiteY42" fmla="*/ 247461 h 612618"/>
                <a:gd name="connsiteX43" fmla="*/ 392317 w 1023042"/>
                <a:gd name="connsiteY43" fmla="*/ 259533 h 612618"/>
                <a:gd name="connsiteX44" fmla="*/ 365157 w 1023042"/>
                <a:gd name="connsiteY44" fmla="*/ 235390 h 612618"/>
                <a:gd name="connsiteX45" fmla="*/ 356103 w 1023042"/>
                <a:gd name="connsiteY45" fmla="*/ 253497 h 612618"/>
                <a:gd name="connsiteX46" fmla="*/ 356103 w 1023042"/>
                <a:gd name="connsiteY46" fmla="*/ 277639 h 612618"/>
                <a:gd name="connsiteX47" fmla="*/ 356103 w 1023042"/>
                <a:gd name="connsiteY47" fmla="*/ 298764 h 612618"/>
                <a:gd name="connsiteX48" fmla="*/ 334978 w 1023042"/>
                <a:gd name="connsiteY48" fmla="*/ 286693 h 612618"/>
                <a:gd name="connsiteX49" fmla="*/ 316871 w 1023042"/>
                <a:gd name="connsiteY49" fmla="*/ 283675 h 612618"/>
                <a:gd name="connsiteX50" fmla="*/ 277640 w 1023042"/>
                <a:gd name="connsiteY50" fmla="*/ 316871 h 612618"/>
                <a:gd name="connsiteX51" fmla="*/ 262551 w 1023042"/>
                <a:gd name="connsiteY51" fmla="*/ 328942 h 612618"/>
                <a:gd name="connsiteX52" fmla="*/ 229355 w 1023042"/>
                <a:gd name="connsiteY52" fmla="*/ 334978 h 612618"/>
                <a:gd name="connsiteX53" fmla="*/ 211248 w 1023042"/>
                <a:gd name="connsiteY53" fmla="*/ 316871 h 612618"/>
                <a:gd name="connsiteX54" fmla="*/ 196158 w 1023042"/>
                <a:gd name="connsiteY54" fmla="*/ 310836 h 612618"/>
                <a:gd name="connsiteX55" fmla="*/ 132784 w 1023042"/>
                <a:gd name="connsiteY55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41560 w 1032573"/>
                <a:gd name="connsiteY17" fmla="*/ 356103 h 612618"/>
                <a:gd name="connsiteX18" fmla="*/ 962685 w 1032573"/>
                <a:gd name="connsiteY18" fmla="*/ 301782 h 612618"/>
                <a:gd name="connsiteX19" fmla="*/ 989846 w 1032573"/>
                <a:gd name="connsiteY19" fmla="*/ 274622 h 612618"/>
                <a:gd name="connsiteX20" fmla="*/ 1032573 w 1032573"/>
                <a:gd name="connsiteY20" fmla="*/ 255709 h 612618"/>
                <a:gd name="connsiteX21" fmla="*/ 1010970 w 1032573"/>
                <a:gd name="connsiteY21" fmla="*/ 190123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88475 w 1032573"/>
                <a:gd name="connsiteY35" fmla="*/ 60356 h 612618"/>
                <a:gd name="connsiteX36" fmla="*/ 591493 w 1032573"/>
                <a:gd name="connsiteY36" fmla="*/ 84499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5157 w 1032573"/>
                <a:gd name="connsiteY44" fmla="*/ 235390 h 612618"/>
                <a:gd name="connsiteX45" fmla="*/ 356103 w 1032573"/>
                <a:gd name="connsiteY45" fmla="*/ 253497 h 612618"/>
                <a:gd name="connsiteX46" fmla="*/ 356103 w 1032573"/>
                <a:gd name="connsiteY46" fmla="*/ 277639 h 612618"/>
                <a:gd name="connsiteX47" fmla="*/ 356103 w 1032573"/>
                <a:gd name="connsiteY47" fmla="*/ 298764 h 612618"/>
                <a:gd name="connsiteX48" fmla="*/ 334978 w 1032573"/>
                <a:gd name="connsiteY48" fmla="*/ 286693 h 612618"/>
                <a:gd name="connsiteX49" fmla="*/ 316871 w 1032573"/>
                <a:gd name="connsiteY49" fmla="*/ 283675 h 612618"/>
                <a:gd name="connsiteX50" fmla="*/ 277640 w 1032573"/>
                <a:gd name="connsiteY50" fmla="*/ 316871 h 612618"/>
                <a:gd name="connsiteX51" fmla="*/ 262551 w 1032573"/>
                <a:gd name="connsiteY51" fmla="*/ 328942 h 612618"/>
                <a:gd name="connsiteX52" fmla="*/ 229355 w 1032573"/>
                <a:gd name="connsiteY52" fmla="*/ 334978 h 612618"/>
                <a:gd name="connsiteX53" fmla="*/ 211248 w 1032573"/>
                <a:gd name="connsiteY53" fmla="*/ 316871 h 612618"/>
                <a:gd name="connsiteX54" fmla="*/ 196158 w 1032573"/>
                <a:gd name="connsiteY54" fmla="*/ 310836 h 612618"/>
                <a:gd name="connsiteX55" fmla="*/ 132784 w 1032573"/>
                <a:gd name="connsiteY55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41560 w 1032573"/>
                <a:gd name="connsiteY17" fmla="*/ 356103 h 612618"/>
                <a:gd name="connsiteX18" fmla="*/ 962685 w 1032573"/>
                <a:gd name="connsiteY18" fmla="*/ 301782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0970 w 1032573"/>
                <a:gd name="connsiteY21" fmla="*/ 190123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88475 w 1032573"/>
                <a:gd name="connsiteY35" fmla="*/ 60356 h 612618"/>
                <a:gd name="connsiteX36" fmla="*/ 591493 w 1032573"/>
                <a:gd name="connsiteY36" fmla="*/ 84499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5157 w 1032573"/>
                <a:gd name="connsiteY44" fmla="*/ 235390 h 612618"/>
                <a:gd name="connsiteX45" fmla="*/ 356103 w 1032573"/>
                <a:gd name="connsiteY45" fmla="*/ 253497 h 612618"/>
                <a:gd name="connsiteX46" fmla="*/ 356103 w 1032573"/>
                <a:gd name="connsiteY46" fmla="*/ 277639 h 612618"/>
                <a:gd name="connsiteX47" fmla="*/ 356103 w 1032573"/>
                <a:gd name="connsiteY47" fmla="*/ 298764 h 612618"/>
                <a:gd name="connsiteX48" fmla="*/ 334978 w 1032573"/>
                <a:gd name="connsiteY48" fmla="*/ 286693 h 612618"/>
                <a:gd name="connsiteX49" fmla="*/ 316871 w 1032573"/>
                <a:gd name="connsiteY49" fmla="*/ 283675 h 612618"/>
                <a:gd name="connsiteX50" fmla="*/ 277640 w 1032573"/>
                <a:gd name="connsiteY50" fmla="*/ 316871 h 612618"/>
                <a:gd name="connsiteX51" fmla="*/ 262551 w 1032573"/>
                <a:gd name="connsiteY51" fmla="*/ 328942 h 612618"/>
                <a:gd name="connsiteX52" fmla="*/ 229355 w 1032573"/>
                <a:gd name="connsiteY52" fmla="*/ 334978 h 612618"/>
                <a:gd name="connsiteX53" fmla="*/ 211248 w 1032573"/>
                <a:gd name="connsiteY53" fmla="*/ 316871 h 612618"/>
                <a:gd name="connsiteX54" fmla="*/ 196158 w 1032573"/>
                <a:gd name="connsiteY54" fmla="*/ 310836 h 612618"/>
                <a:gd name="connsiteX55" fmla="*/ 132784 w 1032573"/>
                <a:gd name="connsiteY55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41560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0970 w 1032573"/>
                <a:gd name="connsiteY21" fmla="*/ 190123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88475 w 1032573"/>
                <a:gd name="connsiteY35" fmla="*/ 60356 h 612618"/>
                <a:gd name="connsiteX36" fmla="*/ 591493 w 1032573"/>
                <a:gd name="connsiteY36" fmla="*/ 84499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5157 w 1032573"/>
                <a:gd name="connsiteY44" fmla="*/ 235390 h 612618"/>
                <a:gd name="connsiteX45" fmla="*/ 356103 w 1032573"/>
                <a:gd name="connsiteY45" fmla="*/ 253497 h 612618"/>
                <a:gd name="connsiteX46" fmla="*/ 356103 w 1032573"/>
                <a:gd name="connsiteY46" fmla="*/ 277639 h 612618"/>
                <a:gd name="connsiteX47" fmla="*/ 356103 w 1032573"/>
                <a:gd name="connsiteY47" fmla="*/ 298764 h 612618"/>
                <a:gd name="connsiteX48" fmla="*/ 334978 w 1032573"/>
                <a:gd name="connsiteY48" fmla="*/ 286693 h 612618"/>
                <a:gd name="connsiteX49" fmla="*/ 316871 w 1032573"/>
                <a:gd name="connsiteY49" fmla="*/ 283675 h 612618"/>
                <a:gd name="connsiteX50" fmla="*/ 277640 w 1032573"/>
                <a:gd name="connsiteY50" fmla="*/ 316871 h 612618"/>
                <a:gd name="connsiteX51" fmla="*/ 262551 w 1032573"/>
                <a:gd name="connsiteY51" fmla="*/ 328942 h 612618"/>
                <a:gd name="connsiteX52" fmla="*/ 229355 w 1032573"/>
                <a:gd name="connsiteY52" fmla="*/ 334978 h 612618"/>
                <a:gd name="connsiteX53" fmla="*/ 211248 w 1032573"/>
                <a:gd name="connsiteY53" fmla="*/ 316871 h 612618"/>
                <a:gd name="connsiteX54" fmla="*/ 196158 w 1032573"/>
                <a:gd name="connsiteY54" fmla="*/ 310836 h 612618"/>
                <a:gd name="connsiteX55" fmla="*/ 132784 w 1032573"/>
                <a:gd name="connsiteY55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41560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88475 w 1032573"/>
                <a:gd name="connsiteY35" fmla="*/ 60356 h 612618"/>
                <a:gd name="connsiteX36" fmla="*/ 591493 w 1032573"/>
                <a:gd name="connsiteY36" fmla="*/ 84499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5157 w 1032573"/>
                <a:gd name="connsiteY44" fmla="*/ 235390 h 612618"/>
                <a:gd name="connsiteX45" fmla="*/ 356103 w 1032573"/>
                <a:gd name="connsiteY45" fmla="*/ 253497 h 612618"/>
                <a:gd name="connsiteX46" fmla="*/ 356103 w 1032573"/>
                <a:gd name="connsiteY46" fmla="*/ 277639 h 612618"/>
                <a:gd name="connsiteX47" fmla="*/ 356103 w 1032573"/>
                <a:gd name="connsiteY47" fmla="*/ 298764 h 612618"/>
                <a:gd name="connsiteX48" fmla="*/ 334978 w 1032573"/>
                <a:gd name="connsiteY48" fmla="*/ 286693 h 612618"/>
                <a:gd name="connsiteX49" fmla="*/ 316871 w 1032573"/>
                <a:gd name="connsiteY49" fmla="*/ 283675 h 612618"/>
                <a:gd name="connsiteX50" fmla="*/ 277640 w 1032573"/>
                <a:gd name="connsiteY50" fmla="*/ 316871 h 612618"/>
                <a:gd name="connsiteX51" fmla="*/ 262551 w 1032573"/>
                <a:gd name="connsiteY51" fmla="*/ 328942 h 612618"/>
                <a:gd name="connsiteX52" fmla="*/ 229355 w 1032573"/>
                <a:gd name="connsiteY52" fmla="*/ 334978 h 612618"/>
                <a:gd name="connsiteX53" fmla="*/ 211248 w 1032573"/>
                <a:gd name="connsiteY53" fmla="*/ 316871 h 612618"/>
                <a:gd name="connsiteX54" fmla="*/ 196158 w 1032573"/>
                <a:gd name="connsiteY54" fmla="*/ 310836 h 612618"/>
                <a:gd name="connsiteX55" fmla="*/ 132784 w 1032573"/>
                <a:gd name="connsiteY55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51092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88475 w 1032573"/>
                <a:gd name="connsiteY35" fmla="*/ 60356 h 612618"/>
                <a:gd name="connsiteX36" fmla="*/ 591493 w 1032573"/>
                <a:gd name="connsiteY36" fmla="*/ 84499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5157 w 1032573"/>
                <a:gd name="connsiteY44" fmla="*/ 235390 h 612618"/>
                <a:gd name="connsiteX45" fmla="*/ 356103 w 1032573"/>
                <a:gd name="connsiteY45" fmla="*/ 253497 h 612618"/>
                <a:gd name="connsiteX46" fmla="*/ 356103 w 1032573"/>
                <a:gd name="connsiteY46" fmla="*/ 277639 h 612618"/>
                <a:gd name="connsiteX47" fmla="*/ 356103 w 1032573"/>
                <a:gd name="connsiteY47" fmla="*/ 298764 h 612618"/>
                <a:gd name="connsiteX48" fmla="*/ 334978 w 1032573"/>
                <a:gd name="connsiteY48" fmla="*/ 286693 h 612618"/>
                <a:gd name="connsiteX49" fmla="*/ 316871 w 1032573"/>
                <a:gd name="connsiteY49" fmla="*/ 283675 h 612618"/>
                <a:gd name="connsiteX50" fmla="*/ 277640 w 1032573"/>
                <a:gd name="connsiteY50" fmla="*/ 316871 h 612618"/>
                <a:gd name="connsiteX51" fmla="*/ 262551 w 1032573"/>
                <a:gd name="connsiteY51" fmla="*/ 328942 h 612618"/>
                <a:gd name="connsiteX52" fmla="*/ 229355 w 1032573"/>
                <a:gd name="connsiteY52" fmla="*/ 334978 h 612618"/>
                <a:gd name="connsiteX53" fmla="*/ 211248 w 1032573"/>
                <a:gd name="connsiteY53" fmla="*/ 316871 h 612618"/>
                <a:gd name="connsiteX54" fmla="*/ 196158 w 1032573"/>
                <a:gd name="connsiteY54" fmla="*/ 310836 h 612618"/>
                <a:gd name="connsiteX55" fmla="*/ 132784 w 1032573"/>
                <a:gd name="connsiteY55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51092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76561 w 1032573"/>
                <a:gd name="connsiteY35" fmla="*/ 60356 h 612618"/>
                <a:gd name="connsiteX36" fmla="*/ 591493 w 1032573"/>
                <a:gd name="connsiteY36" fmla="*/ 84499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5157 w 1032573"/>
                <a:gd name="connsiteY44" fmla="*/ 235390 h 612618"/>
                <a:gd name="connsiteX45" fmla="*/ 356103 w 1032573"/>
                <a:gd name="connsiteY45" fmla="*/ 253497 h 612618"/>
                <a:gd name="connsiteX46" fmla="*/ 356103 w 1032573"/>
                <a:gd name="connsiteY46" fmla="*/ 277639 h 612618"/>
                <a:gd name="connsiteX47" fmla="*/ 356103 w 1032573"/>
                <a:gd name="connsiteY47" fmla="*/ 298764 h 612618"/>
                <a:gd name="connsiteX48" fmla="*/ 334978 w 1032573"/>
                <a:gd name="connsiteY48" fmla="*/ 286693 h 612618"/>
                <a:gd name="connsiteX49" fmla="*/ 316871 w 1032573"/>
                <a:gd name="connsiteY49" fmla="*/ 283675 h 612618"/>
                <a:gd name="connsiteX50" fmla="*/ 277640 w 1032573"/>
                <a:gd name="connsiteY50" fmla="*/ 316871 h 612618"/>
                <a:gd name="connsiteX51" fmla="*/ 262551 w 1032573"/>
                <a:gd name="connsiteY51" fmla="*/ 328942 h 612618"/>
                <a:gd name="connsiteX52" fmla="*/ 229355 w 1032573"/>
                <a:gd name="connsiteY52" fmla="*/ 334978 h 612618"/>
                <a:gd name="connsiteX53" fmla="*/ 211248 w 1032573"/>
                <a:gd name="connsiteY53" fmla="*/ 316871 h 612618"/>
                <a:gd name="connsiteX54" fmla="*/ 196158 w 1032573"/>
                <a:gd name="connsiteY54" fmla="*/ 310836 h 612618"/>
                <a:gd name="connsiteX55" fmla="*/ 132784 w 1032573"/>
                <a:gd name="connsiteY55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51092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76561 w 1032573"/>
                <a:gd name="connsiteY35" fmla="*/ 60356 h 612618"/>
                <a:gd name="connsiteX36" fmla="*/ 579579 w 1032573"/>
                <a:gd name="connsiteY36" fmla="*/ 79738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5157 w 1032573"/>
                <a:gd name="connsiteY44" fmla="*/ 235390 h 612618"/>
                <a:gd name="connsiteX45" fmla="*/ 356103 w 1032573"/>
                <a:gd name="connsiteY45" fmla="*/ 253497 h 612618"/>
                <a:gd name="connsiteX46" fmla="*/ 356103 w 1032573"/>
                <a:gd name="connsiteY46" fmla="*/ 277639 h 612618"/>
                <a:gd name="connsiteX47" fmla="*/ 356103 w 1032573"/>
                <a:gd name="connsiteY47" fmla="*/ 298764 h 612618"/>
                <a:gd name="connsiteX48" fmla="*/ 334978 w 1032573"/>
                <a:gd name="connsiteY48" fmla="*/ 286693 h 612618"/>
                <a:gd name="connsiteX49" fmla="*/ 316871 w 1032573"/>
                <a:gd name="connsiteY49" fmla="*/ 283675 h 612618"/>
                <a:gd name="connsiteX50" fmla="*/ 277640 w 1032573"/>
                <a:gd name="connsiteY50" fmla="*/ 316871 h 612618"/>
                <a:gd name="connsiteX51" fmla="*/ 262551 w 1032573"/>
                <a:gd name="connsiteY51" fmla="*/ 328942 h 612618"/>
                <a:gd name="connsiteX52" fmla="*/ 229355 w 1032573"/>
                <a:gd name="connsiteY52" fmla="*/ 334978 h 612618"/>
                <a:gd name="connsiteX53" fmla="*/ 211248 w 1032573"/>
                <a:gd name="connsiteY53" fmla="*/ 316871 h 612618"/>
                <a:gd name="connsiteX54" fmla="*/ 196158 w 1032573"/>
                <a:gd name="connsiteY54" fmla="*/ 310836 h 612618"/>
                <a:gd name="connsiteX55" fmla="*/ 132784 w 1032573"/>
                <a:gd name="connsiteY55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51092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76561 w 1032573"/>
                <a:gd name="connsiteY35" fmla="*/ 60356 h 612618"/>
                <a:gd name="connsiteX36" fmla="*/ 579579 w 1032573"/>
                <a:gd name="connsiteY36" fmla="*/ 79738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2773 w 1032573"/>
                <a:gd name="connsiteY44" fmla="*/ 225867 h 612618"/>
                <a:gd name="connsiteX45" fmla="*/ 356103 w 1032573"/>
                <a:gd name="connsiteY45" fmla="*/ 253497 h 612618"/>
                <a:gd name="connsiteX46" fmla="*/ 356103 w 1032573"/>
                <a:gd name="connsiteY46" fmla="*/ 277639 h 612618"/>
                <a:gd name="connsiteX47" fmla="*/ 356103 w 1032573"/>
                <a:gd name="connsiteY47" fmla="*/ 298764 h 612618"/>
                <a:gd name="connsiteX48" fmla="*/ 334978 w 1032573"/>
                <a:gd name="connsiteY48" fmla="*/ 286693 h 612618"/>
                <a:gd name="connsiteX49" fmla="*/ 316871 w 1032573"/>
                <a:gd name="connsiteY49" fmla="*/ 283675 h 612618"/>
                <a:gd name="connsiteX50" fmla="*/ 277640 w 1032573"/>
                <a:gd name="connsiteY50" fmla="*/ 316871 h 612618"/>
                <a:gd name="connsiteX51" fmla="*/ 262551 w 1032573"/>
                <a:gd name="connsiteY51" fmla="*/ 328942 h 612618"/>
                <a:gd name="connsiteX52" fmla="*/ 229355 w 1032573"/>
                <a:gd name="connsiteY52" fmla="*/ 334978 h 612618"/>
                <a:gd name="connsiteX53" fmla="*/ 211248 w 1032573"/>
                <a:gd name="connsiteY53" fmla="*/ 316871 h 612618"/>
                <a:gd name="connsiteX54" fmla="*/ 196158 w 1032573"/>
                <a:gd name="connsiteY54" fmla="*/ 310836 h 612618"/>
                <a:gd name="connsiteX55" fmla="*/ 132784 w 1032573"/>
                <a:gd name="connsiteY55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51092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76561 w 1032573"/>
                <a:gd name="connsiteY35" fmla="*/ 60356 h 612618"/>
                <a:gd name="connsiteX36" fmla="*/ 579579 w 1032573"/>
                <a:gd name="connsiteY36" fmla="*/ 79738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2773 w 1032573"/>
                <a:gd name="connsiteY44" fmla="*/ 225867 h 612618"/>
                <a:gd name="connsiteX45" fmla="*/ 356103 w 1032573"/>
                <a:gd name="connsiteY45" fmla="*/ 277639 h 612618"/>
                <a:gd name="connsiteX46" fmla="*/ 356103 w 1032573"/>
                <a:gd name="connsiteY46" fmla="*/ 298764 h 612618"/>
                <a:gd name="connsiteX47" fmla="*/ 334978 w 1032573"/>
                <a:gd name="connsiteY47" fmla="*/ 286693 h 612618"/>
                <a:gd name="connsiteX48" fmla="*/ 316871 w 1032573"/>
                <a:gd name="connsiteY48" fmla="*/ 283675 h 612618"/>
                <a:gd name="connsiteX49" fmla="*/ 277640 w 1032573"/>
                <a:gd name="connsiteY49" fmla="*/ 316871 h 612618"/>
                <a:gd name="connsiteX50" fmla="*/ 262551 w 1032573"/>
                <a:gd name="connsiteY50" fmla="*/ 328942 h 612618"/>
                <a:gd name="connsiteX51" fmla="*/ 229355 w 1032573"/>
                <a:gd name="connsiteY51" fmla="*/ 334978 h 612618"/>
                <a:gd name="connsiteX52" fmla="*/ 211248 w 1032573"/>
                <a:gd name="connsiteY52" fmla="*/ 316871 h 612618"/>
                <a:gd name="connsiteX53" fmla="*/ 196158 w 1032573"/>
                <a:gd name="connsiteY53" fmla="*/ 310836 h 612618"/>
                <a:gd name="connsiteX54" fmla="*/ 132784 w 1032573"/>
                <a:gd name="connsiteY54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51092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76561 w 1032573"/>
                <a:gd name="connsiteY35" fmla="*/ 60356 h 612618"/>
                <a:gd name="connsiteX36" fmla="*/ 579579 w 1032573"/>
                <a:gd name="connsiteY36" fmla="*/ 79738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62773 w 1032573"/>
                <a:gd name="connsiteY44" fmla="*/ 225867 h 612618"/>
                <a:gd name="connsiteX45" fmla="*/ 356103 w 1032573"/>
                <a:gd name="connsiteY45" fmla="*/ 298764 h 612618"/>
                <a:gd name="connsiteX46" fmla="*/ 334978 w 1032573"/>
                <a:gd name="connsiteY46" fmla="*/ 286693 h 612618"/>
                <a:gd name="connsiteX47" fmla="*/ 316871 w 1032573"/>
                <a:gd name="connsiteY47" fmla="*/ 283675 h 612618"/>
                <a:gd name="connsiteX48" fmla="*/ 277640 w 1032573"/>
                <a:gd name="connsiteY48" fmla="*/ 316871 h 612618"/>
                <a:gd name="connsiteX49" fmla="*/ 262551 w 1032573"/>
                <a:gd name="connsiteY49" fmla="*/ 328942 h 612618"/>
                <a:gd name="connsiteX50" fmla="*/ 229355 w 1032573"/>
                <a:gd name="connsiteY50" fmla="*/ 334978 h 612618"/>
                <a:gd name="connsiteX51" fmla="*/ 211248 w 1032573"/>
                <a:gd name="connsiteY51" fmla="*/ 316871 h 612618"/>
                <a:gd name="connsiteX52" fmla="*/ 196158 w 1032573"/>
                <a:gd name="connsiteY52" fmla="*/ 310836 h 612618"/>
                <a:gd name="connsiteX53" fmla="*/ 132784 w 1032573"/>
                <a:gd name="connsiteY53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51092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76561 w 1032573"/>
                <a:gd name="connsiteY35" fmla="*/ 60356 h 612618"/>
                <a:gd name="connsiteX36" fmla="*/ 579579 w 1032573"/>
                <a:gd name="connsiteY36" fmla="*/ 79738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53242 w 1032573"/>
                <a:gd name="connsiteY44" fmla="*/ 223486 h 612618"/>
                <a:gd name="connsiteX45" fmla="*/ 356103 w 1032573"/>
                <a:gd name="connsiteY45" fmla="*/ 298764 h 612618"/>
                <a:gd name="connsiteX46" fmla="*/ 334978 w 1032573"/>
                <a:gd name="connsiteY46" fmla="*/ 286693 h 612618"/>
                <a:gd name="connsiteX47" fmla="*/ 316871 w 1032573"/>
                <a:gd name="connsiteY47" fmla="*/ 283675 h 612618"/>
                <a:gd name="connsiteX48" fmla="*/ 277640 w 1032573"/>
                <a:gd name="connsiteY48" fmla="*/ 316871 h 612618"/>
                <a:gd name="connsiteX49" fmla="*/ 262551 w 1032573"/>
                <a:gd name="connsiteY49" fmla="*/ 328942 h 612618"/>
                <a:gd name="connsiteX50" fmla="*/ 229355 w 1032573"/>
                <a:gd name="connsiteY50" fmla="*/ 334978 h 612618"/>
                <a:gd name="connsiteX51" fmla="*/ 211248 w 1032573"/>
                <a:gd name="connsiteY51" fmla="*/ 316871 h 612618"/>
                <a:gd name="connsiteX52" fmla="*/ 196158 w 1032573"/>
                <a:gd name="connsiteY52" fmla="*/ 310836 h 612618"/>
                <a:gd name="connsiteX53" fmla="*/ 132784 w 1032573"/>
                <a:gd name="connsiteY53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51092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76561 w 1032573"/>
                <a:gd name="connsiteY35" fmla="*/ 60356 h 612618"/>
                <a:gd name="connsiteX36" fmla="*/ 579579 w 1032573"/>
                <a:gd name="connsiteY36" fmla="*/ 79738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53242 w 1032573"/>
                <a:gd name="connsiteY44" fmla="*/ 223486 h 612618"/>
                <a:gd name="connsiteX45" fmla="*/ 356103 w 1032573"/>
                <a:gd name="connsiteY45" fmla="*/ 298764 h 612618"/>
                <a:gd name="connsiteX46" fmla="*/ 334978 w 1032573"/>
                <a:gd name="connsiteY46" fmla="*/ 286693 h 612618"/>
                <a:gd name="connsiteX47" fmla="*/ 316871 w 1032573"/>
                <a:gd name="connsiteY47" fmla="*/ 283675 h 612618"/>
                <a:gd name="connsiteX48" fmla="*/ 277640 w 1032573"/>
                <a:gd name="connsiteY48" fmla="*/ 316871 h 612618"/>
                <a:gd name="connsiteX49" fmla="*/ 262551 w 1032573"/>
                <a:gd name="connsiteY49" fmla="*/ 317039 h 612618"/>
                <a:gd name="connsiteX50" fmla="*/ 229355 w 1032573"/>
                <a:gd name="connsiteY50" fmla="*/ 334978 h 612618"/>
                <a:gd name="connsiteX51" fmla="*/ 211248 w 1032573"/>
                <a:gd name="connsiteY51" fmla="*/ 316871 h 612618"/>
                <a:gd name="connsiteX52" fmla="*/ 196158 w 1032573"/>
                <a:gd name="connsiteY52" fmla="*/ 310836 h 612618"/>
                <a:gd name="connsiteX53" fmla="*/ 132784 w 1032573"/>
                <a:gd name="connsiteY53" fmla="*/ 350067 h 612618"/>
                <a:gd name="connsiteX0" fmla="*/ 132784 w 1032573"/>
                <a:gd name="connsiteY0" fmla="*/ 350067 h 612618"/>
                <a:gd name="connsiteX1" fmla="*/ 141838 w 1032573"/>
                <a:gd name="connsiteY1" fmla="*/ 425513 h 612618"/>
                <a:gd name="connsiteX2" fmla="*/ 93553 w 1032573"/>
                <a:gd name="connsiteY2" fmla="*/ 452673 h 612618"/>
                <a:gd name="connsiteX3" fmla="*/ 90535 w 1032573"/>
                <a:gd name="connsiteY3" fmla="*/ 488887 h 612618"/>
                <a:gd name="connsiteX4" fmla="*/ 90535 w 1032573"/>
                <a:gd name="connsiteY4" fmla="*/ 503976 h 612618"/>
                <a:gd name="connsiteX5" fmla="*/ 0 w 1032573"/>
                <a:gd name="connsiteY5" fmla="*/ 482851 h 612618"/>
                <a:gd name="connsiteX6" fmla="*/ 0 w 1032573"/>
                <a:gd name="connsiteY6" fmla="*/ 570368 h 612618"/>
                <a:gd name="connsiteX7" fmla="*/ 15089 w 1032573"/>
                <a:gd name="connsiteY7" fmla="*/ 612618 h 612618"/>
                <a:gd name="connsiteX8" fmla="*/ 75446 w 1032573"/>
                <a:gd name="connsiteY8" fmla="*/ 609600 h 612618"/>
                <a:gd name="connsiteX9" fmla="*/ 135802 w 1032573"/>
                <a:gd name="connsiteY9" fmla="*/ 597529 h 612618"/>
                <a:gd name="connsiteX10" fmla="*/ 208230 w 1032573"/>
                <a:gd name="connsiteY10" fmla="*/ 564333 h 612618"/>
                <a:gd name="connsiteX11" fmla="*/ 310836 w 1032573"/>
                <a:gd name="connsiteY11" fmla="*/ 549243 h 612618"/>
                <a:gd name="connsiteX12" fmla="*/ 449656 w 1032573"/>
                <a:gd name="connsiteY12" fmla="*/ 522083 h 612618"/>
                <a:gd name="connsiteX13" fmla="*/ 624689 w 1032573"/>
                <a:gd name="connsiteY13" fmla="*/ 488887 h 612618"/>
                <a:gd name="connsiteX14" fmla="*/ 781616 w 1032573"/>
                <a:gd name="connsiteY14" fmla="*/ 464744 h 612618"/>
                <a:gd name="connsiteX15" fmla="*/ 841972 w 1032573"/>
                <a:gd name="connsiteY15" fmla="*/ 446637 h 612618"/>
                <a:gd name="connsiteX16" fmla="*/ 919330 w 1032573"/>
                <a:gd name="connsiteY16" fmla="*/ 406769 h 612618"/>
                <a:gd name="connsiteX17" fmla="*/ 951092 w 1032573"/>
                <a:gd name="connsiteY17" fmla="*/ 356103 h 612618"/>
                <a:gd name="connsiteX18" fmla="*/ 969834 w 1032573"/>
                <a:gd name="connsiteY18" fmla="*/ 308924 h 612618"/>
                <a:gd name="connsiteX19" fmla="*/ 999378 w 1032573"/>
                <a:gd name="connsiteY19" fmla="*/ 281763 h 612618"/>
                <a:gd name="connsiteX20" fmla="*/ 1032573 w 1032573"/>
                <a:gd name="connsiteY20" fmla="*/ 255709 h 612618"/>
                <a:gd name="connsiteX21" fmla="*/ 1018118 w 1032573"/>
                <a:gd name="connsiteY21" fmla="*/ 180601 h 612618"/>
                <a:gd name="connsiteX22" fmla="*/ 959667 w 1032573"/>
                <a:gd name="connsiteY22" fmla="*/ 156927 h 612618"/>
                <a:gd name="connsiteX23" fmla="*/ 932507 w 1032573"/>
                <a:gd name="connsiteY23" fmla="*/ 57338 h 612618"/>
                <a:gd name="connsiteX24" fmla="*/ 917418 w 1032573"/>
                <a:gd name="connsiteY24" fmla="*/ 54321 h 612618"/>
                <a:gd name="connsiteX25" fmla="*/ 899311 w 1032573"/>
                <a:gd name="connsiteY25" fmla="*/ 33196 h 612618"/>
                <a:gd name="connsiteX26" fmla="*/ 878186 w 1032573"/>
                <a:gd name="connsiteY26" fmla="*/ 27160 h 612618"/>
                <a:gd name="connsiteX27" fmla="*/ 860079 w 1032573"/>
                <a:gd name="connsiteY27" fmla="*/ 0 h 612618"/>
                <a:gd name="connsiteX28" fmla="*/ 817830 w 1032573"/>
                <a:gd name="connsiteY28" fmla="*/ 21125 h 612618"/>
                <a:gd name="connsiteX29" fmla="*/ 754456 w 1032573"/>
                <a:gd name="connsiteY29" fmla="*/ 30178 h 612618"/>
                <a:gd name="connsiteX30" fmla="*/ 715224 w 1032573"/>
                <a:gd name="connsiteY30" fmla="*/ 30178 h 612618"/>
                <a:gd name="connsiteX31" fmla="*/ 654867 w 1032573"/>
                <a:gd name="connsiteY31" fmla="*/ 36214 h 612618"/>
                <a:gd name="connsiteX32" fmla="*/ 618654 w 1032573"/>
                <a:gd name="connsiteY32" fmla="*/ 18107 h 612618"/>
                <a:gd name="connsiteX33" fmla="*/ 582440 w 1032573"/>
                <a:gd name="connsiteY33" fmla="*/ 6036 h 612618"/>
                <a:gd name="connsiteX34" fmla="*/ 561315 w 1032573"/>
                <a:gd name="connsiteY34" fmla="*/ 27160 h 612618"/>
                <a:gd name="connsiteX35" fmla="*/ 576561 w 1032573"/>
                <a:gd name="connsiteY35" fmla="*/ 60356 h 612618"/>
                <a:gd name="connsiteX36" fmla="*/ 579579 w 1032573"/>
                <a:gd name="connsiteY36" fmla="*/ 79738 h 612618"/>
                <a:gd name="connsiteX37" fmla="*/ 546226 w 1032573"/>
                <a:gd name="connsiteY37" fmla="*/ 96570 h 612618"/>
                <a:gd name="connsiteX38" fmla="*/ 513030 w 1032573"/>
                <a:gd name="connsiteY38" fmla="*/ 108641 h 612618"/>
                <a:gd name="connsiteX39" fmla="*/ 459502 w 1032573"/>
                <a:gd name="connsiteY39" fmla="*/ 112933 h 612618"/>
                <a:gd name="connsiteX40" fmla="*/ 464267 w 1032573"/>
                <a:gd name="connsiteY40" fmla="*/ 181069 h 612618"/>
                <a:gd name="connsiteX41" fmla="*/ 437584 w 1032573"/>
                <a:gd name="connsiteY41" fmla="*/ 214265 h 612618"/>
                <a:gd name="connsiteX42" fmla="*/ 416459 w 1032573"/>
                <a:gd name="connsiteY42" fmla="*/ 247461 h 612618"/>
                <a:gd name="connsiteX43" fmla="*/ 392317 w 1032573"/>
                <a:gd name="connsiteY43" fmla="*/ 259533 h 612618"/>
                <a:gd name="connsiteX44" fmla="*/ 353242 w 1032573"/>
                <a:gd name="connsiteY44" fmla="*/ 223486 h 612618"/>
                <a:gd name="connsiteX45" fmla="*/ 356103 w 1032573"/>
                <a:gd name="connsiteY45" fmla="*/ 298764 h 612618"/>
                <a:gd name="connsiteX46" fmla="*/ 334978 w 1032573"/>
                <a:gd name="connsiteY46" fmla="*/ 286693 h 612618"/>
                <a:gd name="connsiteX47" fmla="*/ 316871 w 1032573"/>
                <a:gd name="connsiteY47" fmla="*/ 283675 h 612618"/>
                <a:gd name="connsiteX48" fmla="*/ 277640 w 1032573"/>
                <a:gd name="connsiteY48" fmla="*/ 302586 h 612618"/>
                <a:gd name="connsiteX49" fmla="*/ 262551 w 1032573"/>
                <a:gd name="connsiteY49" fmla="*/ 317039 h 612618"/>
                <a:gd name="connsiteX50" fmla="*/ 229355 w 1032573"/>
                <a:gd name="connsiteY50" fmla="*/ 334978 h 612618"/>
                <a:gd name="connsiteX51" fmla="*/ 211248 w 1032573"/>
                <a:gd name="connsiteY51" fmla="*/ 316871 h 612618"/>
                <a:gd name="connsiteX52" fmla="*/ 196158 w 1032573"/>
                <a:gd name="connsiteY52" fmla="*/ 310836 h 612618"/>
                <a:gd name="connsiteX53" fmla="*/ 132784 w 1032573"/>
                <a:gd name="connsiteY53" fmla="*/ 350067 h 612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032573" h="612618">
                  <a:moveTo>
                    <a:pt x="132784" y="350067"/>
                  </a:moveTo>
                  <a:lnTo>
                    <a:pt x="141838" y="425513"/>
                  </a:lnTo>
                  <a:lnTo>
                    <a:pt x="93553" y="452673"/>
                  </a:lnTo>
                  <a:lnTo>
                    <a:pt x="90535" y="488887"/>
                  </a:lnTo>
                  <a:lnTo>
                    <a:pt x="90535" y="503976"/>
                  </a:lnTo>
                  <a:lnTo>
                    <a:pt x="0" y="482851"/>
                  </a:lnTo>
                  <a:lnTo>
                    <a:pt x="0" y="570368"/>
                  </a:lnTo>
                  <a:lnTo>
                    <a:pt x="15089" y="612618"/>
                  </a:lnTo>
                  <a:lnTo>
                    <a:pt x="75446" y="609600"/>
                  </a:lnTo>
                  <a:lnTo>
                    <a:pt x="135802" y="597529"/>
                  </a:lnTo>
                  <a:lnTo>
                    <a:pt x="208230" y="564333"/>
                  </a:lnTo>
                  <a:lnTo>
                    <a:pt x="310836" y="549243"/>
                  </a:lnTo>
                  <a:lnTo>
                    <a:pt x="449656" y="522083"/>
                  </a:lnTo>
                  <a:lnTo>
                    <a:pt x="624689" y="488887"/>
                  </a:lnTo>
                  <a:lnTo>
                    <a:pt x="781616" y="464744"/>
                  </a:lnTo>
                  <a:lnTo>
                    <a:pt x="841972" y="446637"/>
                  </a:lnTo>
                  <a:lnTo>
                    <a:pt x="919330" y="406769"/>
                  </a:lnTo>
                  <a:lnTo>
                    <a:pt x="951092" y="356103"/>
                  </a:lnTo>
                  <a:lnTo>
                    <a:pt x="969834" y="308924"/>
                  </a:lnTo>
                  <a:lnTo>
                    <a:pt x="999378" y="281763"/>
                  </a:lnTo>
                  <a:lnTo>
                    <a:pt x="1032573" y="255709"/>
                  </a:lnTo>
                  <a:lnTo>
                    <a:pt x="1018118" y="180601"/>
                  </a:lnTo>
                  <a:lnTo>
                    <a:pt x="959667" y="156927"/>
                  </a:lnTo>
                  <a:lnTo>
                    <a:pt x="932507" y="57338"/>
                  </a:lnTo>
                  <a:lnTo>
                    <a:pt x="917418" y="54321"/>
                  </a:lnTo>
                  <a:lnTo>
                    <a:pt x="899311" y="33196"/>
                  </a:lnTo>
                  <a:lnTo>
                    <a:pt x="878186" y="27160"/>
                  </a:lnTo>
                  <a:lnTo>
                    <a:pt x="860079" y="0"/>
                  </a:lnTo>
                  <a:lnTo>
                    <a:pt x="817830" y="21125"/>
                  </a:lnTo>
                  <a:lnTo>
                    <a:pt x="754456" y="30178"/>
                  </a:lnTo>
                  <a:lnTo>
                    <a:pt x="715224" y="30178"/>
                  </a:lnTo>
                  <a:lnTo>
                    <a:pt x="654867" y="36214"/>
                  </a:lnTo>
                  <a:lnTo>
                    <a:pt x="618654" y="18107"/>
                  </a:lnTo>
                  <a:lnTo>
                    <a:pt x="582440" y="6036"/>
                  </a:lnTo>
                  <a:lnTo>
                    <a:pt x="561315" y="27160"/>
                  </a:lnTo>
                  <a:lnTo>
                    <a:pt x="576561" y="60356"/>
                  </a:lnTo>
                  <a:lnTo>
                    <a:pt x="579579" y="79738"/>
                  </a:lnTo>
                  <a:lnTo>
                    <a:pt x="546226" y="96570"/>
                  </a:lnTo>
                  <a:lnTo>
                    <a:pt x="513030" y="108641"/>
                  </a:lnTo>
                  <a:lnTo>
                    <a:pt x="459502" y="112933"/>
                  </a:lnTo>
                  <a:lnTo>
                    <a:pt x="464267" y="181069"/>
                  </a:lnTo>
                  <a:lnTo>
                    <a:pt x="437584" y="214265"/>
                  </a:lnTo>
                  <a:lnTo>
                    <a:pt x="416459" y="247461"/>
                  </a:lnTo>
                  <a:lnTo>
                    <a:pt x="392317" y="259533"/>
                  </a:lnTo>
                  <a:lnTo>
                    <a:pt x="353242" y="223486"/>
                  </a:lnTo>
                  <a:lnTo>
                    <a:pt x="356103" y="298764"/>
                  </a:lnTo>
                  <a:lnTo>
                    <a:pt x="334978" y="286693"/>
                  </a:lnTo>
                  <a:lnTo>
                    <a:pt x="316871" y="283675"/>
                  </a:lnTo>
                  <a:lnTo>
                    <a:pt x="277640" y="302586"/>
                  </a:lnTo>
                  <a:lnTo>
                    <a:pt x="262551" y="317039"/>
                  </a:lnTo>
                  <a:lnTo>
                    <a:pt x="229355" y="334978"/>
                  </a:lnTo>
                  <a:lnTo>
                    <a:pt x="211248" y="316871"/>
                  </a:lnTo>
                  <a:lnTo>
                    <a:pt x="196158" y="310836"/>
                  </a:lnTo>
                  <a:lnTo>
                    <a:pt x="132784" y="35006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6" name="Freeform 115"/>
            <p:cNvSpPr/>
            <p:nvPr/>
          </p:nvSpPr>
          <p:spPr>
            <a:xfrm>
              <a:off x="3729279" y="3342533"/>
              <a:ext cx="824015" cy="361641"/>
            </a:xfrm>
            <a:custGeom>
              <a:avLst/>
              <a:gdLst>
                <a:gd name="connsiteX0" fmla="*/ 129766 w 1273521"/>
                <a:gd name="connsiteY0" fmla="*/ 238408 h 585458"/>
                <a:gd name="connsiteX1" fmla="*/ 63374 w 1273521"/>
                <a:gd name="connsiteY1" fmla="*/ 331961 h 585458"/>
                <a:gd name="connsiteX2" fmla="*/ 63374 w 1273521"/>
                <a:gd name="connsiteY2" fmla="*/ 368174 h 585458"/>
                <a:gd name="connsiteX3" fmla="*/ 33196 w 1273521"/>
                <a:gd name="connsiteY3" fmla="*/ 452673 h 585458"/>
                <a:gd name="connsiteX4" fmla="*/ 33196 w 1273521"/>
                <a:gd name="connsiteY4" fmla="*/ 488887 h 585458"/>
                <a:gd name="connsiteX5" fmla="*/ 6036 w 1273521"/>
                <a:gd name="connsiteY5" fmla="*/ 525101 h 585458"/>
                <a:gd name="connsiteX6" fmla="*/ 6036 w 1273521"/>
                <a:gd name="connsiteY6" fmla="*/ 555279 h 585458"/>
                <a:gd name="connsiteX7" fmla="*/ 0 w 1273521"/>
                <a:gd name="connsiteY7" fmla="*/ 585458 h 585458"/>
                <a:gd name="connsiteX8" fmla="*/ 283675 w 1273521"/>
                <a:gd name="connsiteY8" fmla="*/ 540190 h 585458"/>
                <a:gd name="connsiteX9" fmla="*/ 328942 w 1273521"/>
                <a:gd name="connsiteY9" fmla="*/ 549244 h 585458"/>
                <a:gd name="connsiteX10" fmla="*/ 334978 w 1273521"/>
                <a:gd name="connsiteY10" fmla="*/ 531137 h 585458"/>
                <a:gd name="connsiteX11" fmla="*/ 365156 w 1273521"/>
                <a:gd name="connsiteY11" fmla="*/ 525101 h 585458"/>
                <a:gd name="connsiteX12" fmla="*/ 419477 w 1273521"/>
                <a:gd name="connsiteY12" fmla="*/ 497941 h 585458"/>
                <a:gd name="connsiteX13" fmla="*/ 452673 w 1273521"/>
                <a:gd name="connsiteY13" fmla="*/ 516048 h 585458"/>
                <a:gd name="connsiteX14" fmla="*/ 932507 w 1273521"/>
                <a:gd name="connsiteY14" fmla="*/ 413442 h 585458"/>
                <a:gd name="connsiteX15" fmla="*/ 905346 w 1273521"/>
                <a:gd name="connsiteY15" fmla="*/ 371192 h 585458"/>
                <a:gd name="connsiteX16" fmla="*/ 941560 w 1273521"/>
                <a:gd name="connsiteY16" fmla="*/ 344032 h 585458"/>
                <a:gd name="connsiteX17" fmla="*/ 956649 w 1273521"/>
                <a:gd name="connsiteY17" fmla="*/ 307818 h 585458"/>
                <a:gd name="connsiteX18" fmla="*/ 1017006 w 1273521"/>
                <a:gd name="connsiteY18" fmla="*/ 250479 h 585458"/>
                <a:gd name="connsiteX19" fmla="*/ 1068309 w 1273521"/>
                <a:gd name="connsiteY19" fmla="*/ 220301 h 585458"/>
                <a:gd name="connsiteX20" fmla="*/ 1101505 w 1273521"/>
                <a:gd name="connsiteY20" fmla="*/ 187105 h 585458"/>
                <a:gd name="connsiteX21" fmla="*/ 1122630 w 1273521"/>
                <a:gd name="connsiteY21" fmla="*/ 144856 h 585458"/>
                <a:gd name="connsiteX22" fmla="*/ 1167897 w 1273521"/>
                <a:gd name="connsiteY22" fmla="*/ 141838 h 585458"/>
                <a:gd name="connsiteX23" fmla="*/ 1192040 w 1273521"/>
                <a:gd name="connsiteY23" fmla="*/ 108642 h 585458"/>
                <a:gd name="connsiteX24" fmla="*/ 1207129 w 1273521"/>
                <a:gd name="connsiteY24" fmla="*/ 90535 h 585458"/>
                <a:gd name="connsiteX25" fmla="*/ 1240325 w 1273521"/>
                <a:gd name="connsiteY25" fmla="*/ 96570 h 585458"/>
                <a:gd name="connsiteX26" fmla="*/ 1270503 w 1273521"/>
                <a:gd name="connsiteY26" fmla="*/ 57339 h 585458"/>
                <a:gd name="connsiteX27" fmla="*/ 1273521 w 1273521"/>
                <a:gd name="connsiteY27" fmla="*/ 0 h 585458"/>
                <a:gd name="connsiteX28" fmla="*/ 980792 w 1273521"/>
                <a:gd name="connsiteY28" fmla="*/ 78463 h 585458"/>
                <a:gd name="connsiteX29" fmla="*/ 334978 w 1273521"/>
                <a:gd name="connsiteY29" fmla="*/ 199176 h 585458"/>
                <a:gd name="connsiteX30" fmla="*/ 274622 w 1273521"/>
                <a:gd name="connsiteY30" fmla="*/ 235390 h 585458"/>
                <a:gd name="connsiteX31" fmla="*/ 235390 w 1273521"/>
                <a:gd name="connsiteY31" fmla="*/ 238408 h 585458"/>
                <a:gd name="connsiteX32" fmla="*/ 129766 w 1273521"/>
                <a:gd name="connsiteY32" fmla="*/ 238408 h 585458"/>
                <a:gd name="connsiteX0" fmla="*/ 129766 w 1278631"/>
                <a:gd name="connsiteY0" fmla="*/ 252687 h 599737"/>
                <a:gd name="connsiteX1" fmla="*/ 63374 w 1278631"/>
                <a:gd name="connsiteY1" fmla="*/ 346240 h 599737"/>
                <a:gd name="connsiteX2" fmla="*/ 63374 w 1278631"/>
                <a:gd name="connsiteY2" fmla="*/ 382453 h 599737"/>
                <a:gd name="connsiteX3" fmla="*/ 33196 w 1278631"/>
                <a:gd name="connsiteY3" fmla="*/ 466952 h 599737"/>
                <a:gd name="connsiteX4" fmla="*/ 33196 w 1278631"/>
                <a:gd name="connsiteY4" fmla="*/ 503166 h 599737"/>
                <a:gd name="connsiteX5" fmla="*/ 6036 w 1278631"/>
                <a:gd name="connsiteY5" fmla="*/ 539380 h 599737"/>
                <a:gd name="connsiteX6" fmla="*/ 6036 w 1278631"/>
                <a:gd name="connsiteY6" fmla="*/ 569558 h 599737"/>
                <a:gd name="connsiteX7" fmla="*/ 0 w 1278631"/>
                <a:gd name="connsiteY7" fmla="*/ 599737 h 599737"/>
                <a:gd name="connsiteX8" fmla="*/ 283675 w 1278631"/>
                <a:gd name="connsiteY8" fmla="*/ 554469 h 599737"/>
                <a:gd name="connsiteX9" fmla="*/ 328942 w 1278631"/>
                <a:gd name="connsiteY9" fmla="*/ 563523 h 599737"/>
                <a:gd name="connsiteX10" fmla="*/ 334978 w 1278631"/>
                <a:gd name="connsiteY10" fmla="*/ 545416 h 599737"/>
                <a:gd name="connsiteX11" fmla="*/ 365156 w 1278631"/>
                <a:gd name="connsiteY11" fmla="*/ 539380 h 599737"/>
                <a:gd name="connsiteX12" fmla="*/ 419477 w 1278631"/>
                <a:gd name="connsiteY12" fmla="*/ 512220 h 599737"/>
                <a:gd name="connsiteX13" fmla="*/ 452673 w 1278631"/>
                <a:gd name="connsiteY13" fmla="*/ 530327 h 599737"/>
                <a:gd name="connsiteX14" fmla="*/ 932507 w 1278631"/>
                <a:gd name="connsiteY14" fmla="*/ 427721 h 599737"/>
                <a:gd name="connsiteX15" fmla="*/ 905346 w 1278631"/>
                <a:gd name="connsiteY15" fmla="*/ 385471 h 599737"/>
                <a:gd name="connsiteX16" fmla="*/ 941560 w 1278631"/>
                <a:gd name="connsiteY16" fmla="*/ 358311 h 599737"/>
                <a:gd name="connsiteX17" fmla="*/ 956649 w 1278631"/>
                <a:gd name="connsiteY17" fmla="*/ 322097 h 599737"/>
                <a:gd name="connsiteX18" fmla="*/ 1017006 w 1278631"/>
                <a:gd name="connsiteY18" fmla="*/ 264758 h 599737"/>
                <a:gd name="connsiteX19" fmla="*/ 1068309 w 1278631"/>
                <a:gd name="connsiteY19" fmla="*/ 234580 h 599737"/>
                <a:gd name="connsiteX20" fmla="*/ 1101505 w 1278631"/>
                <a:gd name="connsiteY20" fmla="*/ 201384 h 599737"/>
                <a:gd name="connsiteX21" fmla="*/ 1122630 w 1278631"/>
                <a:gd name="connsiteY21" fmla="*/ 159135 h 599737"/>
                <a:gd name="connsiteX22" fmla="*/ 1167897 w 1278631"/>
                <a:gd name="connsiteY22" fmla="*/ 156117 h 599737"/>
                <a:gd name="connsiteX23" fmla="*/ 1192040 w 1278631"/>
                <a:gd name="connsiteY23" fmla="*/ 122921 h 599737"/>
                <a:gd name="connsiteX24" fmla="*/ 1207129 w 1278631"/>
                <a:gd name="connsiteY24" fmla="*/ 104814 h 599737"/>
                <a:gd name="connsiteX25" fmla="*/ 1240325 w 1278631"/>
                <a:gd name="connsiteY25" fmla="*/ 110849 h 599737"/>
                <a:gd name="connsiteX26" fmla="*/ 1270503 w 1278631"/>
                <a:gd name="connsiteY26" fmla="*/ 71618 h 599737"/>
                <a:gd name="connsiteX27" fmla="*/ 1278631 w 1278631"/>
                <a:gd name="connsiteY27" fmla="*/ 0 h 599737"/>
                <a:gd name="connsiteX28" fmla="*/ 980792 w 1278631"/>
                <a:gd name="connsiteY28" fmla="*/ 92742 h 599737"/>
                <a:gd name="connsiteX29" fmla="*/ 334978 w 1278631"/>
                <a:gd name="connsiteY29" fmla="*/ 213455 h 599737"/>
                <a:gd name="connsiteX30" fmla="*/ 274622 w 1278631"/>
                <a:gd name="connsiteY30" fmla="*/ 249669 h 599737"/>
                <a:gd name="connsiteX31" fmla="*/ 235390 w 1278631"/>
                <a:gd name="connsiteY31" fmla="*/ 252687 h 599737"/>
                <a:gd name="connsiteX32" fmla="*/ 129766 w 1278631"/>
                <a:gd name="connsiteY32" fmla="*/ 252687 h 599737"/>
                <a:gd name="connsiteX0" fmla="*/ 98837 w 1278631"/>
                <a:gd name="connsiteY0" fmla="*/ 262065 h 599737"/>
                <a:gd name="connsiteX1" fmla="*/ 63374 w 1278631"/>
                <a:gd name="connsiteY1" fmla="*/ 346240 h 599737"/>
                <a:gd name="connsiteX2" fmla="*/ 63374 w 1278631"/>
                <a:gd name="connsiteY2" fmla="*/ 382453 h 599737"/>
                <a:gd name="connsiteX3" fmla="*/ 33196 w 1278631"/>
                <a:gd name="connsiteY3" fmla="*/ 466952 h 599737"/>
                <a:gd name="connsiteX4" fmla="*/ 33196 w 1278631"/>
                <a:gd name="connsiteY4" fmla="*/ 503166 h 599737"/>
                <a:gd name="connsiteX5" fmla="*/ 6036 w 1278631"/>
                <a:gd name="connsiteY5" fmla="*/ 539380 h 599737"/>
                <a:gd name="connsiteX6" fmla="*/ 6036 w 1278631"/>
                <a:gd name="connsiteY6" fmla="*/ 569558 h 599737"/>
                <a:gd name="connsiteX7" fmla="*/ 0 w 1278631"/>
                <a:gd name="connsiteY7" fmla="*/ 599737 h 599737"/>
                <a:gd name="connsiteX8" fmla="*/ 283675 w 1278631"/>
                <a:gd name="connsiteY8" fmla="*/ 554469 h 599737"/>
                <a:gd name="connsiteX9" fmla="*/ 328942 w 1278631"/>
                <a:gd name="connsiteY9" fmla="*/ 563523 h 599737"/>
                <a:gd name="connsiteX10" fmla="*/ 334978 w 1278631"/>
                <a:gd name="connsiteY10" fmla="*/ 545416 h 599737"/>
                <a:gd name="connsiteX11" fmla="*/ 365156 w 1278631"/>
                <a:gd name="connsiteY11" fmla="*/ 539380 h 599737"/>
                <a:gd name="connsiteX12" fmla="*/ 419477 w 1278631"/>
                <a:gd name="connsiteY12" fmla="*/ 512220 h 599737"/>
                <a:gd name="connsiteX13" fmla="*/ 452673 w 1278631"/>
                <a:gd name="connsiteY13" fmla="*/ 530327 h 599737"/>
                <a:gd name="connsiteX14" fmla="*/ 932507 w 1278631"/>
                <a:gd name="connsiteY14" fmla="*/ 427721 h 599737"/>
                <a:gd name="connsiteX15" fmla="*/ 905346 w 1278631"/>
                <a:gd name="connsiteY15" fmla="*/ 385471 h 599737"/>
                <a:gd name="connsiteX16" fmla="*/ 941560 w 1278631"/>
                <a:gd name="connsiteY16" fmla="*/ 358311 h 599737"/>
                <a:gd name="connsiteX17" fmla="*/ 956649 w 1278631"/>
                <a:gd name="connsiteY17" fmla="*/ 322097 h 599737"/>
                <a:gd name="connsiteX18" fmla="*/ 1017006 w 1278631"/>
                <a:gd name="connsiteY18" fmla="*/ 264758 h 599737"/>
                <a:gd name="connsiteX19" fmla="*/ 1068309 w 1278631"/>
                <a:gd name="connsiteY19" fmla="*/ 234580 h 599737"/>
                <a:gd name="connsiteX20" fmla="*/ 1101505 w 1278631"/>
                <a:gd name="connsiteY20" fmla="*/ 201384 h 599737"/>
                <a:gd name="connsiteX21" fmla="*/ 1122630 w 1278631"/>
                <a:gd name="connsiteY21" fmla="*/ 159135 h 599737"/>
                <a:gd name="connsiteX22" fmla="*/ 1167897 w 1278631"/>
                <a:gd name="connsiteY22" fmla="*/ 156117 h 599737"/>
                <a:gd name="connsiteX23" fmla="*/ 1192040 w 1278631"/>
                <a:gd name="connsiteY23" fmla="*/ 122921 h 599737"/>
                <a:gd name="connsiteX24" fmla="*/ 1207129 w 1278631"/>
                <a:gd name="connsiteY24" fmla="*/ 104814 h 599737"/>
                <a:gd name="connsiteX25" fmla="*/ 1240325 w 1278631"/>
                <a:gd name="connsiteY25" fmla="*/ 110849 h 599737"/>
                <a:gd name="connsiteX26" fmla="*/ 1270503 w 1278631"/>
                <a:gd name="connsiteY26" fmla="*/ 71618 h 599737"/>
                <a:gd name="connsiteX27" fmla="*/ 1278631 w 1278631"/>
                <a:gd name="connsiteY27" fmla="*/ 0 h 599737"/>
                <a:gd name="connsiteX28" fmla="*/ 980792 w 1278631"/>
                <a:gd name="connsiteY28" fmla="*/ 92742 h 599737"/>
                <a:gd name="connsiteX29" fmla="*/ 334978 w 1278631"/>
                <a:gd name="connsiteY29" fmla="*/ 213455 h 599737"/>
                <a:gd name="connsiteX30" fmla="*/ 274622 w 1278631"/>
                <a:gd name="connsiteY30" fmla="*/ 249669 h 599737"/>
                <a:gd name="connsiteX31" fmla="*/ 235390 w 1278631"/>
                <a:gd name="connsiteY31" fmla="*/ 252687 h 599737"/>
                <a:gd name="connsiteX32" fmla="*/ 98837 w 1278631"/>
                <a:gd name="connsiteY32" fmla="*/ 262065 h 599737"/>
                <a:gd name="connsiteX0" fmla="*/ 98837 w 1278631"/>
                <a:gd name="connsiteY0" fmla="*/ 262065 h 599737"/>
                <a:gd name="connsiteX1" fmla="*/ 63374 w 1278631"/>
                <a:gd name="connsiteY1" fmla="*/ 346240 h 599737"/>
                <a:gd name="connsiteX2" fmla="*/ 63374 w 1278631"/>
                <a:gd name="connsiteY2" fmla="*/ 382453 h 599737"/>
                <a:gd name="connsiteX3" fmla="*/ 33196 w 1278631"/>
                <a:gd name="connsiteY3" fmla="*/ 466952 h 599737"/>
                <a:gd name="connsiteX4" fmla="*/ 33196 w 1278631"/>
                <a:gd name="connsiteY4" fmla="*/ 503166 h 599737"/>
                <a:gd name="connsiteX5" fmla="*/ 6036 w 1278631"/>
                <a:gd name="connsiteY5" fmla="*/ 539380 h 599737"/>
                <a:gd name="connsiteX6" fmla="*/ 6036 w 1278631"/>
                <a:gd name="connsiteY6" fmla="*/ 569558 h 599737"/>
                <a:gd name="connsiteX7" fmla="*/ 0 w 1278631"/>
                <a:gd name="connsiteY7" fmla="*/ 599737 h 599737"/>
                <a:gd name="connsiteX8" fmla="*/ 283675 w 1278631"/>
                <a:gd name="connsiteY8" fmla="*/ 554469 h 599737"/>
                <a:gd name="connsiteX9" fmla="*/ 328942 w 1278631"/>
                <a:gd name="connsiteY9" fmla="*/ 563523 h 599737"/>
                <a:gd name="connsiteX10" fmla="*/ 334978 w 1278631"/>
                <a:gd name="connsiteY10" fmla="*/ 545416 h 599737"/>
                <a:gd name="connsiteX11" fmla="*/ 365156 w 1278631"/>
                <a:gd name="connsiteY11" fmla="*/ 539380 h 599737"/>
                <a:gd name="connsiteX12" fmla="*/ 419477 w 1278631"/>
                <a:gd name="connsiteY12" fmla="*/ 512220 h 599737"/>
                <a:gd name="connsiteX13" fmla="*/ 443268 w 1278631"/>
                <a:gd name="connsiteY13" fmla="*/ 539549 h 599737"/>
                <a:gd name="connsiteX14" fmla="*/ 932507 w 1278631"/>
                <a:gd name="connsiteY14" fmla="*/ 427721 h 599737"/>
                <a:gd name="connsiteX15" fmla="*/ 905346 w 1278631"/>
                <a:gd name="connsiteY15" fmla="*/ 385471 h 599737"/>
                <a:gd name="connsiteX16" fmla="*/ 941560 w 1278631"/>
                <a:gd name="connsiteY16" fmla="*/ 358311 h 599737"/>
                <a:gd name="connsiteX17" fmla="*/ 956649 w 1278631"/>
                <a:gd name="connsiteY17" fmla="*/ 322097 h 599737"/>
                <a:gd name="connsiteX18" fmla="*/ 1017006 w 1278631"/>
                <a:gd name="connsiteY18" fmla="*/ 264758 h 599737"/>
                <a:gd name="connsiteX19" fmla="*/ 1068309 w 1278631"/>
                <a:gd name="connsiteY19" fmla="*/ 234580 h 599737"/>
                <a:gd name="connsiteX20" fmla="*/ 1101505 w 1278631"/>
                <a:gd name="connsiteY20" fmla="*/ 201384 h 599737"/>
                <a:gd name="connsiteX21" fmla="*/ 1122630 w 1278631"/>
                <a:gd name="connsiteY21" fmla="*/ 159135 h 599737"/>
                <a:gd name="connsiteX22" fmla="*/ 1167897 w 1278631"/>
                <a:gd name="connsiteY22" fmla="*/ 156117 h 599737"/>
                <a:gd name="connsiteX23" fmla="*/ 1192040 w 1278631"/>
                <a:gd name="connsiteY23" fmla="*/ 122921 h 599737"/>
                <a:gd name="connsiteX24" fmla="*/ 1207129 w 1278631"/>
                <a:gd name="connsiteY24" fmla="*/ 104814 h 599737"/>
                <a:gd name="connsiteX25" fmla="*/ 1240325 w 1278631"/>
                <a:gd name="connsiteY25" fmla="*/ 110849 h 599737"/>
                <a:gd name="connsiteX26" fmla="*/ 1270503 w 1278631"/>
                <a:gd name="connsiteY26" fmla="*/ 71618 h 599737"/>
                <a:gd name="connsiteX27" fmla="*/ 1278631 w 1278631"/>
                <a:gd name="connsiteY27" fmla="*/ 0 h 599737"/>
                <a:gd name="connsiteX28" fmla="*/ 980792 w 1278631"/>
                <a:gd name="connsiteY28" fmla="*/ 92742 h 599737"/>
                <a:gd name="connsiteX29" fmla="*/ 334978 w 1278631"/>
                <a:gd name="connsiteY29" fmla="*/ 213455 h 599737"/>
                <a:gd name="connsiteX30" fmla="*/ 274622 w 1278631"/>
                <a:gd name="connsiteY30" fmla="*/ 249669 h 599737"/>
                <a:gd name="connsiteX31" fmla="*/ 235390 w 1278631"/>
                <a:gd name="connsiteY31" fmla="*/ 252687 h 599737"/>
                <a:gd name="connsiteX32" fmla="*/ 98837 w 1278631"/>
                <a:gd name="connsiteY32" fmla="*/ 262065 h 599737"/>
                <a:gd name="connsiteX0" fmla="*/ 98837 w 1278631"/>
                <a:gd name="connsiteY0" fmla="*/ 262065 h 599737"/>
                <a:gd name="connsiteX1" fmla="*/ 63374 w 1278631"/>
                <a:gd name="connsiteY1" fmla="*/ 346240 h 599737"/>
                <a:gd name="connsiteX2" fmla="*/ 63374 w 1278631"/>
                <a:gd name="connsiteY2" fmla="*/ 382453 h 599737"/>
                <a:gd name="connsiteX3" fmla="*/ 33196 w 1278631"/>
                <a:gd name="connsiteY3" fmla="*/ 466952 h 599737"/>
                <a:gd name="connsiteX4" fmla="*/ 33196 w 1278631"/>
                <a:gd name="connsiteY4" fmla="*/ 503166 h 599737"/>
                <a:gd name="connsiteX5" fmla="*/ 6036 w 1278631"/>
                <a:gd name="connsiteY5" fmla="*/ 539380 h 599737"/>
                <a:gd name="connsiteX6" fmla="*/ 6036 w 1278631"/>
                <a:gd name="connsiteY6" fmla="*/ 569558 h 599737"/>
                <a:gd name="connsiteX7" fmla="*/ 0 w 1278631"/>
                <a:gd name="connsiteY7" fmla="*/ 599737 h 599737"/>
                <a:gd name="connsiteX8" fmla="*/ 283675 w 1278631"/>
                <a:gd name="connsiteY8" fmla="*/ 554469 h 599737"/>
                <a:gd name="connsiteX9" fmla="*/ 328942 w 1278631"/>
                <a:gd name="connsiteY9" fmla="*/ 563523 h 599737"/>
                <a:gd name="connsiteX10" fmla="*/ 334978 w 1278631"/>
                <a:gd name="connsiteY10" fmla="*/ 545416 h 599737"/>
                <a:gd name="connsiteX11" fmla="*/ 365156 w 1278631"/>
                <a:gd name="connsiteY11" fmla="*/ 539380 h 599737"/>
                <a:gd name="connsiteX12" fmla="*/ 412445 w 1278631"/>
                <a:gd name="connsiteY12" fmla="*/ 511932 h 599737"/>
                <a:gd name="connsiteX13" fmla="*/ 443268 w 1278631"/>
                <a:gd name="connsiteY13" fmla="*/ 539549 h 599737"/>
                <a:gd name="connsiteX14" fmla="*/ 932507 w 1278631"/>
                <a:gd name="connsiteY14" fmla="*/ 427721 h 599737"/>
                <a:gd name="connsiteX15" fmla="*/ 905346 w 1278631"/>
                <a:gd name="connsiteY15" fmla="*/ 385471 h 599737"/>
                <a:gd name="connsiteX16" fmla="*/ 941560 w 1278631"/>
                <a:gd name="connsiteY16" fmla="*/ 358311 h 599737"/>
                <a:gd name="connsiteX17" fmla="*/ 956649 w 1278631"/>
                <a:gd name="connsiteY17" fmla="*/ 322097 h 599737"/>
                <a:gd name="connsiteX18" fmla="*/ 1017006 w 1278631"/>
                <a:gd name="connsiteY18" fmla="*/ 264758 h 599737"/>
                <a:gd name="connsiteX19" fmla="*/ 1068309 w 1278631"/>
                <a:gd name="connsiteY19" fmla="*/ 234580 h 599737"/>
                <a:gd name="connsiteX20" fmla="*/ 1101505 w 1278631"/>
                <a:gd name="connsiteY20" fmla="*/ 201384 h 599737"/>
                <a:gd name="connsiteX21" fmla="*/ 1122630 w 1278631"/>
                <a:gd name="connsiteY21" fmla="*/ 159135 h 599737"/>
                <a:gd name="connsiteX22" fmla="*/ 1167897 w 1278631"/>
                <a:gd name="connsiteY22" fmla="*/ 156117 h 599737"/>
                <a:gd name="connsiteX23" fmla="*/ 1192040 w 1278631"/>
                <a:gd name="connsiteY23" fmla="*/ 122921 h 599737"/>
                <a:gd name="connsiteX24" fmla="*/ 1207129 w 1278631"/>
                <a:gd name="connsiteY24" fmla="*/ 104814 h 599737"/>
                <a:gd name="connsiteX25" fmla="*/ 1240325 w 1278631"/>
                <a:gd name="connsiteY25" fmla="*/ 110849 h 599737"/>
                <a:gd name="connsiteX26" fmla="*/ 1270503 w 1278631"/>
                <a:gd name="connsiteY26" fmla="*/ 71618 h 599737"/>
                <a:gd name="connsiteX27" fmla="*/ 1278631 w 1278631"/>
                <a:gd name="connsiteY27" fmla="*/ 0 h 599737"/>
                <a:gd name="connsiteX28" fmla="*/ 980792 w 1278631"/>
                <a:gd name="connsiteY28" fmla="*/ 92742 h 599737"/>
                <a:gd name="connsiteX29" fmla="*/ 334978 w 1278631"/>
                <a:gd name="connsiteY29" fmla="*/ 213455 h 599737"/>
                <a:gd name="connsiteX30" fmla="*/ 274622 w 1278631"/>
                <a:gd name="connsiteY30" fmla="*/ 249669 h 599737"/>
                <a:gd name="connsiteX31" fmla="*/ 235390 w 1278631"/>
                <a:gd name="connsiteY31" fmla="*/ 252687 h 599737"/>
                <a:gd name="connsiteX32" fmla="*/ 98837 w 1278631"/>
                <a:gd name="connsiteY32" fmla="*/ 262065 h 599737"/>
                <a:gd name="connsiteX0" fmla="*/ 98837 w 1278631"/>
                <a:gd name="connsiteY0" fmla="*/ 262065 h 599737"/>
                <a:gd name="connsiteX1" fmla="*/ 63374 w 1278631"/>
                <a:gd name="connsiteY1" fmla="*/ 346240 h 599737"/>
                <a:gd name="connsiteX2" fmla="*/ 63374 w 1278631"/>
                <a:gd name="connsiteY2" fmla="*/ 382453 h 599737"/>
                <a:gd name="connsiteX3" fmla="*/ 33196 w 1278631"/>
                <a:gd name="connsiteY3" fmla="*/ 466952 h 599737"/>
                <a:gd name="connsiteX4" fmla="*/ 33196 w 1278631"/>
                <a:gd name="connsiteY4" fmla="*/ 503166 h 599737"/>
                <a:gd name="connsiteX5" fmla="*/ 6036 w 1278631"/>
                <a:gd name="connsiteY5" fmla="*/ 539380 h 599737"/>
                <a:gd name="connsiteX6" fmla="*/ 6036 w 1278631"/>
                <a:gd name="connsiteY6" fmla="*/ 569558 h 599737"/>
                <a:gd name="connsiteX7" fmla="*/ 0 w 1278631"/>
                <a:gd name="connsiteY7" fmla="*/ 599737 h 599737"/>
                <a:gd name="connsiteX8" fmla="*/ 283675 w 1278631"/>
                <a:gd name="connsiteY8" fmla="*/ 554469 h 599737"/>
                <a:gd name="connsiteX9" fmla="*/ 328942 w 1278631"/>
                <a:gd name="connsiteY9" fmla="*/ 563523 h 599737"/>
                <a:gd name="connsiteX10" fmla="*/ 334978 w 1278631"/>
                <a:gd name="connsiteY10" fmla="*/ 545416 h 599737"/>
                <a:gd name="connsiteX11" fmla="*/ 365156 w 1278631"/>
                <a:gd name="connsiteY11" fmla="*/ 539380 h 599737"/>
                <a:gd name="connsiteX12" fmla="*/ 414939 w 1278631"/>
                <a:gd name="connsiteY12" fmla="*/ 521164 h 599737"/>
                <a:gd name="connsiteX13" fmla="*/ 443268 w 1278631"/>
                <a:gd name="connsiteY13" fmla="*/ 539549 h 599737"/>
                <a:gd name="connsiteX14" fmla="*/ 932507 w 1278631"/>
                <a:gd name="connsiteY14" fmla="*/ 427721 h 599737"/>
                <a:gd name="connsiteX15" fmla="*/ 905346 w 1278631"/>
                <a:gd name="connsiteY15" fmla="*/ 385471 h 599737"/>
                <a:gd name="connsiteX16" fmla="*/ 941560 w 1278631"/>
                <a:gd name="connsiteY16" fmla="*/ 358311 h 599737"/>
                <a:gd name="connsiteX17" fmla="*/ 956649 w 1278631"/>
                <a:gd name="connsiteY17" fmla="*/ 322097 h 599737"/>
                <a:gd name="connsiteX18" fmla="*/ 1017006 w 1278631"/>
                <a:gd name="connsiteY18" fmla="*/ 264758 h 599737"/>
                <a:gd name="connsiteX19" fmla="*/ 1068309 w 1278631"/>
                <a:gd name="connsiteY19" fmla="*/ 234580 h 599737"/>
                <a:gd name="connsiteX20" fmla="*/ 1101505 w 1278631"/>
                <a:gd name="connsiteY20" fmla="*/ 201384 h 599737"/>
                <a:gd name="connsiteX21" fmla="*/ 1122630 w 1278631"/>
                <a:gd name="connsiteY21" fmla="*/ 159135 h 599737"/>
                <a:gd name="connsiteX22" fmla="*/ 1167897 w 1278631"/>
                <a:gd name="connsiteY22" fmla="*/ 156117 h 599737"/>
                <a:gd name="connsiteX23" fmla="*/ 1192040 w 1278631"/>
                <a:gd name="connsiteY23" fmla="*/ 122921 h 599737"/>
                <a:gd name="connsiteX24" fmla="*/ 1207129 w 1278631"/>
                <a:gd name="connsiteY24" fmla="*/ 104814 h 599737"/>
                <a:gd name="connsiteX25" fmla="*/ 1240325 w 1278631"/>
                <a:gd name="connsiteY25" fmla="*/ 110849 h 599737"/>
                <a:gd name="connsiteX26" fmla="*/ 1270503 w 1278631"/>
                <a:gd name="connsiteY26" fmla="*/ 71618 h 599737"/>
                <a:gd name="connsiteX27" fmla="*/ 1278631 w 1278631"/>
                <a:gd name="connsiteY27" fmla="*/ 0 h 599737"/>
                <a:gd name="connsiteX28" fmla="*/ 980792 w 1278631"/>
                <a:gd name="connsiteY28" fmla="*/ 92742 h 599737"/>
                <a:gd name="connsiteX29" fmla="*/ 334978 w 1278631"/>
                <a:gd name="connsiteY29" fmla="*/ 213455 h 599737"/>
                <a:gd name="connsiteX30" fmla="*/ 274622 w 1278631"/>
                <a:gd name="connsiteY30" fmla="*/ 249669 h 599737"/>
                <a:gd name="connsiteX31" fmla="*/ 235390 w 1278631"/>
                <a:gd name="connsiteY31" fmla="*/ 252687 h 599737"/>
                <a:gd name="connsiteX32" fmla="*/ 98837 w 1278631"/>
                <a:gd name="connsiteY32" fmla="*/ 262065 h 599737"/>
                <a:gd name="connsiteX0" fmla="*/ 98837 w 1278631"/>
                <a:gd name="connsiteY0" fmla="*/ 262065 h 599737"/>
                <a:gd name="connsiteX1" fmla="*/ 63374 w 1278631"/>
                <a:gd name="connsiteY1" fmla="*/ 346240 h 599737"/>
                <a:gd name="connsiteX2" fmla="*/ 63374 w 1278631"/>
                <a:gd name="connsiteY2" fmla="*/ 382453 h 599737"/>
                <a:gd name="connsiteX3" fmla="*/ 33196 w 1278631"/>
                <a:gd name="connsiteY3" fmla="*/ 466952 h 599737"/>
                <a:gd name="connsiteX4" fmla="*/ 33196 w 1278631"/>
                <a:gd name="connsiteY4" fmla="*/ 503166 h 599737"/>
                <a:gd name="connsiteX5" fmla="*/ 6036 w 1278631"/>
                <a:gd name="connsiteY5" fmla="*/ 539380 h 599737"/>
                <a:gd name="connsiteX6" fmla="*/ 6036 w 1278631"/>
                <a:gd name="connsiteY6" fmla="*/ 569558 h 599737"/>
                <a:gd name="connsiteX7" fmla="*/ 0 w 1278631"/>
                <a:gd name="connsiteY7" fmla="*/ 599737 h 599737"/>
                <a:gd name="connsiteX8" fmla="*/ 283675 w 1278631"/>
                <a:gd name="connsiteY8" fmla="*/ 554469 h 599737"/>
                <a:gd name="connsiteX9" fmla="*/ 328942 w 1278631"/>
                <a:gd name="connsiteY9" fmla="*/ 563523 h 599737"/>
                <a:gd name="connsiteX10" fmla="*/ 334978 w 1278631"/>
                <a:gd name="connsiteY10" fmla="*/ 545416 h 599737"/>
                <a:gd name="connsiteX11" fmla="*/ 365156 w 1278631"/>
                <a:gd name="connsiteY11" fmla="*/ 539380 h 599737"/>
                <a:gd name="connsiteX12" fmla="*/ 414939 w 1278631"/>
                <a:gd name="connsiteY12" fmla="*/ 521164 h 599737"/>
                <a:gd name="connsiteX13" fmla="*/ 443268 w 1278631"/>
                <a:gd name="connsiteY13" fmla="*/ 539549 h 599737"/>
                <a:gd name="connsiteX14" fmla="*/ 932507 w 1278631"/>
                <a:gd name="connsiteY14" fmla="*/ 427721 h 599737"/>
                <a:gd name="connsiteX15" fmla="*/ 905346 w 1278631"/>
                <a:gd name="connsiteY15" fmla="*/ 385471 h 599737"/>
                <a:gd name="connsiteX16" fmla="*/ 941560 w 1278631"/>
                <a:gd name="connsiteY16" fmla="*/ 358311 h 599737"/>
                <a:gd name="connsiteX17" fmla="*/ 956649 w 1278631"/>
                <a:gd name="connsiteY17" fmla="*/ 322097 h 599737"/>
                <a:gd name="connsiteX18" fmla="*/ 1017006 w 1278631"/>
                <a:gd name="connsiteY18" fmla="*/ 264758 h 599737"/>
                <a:gd name="connsiteX19" fmla="*/ 1068309 w 1278631"/>
                <a:gd name="connsiteY19" fmla="*/ 234580 h 599737"/>
                <a:gd name="connsiteX20" fmla="*/ 1101505 w 1278631"/>
                <a:gd name="connsiteY20" fmla="*/ 201384 h 599737"/>
                <a:gd name="connsiteX21" fmla="*/ 1141254 w 1278631"/>
                <a:gd name="connsiteY21" fmla="*/ 170765 h 599737"/>
                <a:gd name="connsiteX22" fmla="*/ 1167897 w 1278631"/>
                <a:gd name="connsiteY22" fmla="*/ 156117 h 599737"/>
                <a:gd name="connsiteX23" fmla="*/ 1192040 w 1278631"/>
                <a:gd name="connsiteY23" fmla="*/ 122921 h 599737"/>
                <a:gd name="connsiteX24" fmla="*/ 1207129 w 1278631"/>
                <a:gd name="connsiteY24" fmla="*/ 104814 h 599737"/>
                <a:gd name="connsiteX25" fmla="*/ 1240325 w 1278631"/>
                <a:gd name="connsiteY25" fmla="*/ 110849 h 599737"/>
                <a:gd name="connsiteX26" fmla="*/ 1270503 w 1278631"/>
                <a:gd name="connsiteY26" fmla="*/ 71618 h 599737"/>
                <a:gd name="connsiteX27" fmla="*/ 1278631 w 1278631"/>
                <a:gd name="connsiteY27" fmla="*/ 0 h 599737"/>
                <a:gd name="connsiteX28" fmla="*/ 980792 w 1278631"/>
                <a:gd name="connsiteY28" fmla="*/ 92742 h 599737"/>
                <a:gd name="connsiteX29" fmla="*/ 334978 w 1278631"/>
                <a:gd name="connsiteY29" fmla="*/ 213455 h 599737"/>
                <a:gd name="connsiteX30" fmla="*/ 274622 w 1278631"/>
                <a:gd name="connsiteY30" fmla="*/ 249669 h 599737"/>
                <a:gd name="connsiteX31" fmla="*/ 235390 w 1278631"/>
                <a:gd name="connsiteY31" fmla="*/ 252687 h 599737"/>
                <a:gd name="connsiteX32" fmla="*/ 98837 w 1278631"/>
                <a:gd name="connsiteY32" fmla="*/ 262065 h 599737"/>
                <a:gd name="connsiteX0" fmla="*/ 98837 w 1278631"/>
                <a:gd name="connsiteY0" fmla="*/ 262065 h 599737"/>
                <a:gd name="connsiteX1" fmla="*/ 63374 w 1278631"/>
                <a:gd name="connsiteY1" fmla="*/ 346240 h 599737"/>
                <a:gd name="connsiteX2" fmla="*/ 63374 w 1278631"/>
                <a:gd name="connsiteY2" fmla="*/ 382453 h 599737"/>
                <a:gd name="connsiteX3" fmla="*/ 33196 w 1278631"/>
                <a:gd name="connsiteY3" fmla="*/ 466952 h 599737"/>
                <a:gd name="connsiteX4" fmla="*/ 33196 w 1278631"/>
                <a:gd name="connsiteY4" fmla="*/ 503166 h 599737"/>
                <a:gd name="connsiteX5" fmla="*/ 6036 w 1278631"/>
                <a:gd name="connsiteY5" fmla="*/ 539380 h 599737"/>
                <a:gd name="connsiteX6" fmla="*/ 6036 w 1278631"/>
                <a:gd name="connsiteY6" fmla="*/ 569558 h 599737"/>
                <a:gd name="connsiteX7" fmla="*/ 0 w 1278631"/>
                <a:gd name="connsiteY7" fmla="*/ 599737 h 599737"/>
                <a:gd name="connsiteX8" fmla="*/ 283675 w 1278631"/>
                <a:gd name="connsiteY8" fmla="*/ 554469 h 599737"/>
                <a:gd name="connsiteX9" fmla="*/ 328942 w 1278631"/>
                <a:gd name="connsiteY9" fmla="*/ 563523 h 599737"/>
                <a:gd name="connsiteX10" fmla="*/ 334978 w 1278631"/>
                <a:gd name="connsiteY10" fmla="*/ 545416 h 599737"/>
                <a:gd name="connsiteX11" fmla="*/ 365156 w 1278631"/>
                <a:gd name="connsiteY11" fmla="*/ 539380 h 599737"/>
                <a:gd name="connsiteX12" fmla="*/ 414939 w 1278631"/>
                <a:gd name="connsiteY12" fmla="*/ 521164 h 599737"/>
                <a:gd name="connsiteX13" fmla="*/ 443268 w 1278631"/>
                <a:gd name="connsiteY13" fmla="*/ 539549 h 599737"/>
                <a:gd name="connsiteX14" fmla="*/ 932507 w 1278631"/>
                <a:gd name="connsiteY14" fmla="*/ 427721 h 599737"/>
                <a:gd name="connsiteX15" fmla="*/ 905346 w 1278631"/>
                <a:gd name="connsiteY15" fmla="*/ 385471 h 599737"/>
                <a:gd name="connsiteX16" fmla="*/ 941560 w 1278631"/>
                <a:gd name="connsiteY16" fmla="*/ 358311 h 599737"/>
                <a:gd name="connsiteX17" fmla="*/ 956649 w 1278631"/>
                <a:gd name="connsiteY17" fmla="*/ 322097 h 599737"/>
                <a:gd name="connsiteX18" fmla="*/ 1017006 w 1278631"/>
                <a:gd name="connsiteY18" fmla="*/ 264758 h 599737"/>
                <a:gd name="connsiteX19" fmla="*/ 1068309 w 1278631"/>
                <a:gd name="connsiteY19" fmla="*/ 234580 h 599737"/>
                <a:gd name="connsiteX20" fmla="*/ 1099176 w 1278631"/>
                <a:gd name="connsiteY20" fmla="*/ 173472 h 599737"/>
                <a:gd name="connsiteX21" fmla="*/ 1141254 w 1278631"/>
                <a:gd name="connsiteY21" fmla="*/ 170765 h 599737"/>
                <a:gd name="connsiteX22" fmla="*/ 1167897 w 1278631"/>
                <a:gd name="connsiteY22" fmla="*/ 156117 h 599737"/>
                <a:gd name="connsiteX23" fmla="*/ 1192040 w 1278631"/>
                <a:gd name="connsiteY23" fmla="*/ 122921 h 599737"/>
                <a:gd name="connsiteX24" fmla="*/ 1207129 w 1278631"/>
                <a:gd name="connsiteY24" fmla="*/ 104814 h 599737"/>
                <a:gd name="connsiteX25" fmla="*/ 1240325 w 1278631"/>
                <a:gd name="connsiteY25" fmla="*/ 110849 h 599737"/>
                <a:gd name="connsiteX26" fmla="*/ 1270503 w 1278631"/>
                <a:gd name="connsiteY26" fmla="*/ 71618 h 599737"/>
                <a:gd name="connsiteX27" fmla="*/ 1278631 w 1278631"/>
                <a:gd name="connsiteY27" fmla="*/ 0 h 599737"/>
                <a:gd name="connsiteX28" fmla="*/ 980792 w 1278631"/>
                <a:gd name="connsiteY28" fmla="*/ 92742 h 599737"/>
                <a:gd name="connsiteX29" fmla="*/ 334978 w 1278631"/>
                <a:gd name="connsiteY29" fmla="*/ 213455 h 599737"/>
                <a:gd name="connsiteX30" fmla="*/ 274622 w 1278631"/>
                <a:gd name="connsiteY30" fmla="*/ 249669 h 599737"/>
                <a:gd name="connsiteX31" fmla="*/ 235390 w 1278631"/>
                <a:gd name="connsiteY31" fmla="*/ 252687 h 599737"/>
                <a:gd name="connsiteX32" fmla="*/ 98837 w 1278631"/>
                <a:gd name="connsiteY32" fmla="*/ 262065 h 599737"/>
                <a:gd name="connsiteX0" fmla="*/ 98837 w 1278631"/>
                <a:gd name="connsiteY0" fmla="*/ 262065 h 599737"/>
                <a:gd name="connsiteX1" fmla="*/ 63374 w 1278631"/>
                <a:gd name="connsiteY1" fmla="*/ 346240 h 599737"/>
                <a:gd name="connsiteX2" fmla="*/ 63374 w 1278631"/>
                <a:gd name="connsiteY2" fmla="*/ 382453 h 599737"/>
                <a:gd name="connsiteX3" fmla="*/ 33196 w 1278631"/>
                <a:gd name="connsiteY3" fmla="*/ 466952 h 599737"/>
                <a:gd name="connsiteX4" fmla="*/ 33196 w 1278631"/>
                <a:gd name="connsiteY4" fmla="*/ 503166 h 599737"/>
                <a:gd name="connsiteX5" fmla="*/ 6036 w 1278631"/>
                <a:gd name="connsiteY5" fmla="*/ 539380 h 599737"/>
                <a:gd name="connsiteX6" fmla="*/ 6036 w 1278631"/>
                <a:gd name="connsiteY6" fmla="*/ 569558 h 599737"/>
                <a:gd name="connsiteX7" fmla="*/ 0 w 1278631"/>
                <a:gd name="connsiteY7" fmla="*/ 599737 h 599737"/>
                <a:gd name="connsiteX8" fmla="*/ 283675 w 1278631"/>
                <a:gd name="connsiteY8" fmla="*/ 554469 h 599737"/>
                <a:gd name="connsiteX9" fmla="*/ 328942 w 1278631"/>
                <a:gd name="connsiteY9" fmla="*/ 563523 h 599737"/>
                <a:gd name="connsiteX10" fmla="*/ 334978 w 1278631"/>
                <a:gd name="connsiteY10" fmla="*/ 545416 h 599737"/>
                <a:gd name="connsiteX11" fmla="*/ 365156 w 1278631"/>
                <a:gd name="connsiteY11" fmla="*/ 539380 h 599737"/>
                <a:gd name="connsiteX12" fmla="*/ 414939 w 1278631"/>
                <a:gd name="connsiteY12" fmla="*/ 521164 h 599737"/>
                <a:gd name="connsiteX13" fmla="*/ 443268 w 1278631"/>
                <a:gd name="connsiteY13" fmla="*/ 539549 h 599737"/>
                <a:gd name="connsiteX14" fmla="*/ 932507 w 1278631"/>
                <a:gd name="connsiteY14" fmla="*/ 427721 h 599737"/>
                <a:gd name="connsiteX15" fmla="*/ 905346 w 1278631"/>
                <a:gd name="connsiteY15" fmla="*/ 385471 h 599737"/>
                <a:gd name="connsiteX16" fmla="*/ 941560 w 1278631"/>
                <a:gd name="connsiteY16" fmla="*/ 358311 h 599737"/>
                <a:gd name="connsiteX17" fmla="*/ 956649 w 1278631"/>
                <a:gd name="connsiteY17" fmla="*/ 322097 h 599737"/>
                <a:gd name="connsiteX18" fmla="*/ 1017006 w 1278631"/>
                <a:gd name="connsiteY18" fmla="*/ 264758 h 599737"/>
                <a:gd name="connsiteX19" fmla="*/ 1068309 w 1278631"/>
                <a:gd name="connsiteY19" fmla="*/ 234580 h 599737"/>
                <a:gd name="connsiteX20" fmla="*/ 1099176 w 1278631"/>
                <a:gd name="connsiteY20" fmla="*/ 173472 h 599737"/>
                <a:gd name="connsiteX21" fmla="*/ 1141254 w 1278631"/>
                <a:gd name="connsiteY21" fmla="*/ 170765 h 599737"/>
                <a:gd name="connsiteX22" fmla="*/ 1167897 w 1278631"/>
                <a:gd name="connsiteY22" fmla="*/ 156117 h 599737"/>
                <a:gd name="connsiteX23" fmla="*/ 1192040 w 1278631"/>
                <a:gd name="connsiteY23" fmla="*/ 122921 h 599737"/>
                <a:gd name="connsiteX24" fmla="*/ 1211785 w 1278631"/>
                <a:gd name="connsiteY24" fmla="*/ 123423 h 599737"/>
                <a:gd name="connsiteX25" fmla="*/ 1240325 w 1278631"/>
                <a:gd name="connsiteY25" fmla="*/ 110849 h 599737"/>
                <a:gd name="connsiteX26" fmla="*/ 1270503 w 1278631"/>
                <a:gd name="connsiteY26" fmla="*/ 71618 h 599737"/>
                <a:gd name="connsiteX27" fmla="*/ 1278631 w 1278631"/>
                <a:gd name="connsiteY27" fmla="*/ 0 h 599737"/>
                <a:gd name="connsiteX28" fmla="*/ 980792 w 1278631"/>
                <a:gd name="connsiteY28" fmla="*/ 92742 h 599737"/>
                <a:gd name="connsiteX29" fmla="*/ 334978 w 1278631"/>
                <a:gd name="connsiteY29" fmla="*/ 213455 h 599737"/>
                <a:gd name="connsiteX30" fmla="*/ 274622 w 1278631"/>
                <a:gd name="connsiteY30" fmla="*/ 249669 h 599737"/>
                <a:gd name="connsiteX31" fmla="*/ 235390 w 1278631"/>
                <a:gd name="connsiteY31" fmla="*/ 252687 h 599737"/>
                <a:gd name="connsiteX32" fmla="*/ 98837 w 1278631"/>
                <a:gd name="connsiteY32" fmla="*/ 262065 h 599737"/>
                <a:gd name="connsiteX0" fmla="*/ 98837 w 1278631"/>
                <a:gd name="connsiteY0" fmla="*/ 262065 h 599737"/>
                <a:gd name="connsiteX1" fmla="*/ 63374 w 1278631"/>
                <a:gd name="connsiteY1" fmla="*/ 346240 h 599737"/>
                <a:gd name="connsiteX2" fmla="*/ 63374 w 1278631"/>
                <a:gd name="connsiteY2" fmla="*/ 382453 h 599737"/>
                <a:gd name="connsiteX3" fmla="*/ 33196 w 1278631"/>
                <a:gd name="connsiteY3" fmla="*/ 466952 h 599737"/>
                <a:gd name="connsiteX4" fmla="*/ 33196 w 1278631"/>
                <a:gd name="connsiteY4" fmla="*/ 503166 h 599737"/>
                <a:gd name="connsiteX5" fmla="*/ 6036 w 1278631"/>
                <a:gd name="connsiteY5" fmla="*/ 539380 h 599737"/>
                <a:gd name="connsiteX6" fmla="*/ 6036 w 1278631"/>
                <a:gd name="connsiteY6" fmla="*/ 569558 h 599737"/>
                <a:gd name="connsiteX7" fmla="*/ 0 w 1278631"/>
                <a:gd name="connsiteY7" fmla="*/ 599737 h 599737"/>
                <a:gd name="connsiteX8" fmla="*/ 283675 w 1278631"/>
                <a:gd name="connsiteY8" fmla="*/ 554469 h 599737"/>
                <a:gd name="connsiteX9" fmla="*/ 328942 w 1278631"/>
                <a:gd name="connsiteY9" fmla="*/ 563523 h 599737"/>
                <a:gd name="connsiteX10" fmla="*/ 334978 w 1278631"/>
                <a:gd name="connsiteY10" fmla="*/ 545416 h 599737"/>
                <a:gd name="connsiteX11" fmla="*/ 365156 w 1278631"/>
                <a:gd name="connsiteY11" fmla="*/ 539380 h 599737"/>
                <a:gd name="connsiteX12" fmla="*/ 414939 w 1278631"/>
                <a:gd name="connsiteY12" fmla="*/ 521164 h 599737"/>
                <a:gd name="connsiteX13" fmla="*/ 443268 w 1278631"/>
                <a:gd name="connsiteY13" fmla="*/ 539549 h 599737"/>
                <a:gd name="connsiteX14" fmla="*/ 932507 w 1278631"/>
                <a:gd name="connsiteY14" fmla="*/ 427721 h 599737"/>
                <a:gd name="connsiteX15" fmla="*/ 905346 w 1278631"/>
                <a:gd name="connsiteY15" fmla="*/ 385471 h 599737"/>
                <a:gd name="connsiteX16" fmla="*/ 941560 w 1278631"/>
                <a:gd name="connsiteY16" fmla="*/ 358311 h 599737"/>
                <a:gd name="connsiteX17" fmla="*/ 956649 w 1278631"/>
                <a:gd name="connsiteY17" fmla="*/ 322097 h 599737"/>
                <a:gd name="connsiteX18" fmla="*/ 1017006 w 1278631"/>
                <a:gd name="connsiteY18" fmla="*/ 264758 h 599737"/>
                <a:gd name="connsiteX19" fmla="*/ 1068309 w 1278631"/>
                <a:gd name="connsiteY19" fmla="*/ 234580 h 599737"/>
                <a:gd name="connsiteX20" fmla="*/ 1099176 w 1278631"/>
                <a:gd name="connsiteY20" fmla="*/ 173472 h 599737"/>
                <a:gd name="connsiteX21" fmla="*/ 1141254 w 1278631"/>
                <a:gd name="connsiteY21" fmla="*/ 170765 h 599737"/>
                <a:gd name="connsiteX22" fmla="*/ 1177209 w 1278631"/>
                <a:gd name="connsiteY22" fmla="*/ 135183 h 599737"/>
                <a:gd name="connsiteX23" fmla="*/ 1192040 w 1278631"/>
                <a:gd name="connsiteY23" fmla="*/ 122921 h 599737"/>
                <a:gd name="connsiteX24" fmla="*/ 1211785 w 1278631"/>
                <a:gd name="connsiteY24" fmla="*/ 123423 h 599737"/>
                <a:gd name="connsiteX25" fmla="*/ 1240325 w 1278631"/>
                <a:gd name="connsiteY25" fmla="*/ 110849 h 599737"/>
                <a:gd name="connsiteX26" fmla="*/ 1270503 w 1278631"/>
                <a:gd name="connsiteY26" fmla="*/ 71618 h 599737"/>
                <a:gd name="connsiteX27" fmla="*/ 1278631 w 1278631"/>
                <a:gd name="connsiteY27" fmla="*/ 0 h 599737"/>
                <a:gd name="connsiteX28" fmla="*/ 980792 w 1278631"/>
                <a:gd name="connsiteY28" fmla="*/ 92742 h 599737"/>
                <a:gd name="connsiteX29" fmla="*/ 334978 w 1278631"/>
                <a:gd name="connsiteY29" fmla="*/ 213455 h 599737"/>
                <a:gd name="connsiteX30" fmla="*/ 274622 w 1278631"/>
                <a:gd name="connsiteY30" fmla="*/ 249669 h 599737"/>
                <a:gd name="connsiteX31" fmla="*/ 235390 w 1278631"/>
                <a:gd name="connsiteY31" fmla="*/ 252687 h 599737"/>
                <a:gd name="connsiteX32" fmla="*/ 98837 w 1278631"/>
                <a:gd name="connsiteY32" fmla="*/ 262065 h 599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78631" h="599737">
                  <a:moveTo>
                    <a:pt x="98837" y="262065"/>
                  </a:moveTo>
                  <a:lnTo>
                    <a:pt x="63374" y="346240"/>
                  </a:lnTo>
                  <a:lnTo>
                    <a:pt x="63374" y="382453"/>
                  </a:lnTo>
                  <a:lnTo>
                    <a:pt x="33196" y="466952"/>
                  </a:lnTo>
                  <a:lnTo>
                    <a:pt x="33196" y="503166"/>
                  </a:lnTo>
                  <a:lnTo>
                    <a:pt x="6036" y="539380"/>
                  </a:lnTo>
                  <a:lnTo>
                    <a:pt x="6036" y="569558"/>
                  </a:lnTo>
                  <a:lnTo>
                    <a:pt x="0" y="599737"/>
                  </a:lnTo>
                  <a:lnTo>
                    <a:pt x="283675" y="554469"/>
                  </a:lnTo>
                  <a:lnTo>
                    <a:pt x="328942" y="563523"/>
                  </a:lnTo>
                  <a:lnTo>
                    <a:pt x="334978" y="545416"/>
                  </a:lnTo>
                  <a:lnTo>
                    <a:pt x="365156" y="539380"/>
                  </a:lnTo>
                  <a:lnTo>
                    <a:pt x="414939" y="521164"/>
                  </a:lnTo>
                  <a:lnTo>
                    <a:pt x="443268" y="539549"/>
                  </a:lnTo>
                  <a:lnTo>
                    <a:pt x="932507" y="427721"/>
                  </a:lnTo>
                  <a:lnTo>
                    <a:pt x="905346" y="385471"/>
                  </a:lnTo>
                  <a:lnTo>
                    <a:pt x="941560" y="358311"/>
                  </a:lnTo>
                  <a:lnTo>
                    <a:pt x="956649" y="322097"/>
                  </a:lnTo>
                  <a:lnTo>
                    <a:pt x="1017006" y="264758"/>
                  </a:lnTo>
                  <a:lnTo>
                    <a:pt x="1068309" y="234580"/>
                  </a:lnTo>
                  <a:lnTo>
                    <a:pt x="1099176" y="173472"/>
                  </a:lnTo>
                  <a:lnTo>
                    <a:pt x="1141254" y="170765"/>
                  </a:lnTo>
                  <a:lnTo>
                    <a:pt x="1177209" y="135183"/>
                  </a:lnTo>
                  <a:lnTo>
                    <a:pt x="1192040" y="122921"/>
                  </a:lnTo>
                  <a:lnTo>
                    <a:pt x="1211785" y="123423"/>
                  </a:lnTo>
                  <a:lnTo>
                    <a:pt x="1240325" y="110849"/>
                  </a:lnTo>
                  <a:lnTo>
                    <a:pt x="1270503" y="71618"/>
                  </a:lnTo>
                  <a:lnTo>
                    <a:pt x="1278631" y="0"/>
                  </a:lnTo>
                  <a:lnTo>
                    <a:pt x="980792" y="92742"/>
                  </a:lnTo>
                  <a:lnTo>
                    <a:pt x="334978" y="213455"/>
                  </a:lnTo>
                  <a:lnTo>
                    <a:pt x="274622" y="249669"/>
                  </a:lnTo>
                  <a:lnTo>
                    <a:pt x="235390" y="252687"/>
                  </a:lnTo>
                  <a:lnTo>
                    <a:pt x="98837" y="26206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7" name="Freeform 116"/>
            <p:cNvSpPr/>
            <p:nvPr/>
          </p:nvSpPr>
          <p:spPr>
            <a:xfrm>
              <a:off x="3873281" y="2850664"/>
              <a:ext cx="313006" cy="491869"/>
            </a:xfrm>
            <a:custGeom>
              <a:avLst/>
              <a:gdLst>
                <a:gd name="connsiteX0" fmla="*/ 0 w 497940"/>
                <a:gd name="connsiteY0" fmla="*/ 102606 h 832919"/>
                <a:gd name="connsiteX1" fmla="*/ 84499 w 497940"/>
                <a:gd name="connsiteY1" fmla="*/ 482851 h 832919"/>
                <a:gd name="connsiteX2" fmla="*/ 78463 w 497940"/>
                <a:gd name="connsiteY2" fmla="*/ 522083 h 832919"/>
                <a:gd name="connsiteX3" fmla="*/ 66392 w 497940"/>
                <a:gd name="connsiteY3" fmla="*/ 567350 h 832919"/>
                <a:gd name="connsiteX4" fmla="*/ 84499 w 497940"/>
                <a:gd name="connsiteY4" fmla="*/ 633742 h 832919"/>
                <a:gd name="connsiteX5" fmla="*/ 87516 w 497940"/>
                <a:gd name="connsiteY5" fmla="*/ 672974 h 832919"/>
                <a:gd name="connsiteX6" fmla="*/ 87516 w 497940"/>
                <a:gd name="connsiteY6" fmla="*/ 672974 h 832919"/>
                <a:gd name="connsiteX7" fmla="*/ 75445 w 497940"/>
                <a:gd name="connsiteY7" fmla="*/ 715224 h 832919"/>
                <a:gd name="connsiteX8" fmla="*/ 42249 w 497940"/>
                <a:gd name="connsiteY8" fmla="*/ 751438 h 832919"/>
                <a:gd name="connsiteX9" fmla="*/ 60356 w 497940"/>
                <a:gd name="connsiteY9" fmla="*/ 763509 h 832919"/>
                <a:gd name="connsiteX10" fmla="*/ 51303 w 497940"/>
                <a:gd name="connsiteY10" fmla="*/ 820847 h 832919"/>
                <a:gd name="connsiteX11" fmla="*/ 48285 w 497940"/>
                <a:gd name="connsiteY11" fmla="*/ 832919 h 832919"/>
                <a:gd name="connsiteX12" fmla="*/ 108641 w 497940"/>
                <a:gd name="connsiteY12" fmla="*/ 808776 h 832919"/>
                <a:gd name="connsiteX13" fmla="*/ 135802 w 497940"/>
                <a:gd name="connsiteY13" fmla="*/ 826883 h 832919"/>
                <a:gd name="connsiteX14" fmla="*/ 214265 w 497940"/>
                <a:gd name="connsiteY14" fmla="*/ 790669 h 832919"/>
                <a:gd name="connsiteX15" fmla="*/ 229354 w 497940"/>
                <a:gd name="connsiteY15" fmla="*/ 772562 h 832919"/>
                <a:gd name="connsiteX16" fmla="*/ 262550 w 497940"/>
                <a:gd name="connsiteY16" fmla="*/ 790669 h 832919"/>
                <a:gd name="connsiteX17" fmla="*/ 262550 w 497940"/>
                <a:gd name="connsiteY17" fmla="*/ 736348 h 832919"/>
                <a:gd name="connsiteX18" fmla="*/ 265568 w 497940"/>
                <a:gd name="connsiteY18" fmla="*/ 727295 h 832919"/>
                <a:gd name="connsiteX19" fmla="*/ 298764 w 497940"/>
                <a:gd name="connsiteY19" fmla="*/ 748420 h 832919"/>
                <a:gd name="connsiteX20" fmla="*/ 310835 w 497940"/>
                <a:gd name="connsiteY20" fmla="*/ 748420 h 832919"/>
                <a:gd name="connsiteX21" fmla="*/ 322906 w 497940"/>
                <a:gd name="connsiteY21" fmla="*/ 736348 h 832919"/>
                <a:gd name="connsiteX22" fmla="*/ 368174 w 497940"/>
                <a:gd name="connsiteY22" fmla="*/ 679010 h 832919"/>
                <a:gd name="connsiteX23" fmla="*/ 377227 w 497940"/>
                <a:gd name="connsiteY23" fmla="*/ 603564 h 832919"/>
                <a:gd name="connsiteX24" fmla="*/ 497940 w 497940"/>
                <a:gd name="connsiteY24" fmla="*/ 573386 h 832919"/>
                <a:gd name="connsiteX25" fmla="*/ 476815 w 497940"/>
                <a:gd name="connsiteY25" fmla="*/ 525101 h 832919"/>
                <a:gd name="connsiteX26" fmla="*/ 494922 w 497940"/>
                <a:gd name="connsiteY26" fmla="*/ 494923 h 832919"/>
                <a:gd name="connsiteX27" fmla="*/ 380245 w 497940"/>
                <a:gd name="connsiteY27" fmla="*/ 12071 h 832919"/>
                <a:gd name="connsiteX28" fmla="*/ 368174 w 497940"/>
                <a:gd name="connsiteY28" fmla="*/ 0 h 832919"/>
                <a:gd name="connsiteX29" fmla="*/ 184087 w 497940"/>
                <a:gd name="connsiteY29" fmla="*/ 45267 h 832919"/>
                <a:gd name="connsiteX30" fmla="*/ 126748 w 497940"/>
                <a:gd name="connsiteY30" fmla="*/ 54321 h 832919"/>
                <a:gd name="connsiteX31" fmla="*/ 105623 w 497940"/>
                <a:gd name="connsiteY31" fmla="*/ 51303 h 832919"/>
                <a:gd name="connsiteX32" fmla="*/ 57338 w 497940"/>
                <a:gd name="connsiteY32" fmla="*/ 87517 h 832919"/>
                <a:gd name="connsiteX33" fmla="*/ 0 w 497940"/>
                <a:gd name="connsiteY33" fmla="*/ 102606 h 832919"/>
                <a:gd name="connsiteX0" fmla="*/ 0 w 497940"/>
                <a:gd name="connsiteY0" fmla="*/ 102606 h 832919"/>
                <a:gd name="connsiteX1" fmla="*/ 84499 w 497940"/>
                <a:gd name="connsiteY1" fmla="*/ 482851 h 832919"/>
                <a:gd name="connsiteX2" fmla="*/ 78463 w 497940"/>
                <a:gd name="connsiteY2" fmla="*/ 522083 h 832919"/>
                <a:gd name="connsiteX3" fmla="*/ 66392 w 497940"/>
                <a:gd name="connsiteY3" fmla="*/ 567350 h 832919"/>
                <a:gd name="connsiteX4" fmla="*/ 84499 w 497940"/>
                <a:gd name="connsiteY4" fmla="*/ 633742 h 832919"/>
                <a:gd name="connsiteX5" fmla="*/ 87516 w 497940"/>
                <a:gd name="connsiteY5" fmla="*/ 672974 h 832919"/>
                <a:gd name="connsiteX6" fmla="*/ 87516 w 497940"/>
                <a:gd name="connsiteY6" fmla="*/ 672974 h 832919"/>
                <a:gd name="connsiteX7" fmla="*/ 75445 w 497940"/>
                <a:gd name="connsiteY7" fmla="*/ 715224 h 832919"/>
                <a:gd name="connsiteX8" fmla="*/ 42249 w 497940"/>
                <a:gd name="connsiteY8" fmla="*/ 751438 h 832919"/>
                <a:gd name="connsiteX9" fmla="*/ 60356 w 497940"/>
                <a:gd name="connsiteY9" fmla="*/ 763509 h 832919"/>
                <a:gd name="connsiteX10" fmla="*/ 51303 w 497940"/>
                <a:gd name="connsiteY10" fmla="*/ 820847 h 832919"/>
                <a:gd name="connsiteX11" fmla="*/ 48285 w 497940"/>
                <a:gd name="connsiteY11" fmla="*/ 832919 h 832919"/>
                <a:gd name="connsiteX12" fmla="*/ 108641 w 497940"/>
                <a:gd name="connsiteY12" fmla="*/ 808776 h 832919"/>
                <a:gd name="connsiteX13" fmla="*/ 135802 w 497940"/>
                <a:gd name="connsiteY13" fmla="*/ 826883 h 832919"/>
                <a:gd name="connsiteX14" fmla="*/ 214265 w 497940"/>
                <a:gd name="connsiteY14" fmla="*/ 790669 h 832919"/>
                <a:gd name="connsiteX15" fmla="*/ 229354 w 497940"/>
                <a:gd name="connsiteY15" fmla="*/ 772562 h 832919"/>
                <a:gd name="connsiteX16" fmla="*/ 262550 w 497940"/>
                <a:gd name="connsiteY16" fmla="*/ 790669 h 832919"/>
                <a:gd name="connsiteX17" fmla="*/ 262550 w 497940"/>
                <a:gd name="connsiteY17" fmla="*/ 736348 h 832919"/>
                <a:gd name="connsiteX18" fmla="*/ 265568 w 497940"/>
                <a:gd name="connsiteY18" fmla="*/ 727295 h 832919"/>
                <a:gd name="connsiteX19" fmla="*/ 298764 w 497940"/>
                <a:gd name="connsiteY19" fmla="*/ 748420 h 832919"/>
                <a:gd name="connsiteX20" fmla="*/ 310835 w 497940"/>
                <a:gd name="connsiteY20" fmla="*/ 748420 h 832919"/>
                <a:gd name="connsiteX21" fmla="*/ 322906 w 497940"/>
                <a:gd name="connsiteY21" fmla="*/ 736348 h 832919"/>
                <a:gd name="connsiteX22" fmla="*/ 368174 w 497940"/>
                <a:gd name="connsiteY22" fmla="*/ 679010 h 832919"/>
                <a:gd name="connsiteX23" fmla="*/ 377227 w 497940"/>
                <a:gd name="connsiteY23" fmla="*/ 603564 h 832919"/>
                <a:gd name="connsiteX24" fmla="*/ 393738 w 497940"/>
                <a:gd name="connsiteY24" fmla="*/ 619533 h 832919"/>
                <a:gd name="connsiteX25" fmla="*/ 497940 w 497940"/>
                <a:gd name="connsiteY25" fmla="*/ 573386 h 832919"/>
                <a:gd name="connsiteX26" fmla="*/ 476815 w 497940"/>
                <a:gd name="connsiteY26" fmla="*/ 525101 h 832919"/>
                <a:gd name="connsiteX27" fmla="*/ 494922 w 497940"/>
                <a:gd name="connsiteY27" fmla="*/ 494923 h 832919"/>
                <a:gd name="connsiteX28" fmla="*/ 380245 w 497940"/>
                <a:gd name="connsiteY28" fmla="*/ 12071 h 832919"/>
                <a:gd name="connsiteX29" fmla="*/ 368174 w 497940"/>
                <a:gd name="connsiteY29" fmla="*/ 0 h 832919"/>
                <a:gd name="connsiteX30" fmla="*/ 184087 w 497940"/>
                <a:gd name="connsiteY30" fmla="*/ 45267 h 832919"/>
                <a:gd name="connsiteX31" fmla="*/ 126748 w 497940"/>
                <a:gd name="connsiteY31" fmla="*/ 54321 h 832919"/>
                <a:gd name="connsiteX32" fmla="*/ 105623 w 497940"/>
                <a:gd name="connsiteY32" fmla="*/ 51303 h 832919"/>
                <a:gd name="connsiteX33" fmla="*/ 57338 w 497940"/>
                <a:gd name="connsiteY33" fmla="*/ 87517 h 832919"/>
                <a:gd name="connsiteX34" fmla="*/ 0 w 497940"/>
                <a:gd name="connsiteY34" fmla="*/ 102606 h 832919"/>
                <a:gd name="connsiteX0" fmla="*/ 0 w 497940"/>
                <a:gd name="connsiteY0" fmla="*/ 102606 h 832919"/>
                <a:gd name="connsiteX1" fmla="*/ 84499 w 497940"/>
                <a:gd name="connsiteY1" fmla="*/ 482851 h 832919"/>
                <a:gd name="connsiteX2" fmla="*/ 78463 w 497940"/>
                <a:gd name="connsiteY2" fmla="*/ 522083 h 832919"/>
                <a:gd name="connsiteX3" fmla="*/ 66392 w 497940"/>
                <a:gd name="connsiteY3" fmla="*/ 567350 h 832919"/>
                <a:gd name="connsiteX4" fmla="*/ 84499 w 497940"/>
                <a:gd name="connsiteY4" fmla="*/ 633742 h 832919"/>
                <a:gd name="connsiteX5" fmla="*/ 87516 w 497940"/>
                <a:gd name="connsiteY5" fmla="*/ 672974 h 832919"/>
                <a:gd name="connsiteX6" fmla="*/ 87516 w 497940"/>
                <a:gd name="connsiteY6" fmla="*/ 672974 h 832919"/>
                <a:gd name="connsiteX7" fmla="*/ 63514 w 497940"/>
                <a:gd name="connsiteY7" fmla="*/ 712845 h 832919"/>
                <a:gd name="connsiteX8" fmla="*/ 42249 w 497940"/>
                <a:gd name="connsiteY8" fmla="*/ 751438 h 832919"/>
                <a:gd name="connsiteX9" fmla="*/ 60356 w 497940"/>
                <a:gd name="connsiteY9" fmla="*/ 763509 h 832919"/>
                <a:gd name="connsiteX10" fmla="*/ 51303 w 497940"/>
                <a:gd name="connsiteY10" fmla="*/ 820847 h 832919"/>
                <a:gd name="connsiteX11" fmla="*/ 48285 w 497940"/>
                <a:gd name="connsiteY11" fmla="*/ 832919 h 832919"/>
                <a:gd name="connsiteX12" fmla="*/ 108641 w 497940"/>
                <a:gd name="connsiteY12" fmla="*/ 808776 h 832919"/>
                <a:gd name="connsiteX13" fmla="*/ 135802 w 497940"/>
                <a:gd name="connsiteY13" fmla="*/ 826883 h 832919"/>
                <a:gd name="connsiteX14" fmla="*/ 214265 w 497940"/>
                <a:gd name="connsiteY14" fmla="*/ 790669 h 832919"/>
                <a:gd name="connsiteX15" fmla="*/ 229354 w 497940"/>
                <a:gd name="connsiteY15" fmla="*/ 772562 h 832919"/>
                <a:gd name="connsiteX16" fmla="*/ 262550 w 497940"/>
                <a:gd name="connsiteY16" fmla="*/ 790669 h 832919"/>
                <a:gd name="connsiteX17" fmla="*/ 262550 w 497940"/>
                <a:gd name="connsiteY17" fmla="*/ 736348 h 832919"/>
                <a:gd name="connsiteX18" fmla="*/ 265568 w 497940"/>
                <a:gd name="connsiteY18" fmla="*/ 727295 h 832919"/>
                <a:gd name="connsiteX19" fmla="*/ 298764 w 497940"/>
                <a:gd name="connsiteY19" fmla="*/ 748420 h 832919"/>
                <a:gd name="connsiteX20" fmla="*/ 310835 w 497940"/>
                <a:gd name="connsiteY20" fmla="*/ 748420 h 832919"/>
                <a:gd name="connsiteX21" fmla="*/ 322906 w 497940"/>
                <a:gd name="connsiteY21" fmla="*/ 736348 h 832919"/>
                <a:gd name="connsiteX22" fmla="*/ 368174 w 497940"/>
                <a:gd name="connsiteY22" fmla="*/ 679010 h 832919"/>
                <a:gd name="connsiteX23" fmla="*/ 377227 w 497940"/>
                <a:gd name="connsiteY23" fmla="*/ 603564 h 832919"/>
                <a:gd name="connsiteX24" fmla="*/ 393738 w 497940"/>
                <a:gd name="connsiteY24" fmla="*/ 619533 h 832919"/>
                <a:gd name="connsiteX25" fmla="*/ 497940 w 497940"/>
                <a:gd name="connsiteY25" fmla="*/ 573386 h 832919"/>
                <a:gd name="connsiteX26" fmla="*/ 476815 w 497940"/>
                <a:gd name="connsiteY26" fmla="*/ 525101 h 832919"/>
                <a:gd name="connsiteX27" fmla="*/ 494922 w 497940"/>
                <a:gd name="connsiteY27" fmla="*/ 494923 h 832919"/>
                <a:gd name="connsiteX28" fmla="*/ 380245 w 497940"/>
                <a:gd name="connsiteY28" fmla="*/ 12071 h 832919"/>
                <a:gd name="connsiteX29" fmla="*/ 368174 w 497940"/>
                <a:gd name="connsiteY29" fmla="*/ 0 h 832919"/>
                <a:gd name="connsiteX30" fmla="*/ 184087 w 497940"/>
                <a:gd name="connsiteY30" fmla="*/ 45267 h 832919"/>
                <a:gd name="connsiteX31" fmla="*/ 126748 w 497940"/>
                <a:gd name="connsiteY31" fmla="*/ 54321 h 832919"/>
                <a:gd name="connsiteX32" fmla="*/ 105623 w 497940"/>
                <a:gd name="connsiteY32" fmla="*/ 51303 h 832919"/>
                <a:gd name="connsiteX33" fmla="*/ 57338 w 497940"/>
                <a:gd name="connsiteY33" fmla="*/ 87517 h 832919"/>
                <a:gd name="connsiteX34" fmla="*/ 0 w 497940"/>
                <a:gd name="connsiteY34" fmla="*/ 102606 h 832919"/>
                <a:gd name="connsiteX0" fmla="*/ 0 w 497940"/>
                <a:gd name="connsiteY0" fmla="*/ 102606 h 832919"/>
                <a:gd name="connsiteX1" fmla="*/ 84499 w 497940"/>
                <a:gd name="connsiteY1" fmla="*/ 482851 h 832919"/>
                <a:gd name="connsiteX2" fmla="*/ 78463 w 497940"/>
                <a:gd name="connsiteY2" fmla="*/ 522083 h 832919"/>
                <a:gd name="connsiteX3" fmla="*/ 66392 w 497940"/>
                <a:gd name="connsiteY3" fmla="*/ 567350 h 832919"/>
                <a:gd name="connsiteX4" fmla="*/ 84499 w 497940"/>
                <a:gd name="connsiteY4" fmla="*/ 633742 h 832919"/>
                <a:gd name="connsiteX5" fmla="*/ 87516 w 497940"/>
                <a:gd name="connsiteY5" fmla="*/ 672974 h 832919"/>
                <a:gd name="connsiteX6" fmla="*/ 80358 w 497940"/>
                <a:gd name="connsiteY6" fmla="*/ 672974 h 832919"/>
                <a:gd name="connsiteX7" fmla="*/ 63514 w 497940"/>
                <a:gd name="connsiteY7" fmla="*/ 712845 h 832919"/>
                <a:gd name="connsiteX8" fmla="*/ 42249 w 497940"/>
                <a:gd name="connsiteY8" fmla="*/ 751438 h 832919"/>
                <a:gd name="connsiteX9" fmla="*/ 60356 w 497940"/>
                <a:gd name="connsiteY9" fmla="*/ 763509 h 832919"/>
                <a:gd name="connsiteX10" fmla="*/ 51303 w 497940"/>
                <a:gd name="connsiteY10" fmla="*/ 820847 h 832919"/>
                <a:gd name="connsiteX11" fmla="*/ 48285 w 497940"/>
                <a:gd name="connsiteY11" fmla="*/ 832919 h 832919"/>
                <a:gd name="connsiteX12" fmla="*/ 108641 w 497940"/>
                <a:gd name="connsiteY12" fmla="*/ 808776 h 832919"/>
                <a:gd name="connsiteX13" fmla="*/ 135802 w 497940"/>
                <a:gd name="connsiteY13" fmla="*/ 826883 h 832919"/>
                <a:gd name="connsiteX14" fmla="*/ 214265 w 497940"/>
                <a:gd name="connsiteY14" fmla="*/ 790669 h 832919"/>
                <a:gd name="connsiteX15" fmla="*/ 229354 w 497940"/>
                <a:gd name="connsiteY15" fmla="*/ 772562 h 832919"/>
                <a:gd name="connsiteX16" fmla="*/ 262550 w 497940"/>
                <a:gd name="connsiteY16" fmla="*/ 790669 h 832919"/>
                <a:gd name="connsiteX17" fmla="*/ 262550 w 497940"/>
                <a:gd name="connsiteY17" fmla="*/ 736348 h 832919"/>
                <a:gd name="connsiteX18" fmla="*/ 265568 w 497940"/>
                <a:gd name="connsiteY18" fmla="*/ 727295 h 832919"/>
                <a:gd name="connsiteX19" fmla="*/ 298764 w 497940"/>
                <a:gd name="connsiteY19" fmla="*/ 748420 h 832919"/>
                <a:gd name="connsiteX20" fmla="*/ 310835 w 497940"/>
                <a:gd name="connsiteY20" fmla="*/ 748420 h 832919"/>
                <a:gd name="connsiteX21" fmla="*/ 322906 w 497940"/>
                <a:gd name="connsiteY21" fmla="*/ 736348 h 832919"/>
                <a:gd name="connsiteX22" fmla="*/ 368174 w 497940"/>
                <a:gd name="connsiteY22" fmla="*/ 679010 h 832919"/>
                <a:gd name="connsiteX23" fmla="*/ 377227 w 497940"/>
                <a:gd name="connsiteY23" fmla="*/ 603564 h 832919"/>
                <a:gd name="connsiteX24" fmla="*/ 393738 w 497940"/>
                <a:gd name="connsiteY24" fmla="*/ 619533 h 832919"/>
                <a:gd name="connsiteX25" fmla="*/ 497940 w 497940"/>
                <a:gd name="connsiteY25" fmla="*/ 573386 h 832919"/>
                <a:gd name="connsiteX26" fmla="*/ 476815 w 497940"/>
                <a:gd name="connsiteY26" fmla="*/ 525101 h 832919"/>
                <a:gd name="connsiteX27" fmla="*/ 494922 w 497940"/>
                <a:gd name="connsiteY27" fmla="*/ 494923 h 832919"/>
                <a:gd name="connsiteX28" fmla="*/ 380245 w 497940"/>
                <a:gd name="connsiteY28" fmla="*/ 12071 h 832919"/>
                <a:gd name="connsiteX29" fmla="*/ 368174 w 497940"/>
                <a:gd name="connsiteY29" fmla="*/ 0 h 832919"/>
                <a:gd name="connsiteX30" fmla="*/ 184087 w 497940"/>
                <a:gd name="connsiteY30" fmla="*/ 45267 h 832919"/>
                <a:gd name="connsiteX31" fmla="*/ 126748 w 497940"/>
                <a:gd name="connsiteY31" fmla="*/ 54321 h 832919"/>
                <a:gd name="connsiteX32" fmla="*/ 105623 w 497940"/>
                <a:gd name="connsiteY32" fmla="*/ 51303 h 832919"/>
                <a:gd name="connsiteX33" fmla="*/ 57338 w 497940"/>
                <a:gd name="connsiteY33" fmla="*/ 87517 h 832919"/>
                <a:gd name="connsiteX34" fmla="*/ 0 w 497940"/>
                <a:gd name="connsiteY34" fmla="*/ 102606 h 832919"/>
                <a:gd name="connsiteX0" fmla="*/ 0 w 497940"/>
                <a:gd name="connsiteY0" fmla="*/ 102606 h 832919"/>
                <a:gd name="connsiteX1" fmla="*/ 84499 w 497940"/>
                <a:gd name="connsiteY1" fmla="*/ 482851 h 832919"/>
                <a:gd name="connsiteX2" fmla="*/ 78463 w 497940"/>
                <a:gd name="connsiteY2" fmla="*/ 522083 h 832919"/>
                <a:gd name="connsiteX3" fmla="*/ 66392 w 497940"/>
                <a:gd name="connsiteY3" fmla="*/ 567350 h 832919"/>
                <a:gd name="connsiteX4" fmla="*/ 77340 w 497940"/>
                <a:gd name="connsiteY4" fmla="*/ 633742 h 832919"/>
                <a:gd name="connsiteX5" fmla="*/ 87516 w 497940"/>
                <a:gd name="connsiteY5" fmla="*/ 672974 h 832919"/>
                <a:gd name="connsiteX6" fmla="*/ 80358 w 497940"/>
                <a:gd name="connsiteY6" fmla="*/ 672974 h 832919"/>
                <a:gd name="connsiteX7" fmla="*/ 63514 w 497940"/>
                <a:gd name="connsiteY7" fmla="*/ 712845 h 832919"/>
                <a:gd name="connsiteX8" fmla="*/ 42249 w 497940"/>
                <a:gd name="connsiteY8" fmla="*/ 751438 h 832919"/>
                <a:gd name="connsiteX9" fmla="*/ 60356 w 497940"/>
                <a:gd name="connsiteY9" fmla="*/ 763509 h 832919"/>
                <a:gd name="connsiteX10" fmla="*/ 51303 w 497940"/>
                <a:gd name="connsiteY10" fmla="*/ 820847 h 832919"/>
                <a:gd name="connsiteX11" fmla="*/ 48285 w 497940"/>
                <a:gd name="connsiteY11" fmla="*/ 832919 h 832919"/>
                <a:gd name="connsiteX12" fmla="*/ 108641 w 497940"/>
                <a:gd name="connsiteY12" fmla="*/ 808776 h 832919"/>
                <a:gd name="connsiteX13" fmla="*/ 135802 w 497940"/>
                <a:gd name="connsiteY13" fmla="*/ 826883 h 832919"/>
                <a:gd name="connsiteX14" fmla="*/ 214265 w 497940"/>
                <a:gd name="connsiteY14" fmla="*/ 790669 h 832919"/>
                <a:gd name="connsiteX15" fmla="*/ 229354 w 497940"/>
                <a:gd name="connsiteY15" fmla="*/ 772562 h 832919"/>
                <a:gd name="connsiteX16" fmla="*/ 262550 w 497940"/>
                <a:gd name="connsiteY16" fmla="*/ 790669 h 832919"/>
                <a:gd name="connsiteX17" fmla="*/ 262550 w 497940"/>
                <a:gd name="connsiteY17" fmla="*/ 736348 h 832919"/>
                <a:gd name="connsiteX18" fmla="*/ 265568 w 497940"/>
                <a:gd name="connsiteY18" fmla="*/ 727295 h 832919"/>
                <a:gd name="connsiteX19" fmla="*/ 298764 w 497940"/>
                <a:gd name="connsiteY19" fmla="*/ 748420 h 832919"/>
                <a:gd name="connsiteX20" fmla="*/ 310835 w 497940"/>
                <a:gd name="connsiteY20" fmla="*/ 748420 h 832919"/>
                <a:gd name="connsiteX21" fmla="*/ 322906 w 497940"/>
                <a:gd name="connsiteY21" fmla="*/ 736348 h 832919"/>
                <a:gd name="connsiteX22" fmla="*/ 368174 w 497940"/>
                <a:gd name="connsiteY22" fmla="*/ 679010 h 832919"/>
                <a:gd name="connsiteX23" fmla="*/ 377227 w 497940"/>
                <a:gd name="connsiteY23" fmla="*/ 603564 h 832919"/>
                <a:gd name="connsiteX24" fmla="*/ 393738 w 497940"/>
                <a:gd name="connsiteY24" fmla="*/ 619533 h 832919"/>
                <a:gd name="connsiteX25" fmla="*/ 497940 w 497940"/>
                <a:gd name="connsiteY25" fmla="*/ 573386 h 832919"/>
                <a:gd name="connsiteX26" fmla="*/ 476815 w 497940"/>
                <a:gd name="connsiteY26" fmla="*/ 525101 h 832919"/>
                <a:gd name="connsiteX27" fmla="*/ 494922 w 497940"/>
                <a:gd name="connsiteY27" fmla="*/ 494923 h 832919"/>
                <a:gd name="connsiteX28" fmla="*/ 380245 w 497940"/>
                <a:gd name="connsiteY28" fmla="*/ 12071 h 832919"/>
                <a:gd name="connsiteX29" fmla="*/ 368174 w 497940"/>
                <a:gd name="connsiteY29" fmla="*/ 0 h 832919"/>
                <a:gd name="connsiteX30" fmla="*/ 184087 w 497940"/>
                <a:gd name="connsiteY30" fmla="*/ 45267 h 832919"/>
                <a:gd name="connsiteX31" fmla="*/ 126748 w 497940"/>
                <a:gd name="connsiteY31" fmla="*/ 54321 h 832919"/>
                <a:gd name="connsiteX32" fmla="*/ 105623 w 497940"/>
                <a:gd name="connsiteY32" fmla="*/ 51303 h 832919"/>
                <a:gd name="connsiteX33" fmla="*/ 57338 w 497940"/>
                <a:gd name="connsiteY33" fmla="*/ 87517 h 832919"/>
                <a:gd name="connsiteX34" fmla="*/ 0 w 497940"/>
                <a:gd name="connsiteY34" fmla="*/ 102606 h 832919"/>
                <a:gd name="connsiteX0" fmla="*/ 0 w 497940"/>
                <a:gd name="connsiteY0" fmla="*/ 102606 h 832919"/>
                <a:gd name="connsiteX1" fmla="*/ 84499 w 497940"/>
                <a:gd name="connsiteY1" fmla="*/ 482851 h 832919"/>
                <a:gd name="connsiteX2" fmla="*/ 78463 w 497940"/>
                <a:gd name="connsiteY2" fmla="*/ 522083 h 832919"/>
                <a:gd name="connsiteX3" fmla="*/ 66392 w 497940"/>
                <a:gd name="connsiteY3" fmla="*/ 567350 h 832919"/>
                <a:gd name="connsiteX4" fmla="*/ 77340 w 497940"/>
                <a:gd name="connsiteY4" fmla="*/ 633742 h 832919"/>
                <a:gd name="connsiteX5" fmla="*/ 87516 w 497940"/>
                <a:gd name="connsiteY5" fmla="*/ 672974 h 832919"/>
                <a:gd name="connsiteX6" fmla="*/ 80358 w 497940"/>
                <a:gd name="connsiteY6" fmla="*/ 672974 h 832919"/>
                <a:gd name="connsiteX7" fmla="*/ 63514 w 497940"/>
                <a:gd name="connsiteY7" fmla="*/ 712845 h 832919"/>
                <a:gd name="connsiteX8" fmla="*/ 42249 w 497940"/>
                <a:gd name="connsiteY8" fmla="*/ 751438 h 832919"/>
                <a:gd name="connsiteX9" fmla="*/ 46037 w 497940"/>
                <a:gd name="connsiteY9" fmla="*/ 773028 h 832919"/>
                <a:gd name="connsiteX10" fmla="*/ 51303 w 497940"/>
                <a:gd name="connsiteY10" fmla="*/ 820847 h 832919"/>
                <a:gd name="connsiteX11" fmla="*/ 48285 w 497940"/>
                <a:gd name="connsiteY11" fmla="*/ 832919 h 832919"/>
                <a:gd name="connsiteX12" fmla="*/ 108641 w 497940"/>
                <a:gd name="connsiteY12" fmla="*/ 808776 h 832919"/>
                <a:gd name="connsiteX13" fmla="*/ 135802 w 497940"/>
                <a:gd name="connsiteY13" fmla="*/ 826883 h 832919"/>
                <a:gd name="connsiteX14" fmla="*/ 214265 w 497940"/>
                <a:gd name="connsiteY14" fmla="*/ 790669 h 832919"/>
                <a:gd name="connsiteX15" fmla="*/ 229354 w 497940"/>
                <a:gd name="connsiteY15" fmla="*/ 772562 h 832919"/>
                <a:gd name="connsiteX16" fmla="*/ 262550 w 497940"/>
                <a:gd name="connsiteY16" fmla="*/ 790669 h 832919"/>
                <a:gd name="connsiteX17" fmla="*/ 262550 w 497940"/>
                <a:gd name="connsiteY17" fmla="*/ 736348 h 832919"/>
                <a:gd name="connsiteX18" fmla="*/ 265568 w 497940"/>
                <a:gd name="connsiteY18" fmla="*/ 727295 h 832919"/>
                <a:gd name="connsiteX19" fmla="*/ 298764 w 497940"/>
                <a:gd name="connsiteY19" fmla="*/ 748420 h 832919"/>
                <a:gd name="connsiteX20" fmla="*/ 310835 w 497940"/>
                <a:gd name="connsiteY20" fmla="*/ 748420 h 832919"/>
                <a:gd name="connsiteX21" fmla="*/ 322906 w 497940"/>
                <a:gd name="connsiteY21" fmla="*/ 736348 h 832919"/>
                <a:gd name="connsiteX22" fmla="*/ 368174 w 497940"/>
                <a:gd name="connsiteY22" fmla="*/ 679010 h 832919"/>
                <a:gd name="connsiteX23" fmla="*/ 377227 w 497940"/>
                <a:gd name="connsiteY23" fmla="*/ 603564 h 832919"/>
                <a:gd name="connsiteX24" fmla="*/ 393738 w 497940"/>
                <a:gd name="connsiteY24" fmla="*/ 619533 h 832919"/>
                <a:gd name="connsiteX25" fmla="*/ 497940 w 497940"/>
                <a:gd name="connsiteY25" fmla="*/ 573386 h 832919"/>
                <a:gd name="connsiteX26" fmla="*/ 476815 w 497940"/>
                <a:gd name="connsiteY26" fmla="*/ 525101 h 832919"/>
                <a:gd name="connsiteX27" fmla="*/ 494922 w 497940"/>
                <a:gd name="connsiteY27" fmla="*/ 494923 h 832919"/>
                <a:gd name="connsiteX28" fmla="*/ 380245 w 497940"/>
                <a:gd name="connsiteY28" fmla="*/ 12071 h 832919"/>
                <a:gd name="connsiteX29" fmla="*/ 368174 w 497940"/>
                <a:gd name="connsiteY29" fmla="*/ 0 h 832919"/>
                <a:gd name="connsiteX30" fmla="*/ 184087 w 497940"/>
                <a:gd name="connsiteY30" fmla="*/ 45267 h 832919"/>
                <a:gd name="connsiteX31" fmla="*/ 126748 w 497940"/>
                <a:gd name="connsiteY31" fmla="*/ 54321 h 832919"/>
                <a:gd name="connsiteX32" fmla="*/ 105623 w 497940"/>
                <a:gd name="connsiteY32" fmla="*/ 51303 h 832919"/>
                <a:gd name="connsiteX33" fmla="*/ 57338 w 497940"/>
                <a:gd name="connsiteY33" fmla="*/ 87517 h 832919"/>
                <a:gd name="connsiteX34" fmla="*/ 0 w 497940"/>
                <a:gd name="connsiteY34" fmla="*/ 102606 h 832919"/>
                <a:gd name="connsiteX0" fmla="*/ 0 w 497940"/>
                <a:gd name="connsiteY0" fmla="*/ 102606 h 832919"/>
                <a:gd name="connsiteX1" fmla="*/ 84499 w 497940"/>
                <a:gd name="connsiteY1" fmla="*/ 482851 h 832919"/>
                <a:gd name="connsiteX2" fmla="*/ 78463 w 497940"/>
                <a:gd name="connsiteY2" fmla="*/ 522083 h 832919"/>
                <a:gd name="connsiteX3" fmla="*/ 66392 w 497940"/>
                <a:gd name="connsiteY3" fmla="*/ 567350 h 832919"/>
                <a:gd name="connsiteX4" fmla="*/ 77340 w 497940"/>
                <a:gd name="connsiteY4" fmla="*/ 633742 h 832919"/>
                <a:gd name="connsiteX5" fmla="*/ 87516 w 497940"/>
                <a:gd name="connsiteY5" fmla="*/ 672974 h 832919"/>
                <a:gd name="connsiteX6" fmla="*/ 80358 w 497940"/>
                <a:gd name="connsiteY6" fmla="*/ 672974 h 832919"/>
                <a:gd name="connsiteX7" fmla="*/ 63514 w 497940"/>
                <a:gd name="connsiteY7" fmla="*/ 712845 h 832919"/>
                <a:gd name="connsiteX8" fmla="*/ 42249 w 497940"/>
                <a:gd name="connsiteY8" fmla="*/ 751438 h 832919"/>
                <a:gd name="connsiteX9" fmla="*/ 46037 w 497940"/>
                <a:gd name="connsiteY9" fmla="*/ 773028 h 832919"/>
                <a:gd name="connsiteX10" fmla="*/ 48285 w 497940"/>
                <a:gd name="connsiteY10" fmla="*/ 832919 h 832919"/>
                <a:gd name="connsiteX11" fmla="*/ 108641 w 497940"/>
                <a:gd name="connsiteY11" fmla="*/ 808776 h 832919"/>
                <a:gd name="connsiteX12" fmla="*/ 135802 w 497940"/>
                <a:gd name="connsiteY12" fmla="*/ 826883 h 832919"/>
                <a:gd name="connsiteX13" fmla="*/ 214265 w 497940"/>
                <a:gd name="connsiteY13" fmla="*/ 790669 h 832919"/>
                <a:gd name="connsiteX14" fmla="*/ 229354 w 497940"/>
                <a:gd name="connsiteY14" fmla="*/ 772562 h 832919"/>
                <a:gd name="connsiteX15" fmla="*/ 262550 w 497940"/>
                <a:gd name="connsiteY15" fmla="*/ 790669 h 832919"/>
                <a:gd name="connsiteX16" fmla="*/ 262550 w 497940"/>
                <a:gd name="connsiteY16" fmla="*/ 736348 h 832919"/>
                <a:gd name="connsiteX17" fmla="*/ 265568 w 497940"/>
                <a:gd name="connsiteY17" fmla="*/ 727295 h 832919"/>
                <a:gd name="connsiteX18" fmla="*/ 298764 w 497940"/>
                <a:gd name="connsiteY18" fmla="*/ 748420 h 832919"/>
                <a:gd name="connsiteX19" fmla="*/ 310835 w 497940"/>
                <a:gd name="connsiteY19" fmla="*/ 748420 h 832919"/>
                <a:gd name="connsiteX20" fmla="*/ 322906 w 497940"/>
                <a:gd name="connsiteY20" fmla="*/ 736348 h 832919"/>
                <a:gd name="connsiteX21" fmla="*/ 368174 w 497940"/>
                <a:gd name="connsiteY21" fmla="*/ 679010 h 832919"/>
                <a:gd name="connsiteX22" fmla="*/ 377227 w 497940"/>
                <a:gd name="connsiteY22" fmla="*/ 603564 h 832919"/>
                <a:gd name="connsiteX23" fmla="*/ 393738 w 497940"/>
                <a:gd name="connsiteY23" fmla="*/ 619533 h 832919"/>
                <a:gd name="connsiteX24" fmla="*/ 497940 w 497940"/>
                <a:gd name="connsiteY24" fmla="*/ 573386 h 832919"/>
                <a:gd name="connsiteX25" fmla="*/ 476815 w 497940"/>
                <a:gd name="connsiteY25" fmla="*/ 525101 h 832919"/>
                <a:gd name="connsiteX26" fmla="*/ 494922 w 497940"/>
                <a:gd name="connsiteY26" fmla="*/ 494923 h 832919"/>
                <a:gd name="connsiteX27" fmla="*/ 380245 w 497940"/>
                <a:gd name="connsiteY27" fmla="*/ 12071 h 832919"/>
                <a:gd name="connsiteX28" fmla="*/ 368174 w 497940"/>
                <a:gd name="connsiteY28" fmla="*/ 0 h 832919"/>
                <a:gd name="connsiteX29" fmla="*/ 184087 w 497940"/>
                <a:gd name="connsiteY29" fmla="*/ 45267 h 832919"/>
                <a:gd name="connsiteX30" fmla="*/ 126748 w 497940"/>
                <a:gd name="connsiteY30" fmla="*/ 54321 h 832919"/>
                <a:gd name="connsiteX31" fmla="*/ 105623 w 497940"/>
                <a:gd name="connsiteY31" fmla="*/ 51303 h 832919"/>
                <a:gd name="connsiteX32" fmla="*/ 57338 w 497940"/>
                <a:gd name="connsiteY32" fmla="*/ 87517 h 832919"/>
                <a:gd name="connsiteX33" fmla="*/ 0 w 497940"/>
                <a:gd name="connsiteY33" fmla="*/ 102606 h 832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97940" h="832919">
                  <a:moveTo>
                    <a:pt x="0" y="102606"/>
                  </a:moveTo>
                  <a:lnTo>
                    <a:pt x="84499" y="482851"/>
                  </a:lnTo>
                  <a:lnTo>
                    <a:pt x="78463" y="522083"/>
                  </a:lnTo>
                  <a:lnTo>
                    <a:pt x="66392" y="567350"/>
                  </a:lnTo>
                  <a:lnTo>
                    <a:pt x="77340" y="633742"/>
                  </a:lnTo>
                  <a:lnTo>
                    <a:pt x="87516" y="672974"/>
                  </a:lnTo>
                  <a:lnTo>
                    <a:pt x="80358" y="672974"/>
                  </a:lnTo>
                  <a:lnTo>
                    <a:pt x="63514" y="712845"/>
                  </a:lnTo>
                  <a:lnTo>
                    <a:pt x="42249" y="751438"/>
                  </a:lnTo>
                  <a:lnTo>
                    <a:pt x="46037" y="773028"/>
                  </a:lnTo>
                  <a:cubicBezTo>
                    <a:pt x="46786" y="792992"/>
                    <a:pt x="47536" y="812955"/>
                    <a:pt x="48285" y="832919"/>
                  </a:cubicBezTo>
                  <a:lnTo>
                    <a:pt x="108641" y="808776"/>
                  </a:lnTo>
                  <a:lnTo>
                    <a:pt x="135802" y="826883"/>
                  </a:lnTo>
                  <a:lnTo>
                    <a:pt x="214265" y="790669"/>
                  </a:lnTo>
                  <a:lnTo>
                    <a:pt x="229354" y="772562"/>
                  </a:lnTo>
                  <a:lnTo>
                    <a:pt x="262550" y="790669"/>
                  </a:lnTo>
                  <a:lnTo>
                    <a:pt x="262550" y="736348"/>
                  </a:lnTo>
                  <a:lnTo>
                    <a:pt x="265568" y="727295"/>
                  </a:lnTo>
                  <a:lnTo>
                    <a:pt x="298764" y="748420"/>
                  </a:lnTo>
                  <a:lnTo>
                    <a:pt x="310835" y="748420"/>
                  </a:lnTo>
                  <a:lnTo>
                    <a:pt x="322906" y="736348"/>
                  </a:lnTo>
                  <a:lnTo>
                    <a:pt x="368174" y="679010"/>
                  </a:lnTo>
                  <a:lnTo>
                    <a:pt x="377227" y="603564"/>
                  </a:lnTo>
                  <a:cubicBezTo>
                    <a:pt x="380345" y="603334"/>
                    <a:pt x="390620" y="619763"/>
                    <a:pt x="393738" y="619533"/>
                  </a:cubicBezTo>
                  <a:lnTo>
                    <a:pt x="497940" y="573386"/>
                  </a:lnTo>
                  <a:lnTo>
                    <a:pt x="476815" y="525101"/>
                  </a:lnTo>
                  <a:lnTo>
                    <a:pt x="494922" y="494923"/>
                  </a:lnTo>
                  <a:lnTo>
                    <a:pt x="380245" y="12071"/>
                  </a:lnTo>
                  <a:lnTo>
                    <a:pt x="368174" y="0"/>
                  </a:lnTo>
                  <a:lnTo>
                    <a:pt x="184087" y="45267"/>
                  </a:lnTo>
                  <a:lnTo>
                    <a:pt x="126748" y="54321"/>
                  </a:lnTo>
                  <a:lnTo>
                    <a:pt x="105623" y="51303"/>
                  </a:lnTo>
                  <a:lnTo>
                    <a:pt x="57338" y="87517"/>
                  </a:lnTo>
                  <a:lnTo>
                    <a:pt x="0" y="10260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8" name="Freeform 117"/>
            <p:cNvSpPr/>
            <p:nvPr/>
          </p:nvSpPr>
          <p:spPr>
            <a:xfrm>
              <a:off x="2070250" y="3611421"/>
              <a:ext cx="1372025" cy="1203908"/>
            </a:xfrm>
            <a:custGeom>
              <a:avLst/>
              <a:gdLst>
                <a:gd name="connsiteX0" fmla="*/ 586946 w 2168610"/>
                <a:gd name="connsiteY0" fmla="*/ 0 h 2032687"/>
                <a:gd name="connsiteX1" fmla="*/ 580767 w 2168610"/>
                <a:gd name="connsiteY1" fmla="*/ 864973 h 2032687"/>
                <a:gd name="connsiteX2" fmla="*/ 6178 w 2168610"/>
                <a:gd name="connsiteY2" fmla="*/ 846438 h 2032687"/>
                <a:gd name="connsiteX3" fmla="*/ 0 w 2168610"/>
                <a:gd name="connsiteY3" fmla="*/ 883509 h 2032687"/>
                <a:gd name="connsiteX4" fmla="*/ 49427 w 2168610"/>
                <a:gd name="connsiteY4" fmla="*/ 914400 h 2032687"/>
                <a:gd name="connsiteX5" fmla="*/ 105032 w 2168610"/>
                <a:gd name="connsiteY5" fmla="*/ 982363 h 2032687"/>
                <a:gd name="connsiteX6" fmla="*/ 154459 w 2168610"/>
                <a:gd name="connsiteY6" fmla="*/ 1056503 h 2032687"/>
                <a:gd name="connsiteX7" fmla="*/ 203886 w 2168610"/>
                <a:gd name="connsiteY7" fmla="*/ 1068860 h 2032687"/>
                <a:gd name="connsiteX8" fmla="*/ 240956 w 2168610"/>
                <a:gd name="connsiteY8" fmla="*/ 1118287 h 2032687"/>
                <a:gd name="connsiteX9" fmla="*/ 271848 w 2168610"/>
                <a:gd name="connsiteY9" fmla="*/ 1167714 h 2032687"/>
                <a:gd name="connsiteX10" fmla="*/ 296562 w 2168610"/>
                <a:gd name="connsiteY10" fmla="*/ 1223319 h 2032687"/>
                <a:gd name="connsiteX11" fmla="*/ 308919 w 2168610"/>
                <a:gd name="connsiteY11" fmla="*/ 1297460 h 2032687"/>
                <a:gd name="connsiteX12" fmla="*/ 327454 w 2168610"/>
                <a:gd name="connsiteY12" fmla="*/ 1322173 h 2032687"/>
                <a:gd name="connsiteX13" fmla="*/ 432486 w 2168610"/>
                <a:gd name="connsiteY13" fmla="*/ 1402492 h 2032687"/>
                <a:gd name="connsiteX14" fmla="*/ 438665 w 2168610"/>
                <a:gd name="connsiteY14" fmla="*/ 1377779 h 2032687"/>
                <a:gd name="connsiteX15" fmla="*/ 574589 w 2168610"/>
                <a:gd name="connsiteY15" fmla="*/ 1445741 h 2032687"/>
                <a:gd name="connsiteX16" fmla="*/ 574589 w 2168610"/>
                <a:gd name="connsiteY16" fmla="*/ 1445741 h 2032687"/>
                <a:gd name="connsiteX17" fmla="*/ 605481 w 2168610"/>
                <a:gd name="connsiteY17" fmla="*/ 1390136 h 2032687"/>
                <a:gd name="connsiteX18" fmla="*/ 661086 w 2168610"/>
                <a:gd name="connsiteY18" fmla="*/ 1322173 h 2032687"/>
                <a:gd name="connsiteX19" fmla="*/ 729048 w 2168610"/>
                <a:gd name="connsiteY19" fmla="*/ 1303638 h 2032687"/>
                <a:gd name="connsiteX20" fmla="*/ 821724 w 2168610"/>
                <a:gd name="connsiteY20" fmla="*/ 1315995 h 2032687"/>
                <a:gd name="connsiteX21" fmla="*/ 902043 w 2168610"/>
                <a:gd name="connsiteY21" fmla="*/ 1377779 h 2032687"/>
                <a:gd name="connsiteX22" fmla="*/ 957648 w 2168610"/>
                <a:gd name="connsiteY22" fmla="*/ 1458098 h 2032687"/>
                <a:gd name="connsiteX23" fmla="*/ 1013254 w 2168610"/>
                <a:gd name="connsiteY23" fmla="*/ 1538417 h 2032687"/>
                <a:gd name="connsiteX24" fmla="*/ 1062681 w 2168610"/>
                <a:gd name="connsiteY24" fmla="*/ 1624914 h 2032687"/>
                <a:gd name="connsiteX25" fmla="*/ 1118286 w 2168610"/>
                <a:gd name="connsiteY25" fmla="*/ 1692876 h 2032687"/>
                <a:gd name="connsiteX26" fmla="*/ 1167713 w 2168610"/>
                <a:gd name="connsiteY26" fmla="*/ 1729946 h 2032687"/>
                <a:gd name="connsiteX27" fmla="*/ 1198605 w 2168610"/>
                <a:gd name="connsiteY27" fmla="*/ 1810265 h 2032687"/>
                <a:gd name="connsiteX28" fmla="*/ 1223319 w 2168610"/>
                <a:gd name="connsiteY28" fmla="*/ 1872049 h 2032687"/>
                <a:gd name="connsiteX29" fmla="*/ 1248032 w 2168610"/>
                <a:gd name="connsiteY29" fmla="*/ 1933833 h 2032687"/>
                <a:gd name="connsiteX30" fmla="*/ 1278924 w 2168610"/>
                <a:gd name="connsiteY30" fmla="*/ 1977082 h 2032687"/>
                <a:gd name="connsiteX31" fmla="*/ 1340708 w 2168610"/>
                <a:gd name="connsiteY31" fmla="*/ 2001795 h 2032687"/>
                <a:gd name="connsiteX32" fmla="*/ 1439562 w 2168610"/>
                <a:gd name="connsiteY32" fmla="*/ 2020330 h 2032687"/>
                <a:gd name="connsiteX33" fmla="*/ 1513702 w 2168610"/>
                <a:gd name="connsiteY33" fmla="*/ 2032687 h 2032687"/>
                <a:gd name="connsiteX34" fmla="*/ 1606378 w 2168610"/>
                <a:gd name="connsiteY34" fmla="*/ 2032687 h 2032687"/>
                <a:gd name="connsiteX35" fmla="*/ 1587843 w 2168610"/>
                <a:gd name="connsiteY35" fmla="*/ 2020330 h 2032687"/>
                <a:gd name="connsiteX36" fmla="*/ 1587843 w 2168610"/>
                <a:gd name="connsiteY36" fmla="*/ 2020330 h 2032687"/>
                <a:gd name="connsiteX37" fmla="*/ 1575486 w 2168610"/>
                <a:gd name="connsiteY37" fmla="*/ 1952368 h 2032687"/>
                <a:gd name="connsiteX38" fmla="*/ 1550773 w 2168610"/>
                <a:gd name="connsiteY38" fmla="*/ 1921476 h 2032687"/>
                <a:gd name="connsiteX39" fmla="*/ 1544594 w 2168610"/>
                <a:gd name="connsiteY39" fmla="*/ 1884406 h 2032687"/>
                <a:gd name="connsiteX40" fmla="*/ 1526059 w 2168610"/>
                <a:gd name="connsiteY40" fmla="*/ 1841157 h 2032687"/>
                <a:gd name="connsiteX41" fmla="*/ 1538416 w 2168610"/>
                <a:gd name="connsiteY41" fmla="*/ 1810265 h 2032687"/>
                <a:gd name="connsiteX42" fmla="*/ 1532237 w 2168610"/>
                <a:gd name="connsiteY42" fmla="*/ 1791730 h 2032687"/>
                <a:gd name="connsiteX43" fmla="*/ 1488989 w 2168610"/>
                <a:gd name="connsiteY43" fmla="*/ 1767017 h 2032687"/>
                <a:gd name="connsiteX44" fmla="*/ 1538416 w 2168610"/>
                <a:gd name="connsiteY44" fmla="*/ 1736125 h 2032687"/>
                <a:gd name="connsiteX45" fmla="*/ 1544594 w 2168610"/>
                <a:gd name="connsiteY45" fmla="*/ 1723768 h 2032687"/>
                <a:gd name="connsiteX46" fmla="*/ 1550773 w 2168610"/>
                <a:gd name="connsiteY46" fmla="*/ 1692876 h 2032687"/>
                <a:gd name="connsiteX47" fmla="*/ 1526059 w 2168610"/>
                <a:gd name="connsiteY47" fmla="*/ 1661984 h 2032687"/>
                <a:gd name="connsiteX48" fmla="*/ 1550773 w 2168610"/>
                <a:gd name="connsiteY48" fmla="*/ 1661984 h 2032687"/>
                <a:gd name="connsiteX49" fmla="*/ 1575486 w 2168610"/>
                <a:gd name="connsiteY49" fmla="*/ 1643449 h 2032687"/>
                <a:gd name="connsiteX50" fmla="*/ 1550773 w 2168610"/>
                <a:gd name="connsiteY50" fmla="*/ 1587844 h 2032687"/>
                <a:gd name="connsiteX51" fmla="*/ 1550773 w 2168610"/>
                <a:gd name="connsiteY51" fmla="*/ 1587844 h 2032687"/>
                <a:gd name="connsiteX52" fmla="*/ 1618735 w 2168610"/>
                <a:gd name="connsiteY52" fmla="*/ 1587844 h 2032687"/>
                <a:gd name="connsiteX53" fmla="*/ 1631092 w 2168610"/>
                <a:gd name="connsiteY53" fmla="*/ 1575487 h 2032687"/>
                <a:gd name="connsiteX54" fmla="*/ 1649627 w 2168610"/>
                <a:gd name="connsiteY54" fmla="*/ 1526060 h 2032687"/>
                <a:gd name="connsiteX55" fmla="*/ 1686697 w 2168610"/>
                <a:gd name="connsiteY55" fmla="*/ 1526060 h 2032687"/>
                <a:gd name="connsiteX56" fmla="*/ 1705232 w 2168610"/>
                <a:gd name="connsiteY56" fmla="*/ 1526060 h 2032687"/>
                <a:gd name="connsiteX57" fmla="*/ 1705232 w 2168610"/>
                <a:gd name="connsiteY57" fmla="*/ 1495168 h 2032687"/>
                <a:gd name="connsiteX58" fmla="*/ 1699054 w 2168610"/>
                <a:gd name="connsiteY58" fmla="*/ 1476633 h 2032687"/>
                <a:gd name="connsiteX59" fmla="*/ 1699054 w 2168610"/>
                <a:gd name="connsiteY59" fmla="*/ 1476633 h 2032687"/>
                <a:gd name="connsiteX60" fmla="*/ 1773194 w 2168610"/>
                <a:gd name="connsiteY60" fmla="*/ 1482811 h 2032687"/>
                <a:gd name="connsiteX61" fmla="*/ 1834978 w 2168610"/>
                <a:gd name="connsiteY61" fmla="*/ 1470455 h 2032687"/>
                <a:gd name="connsiteX62" fmla="*/ 1896762 w 2168610"/>
                <a:gd name="connsiteY62" fmla="*/ 1414849 h 2032687"/>
                <a:gd name="connsiteX63" fmla="*/ 1896762 w 2168610"/>
                <a:gd name="connsiteY63" fmla="*/ 1371600 h 2032687"/>
                <a:gd name="connsiteX64" fmla="*/ 1946189 w 2168610"/>
                <a:gd name="connsiteY64" fmla="*/ 1340709 h 2032687"/>
                <a:gd name="connsiteX65" fmla="*/ 1940010 w 2168610"/>
                <a:gd name="connsiteY65" fmla="*/ 1278925 h 2032687"/>
                <a:gd name="connsiteX66" fmla="*/ 1983259 w 2168610"/>
                <a:gd name="connsiteY66" fmla="*/ 1260390 h 2032687"/>
                <a:gd name="connsiteX67" fmla="*/ 2007973 w 2168610"/>
                <a:gd name="connsiteY67" fmla="*/ 1322173 h 2032687"/>
                <a:gd name="connsiteX68" fmla="*/ 2143897 w 2168610"/>
                <a:gd name="connsiteY68" fmla="*/ 1248033 h 2032687"/>
                <a:gd name="connsiteX69" fmla="*/ 2156254 w 2168610"/>
                <a:gd name="connsiteY69" fmla="*/ 1161536 h 2032687"/>
                <a:gd name="connsiteX70" fmla="*/ 2143897 w 2168610"/>
                <a:gd name="connsiteY70" fmla="*/ 1124465 h 2032687"/>
                <a:gd name="connsiteX71" fmla="*/ 2137719 w 2168610"/>
                <a:gd name="connsiteY71" fmla="*/ 1087395 h 2032687"/>
                <a:gd name="connsiteX72" fmla="*/ 2150075 w 2168610"/>
                <a:gd name="connsiteY72" fmla="*/ 1044146 h 2032687"/>
                <a:gd name="connsiteX73" fmla="*/ 2168610 w 2168610"/>
                <a:gd name="connsiteY73" fmla="*/ 1007076 h 2032687"/>
                <a:gd name="connsiteX74" fmla="*/ 2131540 w 2168610"/>
                <a:gd name="connsiteY74" fmla="*/ 895865 h 2032687"/>
                <a:gd name="connsiteX75" fmla="*/ 2100648 w 2168610"/>
                <a:gd name="connsiteY75" fmla="*/ 864973 h 2032687"/>
                <a:gd name="connsiteX76" fmla="*/ 2075935 w 2168610"/>
                <a:gd name="connsiteY76" fmla="*/ 784655 h 2032687"/>
                <a:gd name="connsiteX77" fmla="*/ 2063578 w 2168610"/>
                <a:gd name="connsiteY77" fmla="*/ 611660 h 2032687"/>
                <a:gd name="connsiteX78" fmla="*/ 2051221 w 2168610"/>
                <a:gd name="connsiteY78" fmla="*/ 512806 h 2032687"/>
                <a:gd name="connsiteX79" fmla="*/ 2032686 w 2168610"/>
                <a:gd name="connsiteY79" fmla="*/ 494271 h 2032687"/>
                <a:gd name="connsiteX80" fmla="*/ 1983259 w 2168610"/>
                <a:gd name="connsiteY80" fmla="*/ 518984 h 2032687"/>
                <a:gd name="connsiteX81" fmla="*/ 1872048 w 2168610"/>
                <a:gd name="connsiteY81" fmla="*/ 463379 h 2032687"/>
                <a:gd name="connsiteX82" fmla="*/ 1834978 w 2168610"/>
                <a:gd name="connsiteY82" fmla="*/ 463379 h 2032687"/>
                <a:gd name="connsiteX83" fmla="*/ 1767016 w 2168610"/>
                <a:gd name="connsiteY83" fmla="*/ 457200 h 2032687"/>
                <a:gd name="connsiteX84" fmla="*/ 1692875 w 2168610"/>
                <a:gd name="connsiteY84" fmla="*/ 512806 h 2032687"/>
                <a:gd name="connsiteX85" fmla="*/ 1631092 w 2168610"/>
                <a:gd name="connsiteY85" fmla="*/ 481914 h 2032687"/>
                <a:gd name="connsiteX86" fmla="*/ 1594021 w 2168610"/>
                <a:gd name="connsiteY86" fmla="*/ 494271 h 2032687"/>
                <a:gd name="connsiteX87" fmla="*/ 1594021 w 2168610"/>
                <a:gd name="connsiteY87" fmla="*/ 494271 h 2032687"/>
                <a:gd name="connsiteX88" fmla="*/ 1519881 w 2168610"/>
                <a:gd name="connsiteY88" fmla="*/ 488092 h 2032687"/>
                <a:gd name="connsiteX89" fmla="*/ 1488989 w 2168610"/>
                <a:gd name="connsiteY89" fmla="*/ 463379 h 2032687"/>
                <a:gd name="connsiteX90" fmla="*/ 1439562 w 2168610"/>
                <a:gd name="connsiteY90" fmla="*/ 481914 h 2032687"/>
                <a:gd name="connsiteX91" fmla="*/ 1353065 w 2168610"/>
                <a:gd name="connsiteY91" fmla="*/ 438665 h 2032687"/>
                <a:gd name="connsiteX92" fmla="*/ 1291281 w 2168610"/>
                <a:gd name="connsiteY92" fmla="*/ 444844 h 2032687"/>
                <a:gd name="connsiteX93" fmla="*/ 1260389 w 2168610"/>
                <a:gd name="connsiteY93" fmla="*/ 432487 h 2032687"/>
                <a:gd name="connsiteX94" fmla="*/ 1235675 w 2168610"/>
                <a:gd name="connsiteY94" fmla="*/ 432487 h 2032687"/>
                <a:gd name="connsiteX95" fmla="*/ 1210962 w 2168610"/>
                <a:gd name="connsiteY95" fmla="*/ 389238 h 2032687"/>
                <a:gd name="connsiteX96" fmla="*/ 1136821 w 2168610"/>
                <a:gd name="connsiteY96" fmla="*/ 395417 h 2032687"/>
                <a:gd name="connsiteX97" fmla="*/ 1105929 w 2168610"/>
                <a:gd name="connsiteY97" fmla="*/ 364525 h 2032687"/>
                <a:gd name="connsiteX98" fmla="*/ 1087394 w 2168610"/>
                <a:gd name="connsiteY98" fmla="*/ 364525 h 2032687"/>
                <a:gd name="connsiteX99" fmla="*/ 1075037 w 2168610"/>
                <a:gd name="connsiteY99" fmla="*/ 352168 h 2032687"/>
                <a:gd name="connsiteX100" fmla="*/ 1062681 w 2168610"/>
                <a:gd name="connsiteY100" fmla="*/ 345990 h 2032687"/>
                <a:gd name="connsiteX101" fmla="*/ 1056502 w 2168610"/>
                <a:gd name="connsiteY101" fmla="*/ 6179 h 2032687"/>
                <a:gd name="connsiteX102" fmla="*/ 586946 w 2168610"/>
                <a:gd name="connsiteY102" fmla="*/ 0 h 2032687"/>
                <a:gd name="connsiteX0" fmla="*/ 586946 w 2168610"/>
                <a:gd name="connsiteY0" fmla="*/ 0 h 2032687"/>
                <a:gd name="connsiteX1" fmla="*/ 580767 w 2168610"/>
                <a:gd name="connsiteY1" fmla="*/ 864973 h 2032687"/>
                <a:gd name="connsiteX2" fmla="*/ 6178 w 2168610"/>
                <a:gd name="connsiteY2" fmla="*/ 846438 h 2032687"/>
                <a:gd name="connsiteX3" fmla="*/ 0 w 2168610"/>
                <a:gd name="connsiteY3" fmla="*/ 883509 h 2032687"/>
                <a:gd name="connsiteX4" fmla="*/ 49427 w 2168610"/>
                <a:gd name="connsiteY4" fmla="*/ 914400 h 2032687"/>
                <a:gd name="connsiteX5" fmla="*/ 105032 w 2168610"/>
                <a:gd name="connsiteY5" fmla="*/ 982363 h 2032687"/>
                <a:gd name="connsiteX6" fmla="*/ 154459 w 2168610"/>
                <a:gd name="connsiteY6" fmla="*/ 1056503 h 2032687"/>
                <a:gd name="connsiteX7" fmla="*/ 203886 w 2168610"/>
                <a:gd name="connsiteY7" fmla="*/ 1068860 h 2032687"/>
                <a:gd name="connsiteX8" fmla="*/ 240956 w 2168610"/>
                <a:gd name="connsiteY8" fmla="*/ 1118287 h 2032687"/>
                <a:gd name="connsiteX9" fmla="*/ 271848 w 2168610"/>
                <a:gd name="connsiteY9" fmla="*/ 1167714 h 2032687"/>
                <a:gd name="connsiteX10" fmla="*/ 296562 w 2168610"/>
                <a:gd name="connsiteY10" fmla="*/ 1223319 h 2032687"/>
                <a:gd name="connsiteX11" fmla="*/ 308919 w 2168610"/>
                <a:gd name="connsiteY11" fmla="*/ 1297460 h 2032687"/>
                <a:gd name="connsiteX12" fmla="*/ 327454 w 2168610"/>
                <a:gd name="connsiteY12" fmla="*/ 1322173 h 2032687"/>
                <a:gd name="connsiteX13" fmla="*/ 432486 w 2168610"/>
                <a:gd name="connsiteY13" fmla="*/ 1402492 h 2032687"/>
                <a:gd name="connsiteX14" fmla="*/ 438665 w 2168610"/>
                <a:gd name="connsiteY14" fmla="*/ 1377779 h 2032687"/>
                <a:gd name="connsiteX15" fmla="*/ 574589 w 2168610"/>
                <a:gd name="connsiteY15" fmla="*/ 1445741 h 2032687"/>
                <a:gd name="connsiteX16" fmla="*/ 574589 w 2168610"/>
                <a:gd name="connsiteY16" fmla="*/ 1445741 h 2032687"/>
                <a:gd name="connsiteX17" fmla="*/ 605481 w 2168610"/>
                <a:gd name="connsiteY17" fmla="*/ 1390136 h 2032687"/>
                <a:gd name="connsiteX18" fmla="*/ 661086 w 2168610"/>
                <a:gd name="connsiteY18" fmla="*/ 1322173 h 2032687"/>
                <a:gd name="connsiteX19" fmla="*/ 729048 w 2168610"/>
                <a:gd name="connsiteY19" fmla="*/ 1303638 h 2032687"/>
                <a:gd name="connsiteX20" fmla="*/ 821724 w 2168610"/>
                <a:gd name="connsiteY20" fmla="*/ 1315995 h 2032687"/>
                <a:gd name="connsiteX21" fmla="*/ 902043 w 2168610"/>
                <a:gd name="connsiteY21" fmla="*/ 1377779 h 2032687"/>
                <a:gd name="connsiteX22" fmla="*/ 957648 w 2168610"/>
                <a:gd name="connsiteY22" fmla="*/ 1458098 h 2032687"/>
                <a:gd name="connsiteX23" fmla="*/ 1013254 w 2168610"/>
                <a:gd name="connsiteY23" fmla="*/ 1538417 h 2032687"/>
                <a:gd name="connsiteX24" fmla="*/ 1062681 w 2168610"/>
                <a:gd name="connsiteY24" fmla="*/ 1624914 h 2032687"/>
                <a:gd name="connsiteX25" fmla="*/ 1118286 w 2168610"/>
                <a:gd name="connsiteY25" fmla="*/ 1692876 h 2032687"/>
                <a:gd name="connsiteX26" fmla="*/ 1167713 w 2168610"/>
                <a:gd name="connsiteY26" fmla="*/ 1729946 h 2032687"/>
                <a:gd name="connsiteX27" fmla="*/ 1198605 w 2168610"/>
                <a:gd name="connsiteY27" fmla="*/ 1810265 h 2032687"/>
                <a:gd name="connsiteX28" fmla="*/ 1223319 w 2168610"/>
                <a:gd name="connsiteY28" fmla="*/ 1872049 h 2032687"/>
                <a:gd name="connsiteX29" fmla="*/ 1248032 w 2168610"/>
                <a:gd name="connsiteY29" fmla="*/ 1933833 h 2032687"/>
                <a:gd name="connsiteX30" fmla="*/ 1278924 w 2168610"/>
                <a:gd name="connsiteY30" fmla="*/ 1977082 h 2032687"/>
                <a:gd name="connsiteX31" fmla="*/ 1340708 w 2168610"/>
                <a:gd name="connsiteY31" fmla="*/ 2001795 h 2032687"/>
                <a:gd name="connsiteX32" fmla="*/ 1439562 w 2168610"/>
                <a:gd name="connsiteY32" fmla="*/ 2020330 h 2032687"/>
                <a:gd name="connsiteX33" fmla="*/ 1513702 w 2168610"/>
                <a:gd name="connsiteY33" fmla="*/ 2032687 h 2032687"/>
                <a:gd name="connsiteX34" fmla="*/ 1606378 w 2168610"/>
                <a:gd name="connsiteY34" fmla="*/ 2032687 h 2032687"/>
                <a:gd name="connsiteX35" fmla="*/ 1587843 w 2168610"/>
                <a:gd name="connsiteY35" fmla="*/ 2020330 h 2032687"/>
                <a:gd name="connsiteX36" fmla="*/ 1587843 w 2168610"/>
                <a:gd name="connsiteY36" fmla="*/ 2020330 h 2032687"/>
                <a:gd name="connsiteX37" fmla="*/ 1575486 w 2168610"/>
                <a:gd name="connsiteY37" fmla="*/ 1952368 h 2032687"/>
                <a:gd name="connsiteX38" fmla="*/ 1550773 w 2168610"/>
                <a:gd name="connsiteY38" fmla="*/ 1921476 h 2032687"/>
                <a:gd name="connsiteX39" fmla="*/ 1544594 w 2168610"/>
                <a:gd name="connsiteY39" fmla="*/ 1884406 h 2032687"/>
                <a:gd name="connsiteX40" fmla="*/ 1526059 w 2168610"/>
                <a:gd name="connsiteY40" fmla="*/ 1841157 h 2032687"/>
                <a:gd name="connsiteX41" fmla="*/ 1538416 w 2168610"/>
                <a:gd name="connsiteY41" fmla="*/ 1810265 h 2032687"/>
                <a:gd name="connsiteX42" fmla="*/ 1532237 w 2168610"/>
                <a:gd name="connsiteY42" fmla="*/ 1791730 h 2032687"/>
                <a:gd name="connsiteX43" fmla="*/ 1488989 w 2168610"/>
                <a:gd name="connsiteY43" fmla="*/ 1767017 h 2032687"/>
                <a:gd name="connsiteX44" fmla="*/ 1538416 w 2168610"/>
                <a:gd name="connsiteY44" fmla="*/ 1736125 h 2032687"/>
                <a:gd name="connsiteX45" fmla="*/ 1544594 w 2168610"/>
                <a:gd name="connsiteY45" fmla="*/ 1723768 h 2032687"/>
                <a:gd name="connsiteX46" fmla="*/ 1550773 w 2168610"/>
                <a:gd name="connsiteY46" fmla="*/ 1692876 h 2032687"/>
                <a:gd name="connsiteX47" fmla="*/ 1526059 w 2168610"/>
                <a:gd name="connsiteY47" fmla="*/ 1661984 h 2032687"/>
                <a:gd name="connsiteX48" fmla="*/ 1550773 w 2168610"/>
                <a:gd name="connsiteY48" fmla="*/ 1661984 h 2032687"/>
                <a:gd name="connsiteX49" fmla="*/ 1575486 w 2168610"/>
                <a:gd name="connsiteY49" fmla="*/ 1643449 h 2032687"/>
                <a:gd name="connsiteX50" fmla="*/ 1550773 w 2168610"/>
                <a:gd name="connsiteY50" fmla="*/ 1587844 h 2032687"/>
                <a:gd name="connsiteX51" fmla="*/ 1550773 w 2168610"/>
                <a:gd name="connsiteY51" fmla="*/ 1587844 h 2032687"/>
                <a:gd name="connsiteX52" fmla="*/ 1618735 w 2168610"/>
                <a:gd name="connsiteY52" fmla="*/ 1587844 h 2032687"/>
                <a:gd name="connsiteX53" fmla="*/ 1631092 w 2168610"/>
                <a:gd name="connsiteY53" fmla="*/ 1575487 h 2032687"/>
                <a:gd name="connsiteX54" fmla="*/ 1649627 w 2168610"/>
                <a:gd name="connsiteY54" fmla="*/ 1526060 h 2032687"/>
                <a:gd name="connsiteX55" fmla="*/ 1686697 w 2168610"/>
                <a:gd name="connsiteY55" fmla="*/ 1526060 h 2032687"/>
                <a:gd name="connsiteX56" fmla="*/ 1705232 w 2168610"/>
                <a:gd name="connsiteY56" fmla="*/ 1526060 h 2032687"/>
                <a:gd name="connsiteX57" fmla="*/ 1705232 w 2168610"/>
                <a:gd name="connsiteY57" fmla="*/ 1495168 h 2032687"/>
                <a:gd name="connsiteX58" fmla="*/ 1699054 w 2168610"/>
                <a:gd name="connsiteY58" fmla="*/ 1476633 h 2032687"/>
                <a:gd name="connsiteX59" fmla="*/ 1699054 w 2168610"/>
                <a:gd name="connsiteY59" fmla="*/ 1476633 h 2032687"/>
                <a:gd name="connsiteX60" fmla="*/ 1773194 w 2168610"/>
                <a:gd name="connsiteY60" fmla="*/ 1482811 h 2032687"/>
                <a:gd name="connsiteX61" fmla="*/ 1834978 w 2168610"/>
                <a:gd name="connsiteY61" fmla="*/ 1470455 h 2032687"/>
                <a:gd name="connsiteX62" fmla="*/ 1896762 w 2168610"/>
                <a:gd name="connsiteY62" fmla="*/ 1414849 h 2032687"/>
                <a:gd name="connsiteX63" fmla="*/ 1896762 w 2168610"/>
                <a:gd name="connsiteY63" fmla="*/ 1371600 h 2032687"/>
                <a:gd name="connsiteX64" fmla="*/ 1946189 w 2168610"/>
                <a:gd name="connsiteY64" fmla="*/ 1340709 h 2032687"/>
                <a:gd name="connsiteX65" fmla="*/ 1940010 w 2168610"/>
                <a:gd name="connsiteY65" fmla="*/ 1278925 h 2032687"/>
                <a:gd name="connsiteX66" fmla="*/ 1983259 w 2168610"/>
                <a:gd name="connsiteY66" fmla="*/ 1260390 h 2032687"/>
                <a:gd name="connsiteX67" fmla="*/ 2007973 w 2168610"/>
                <a:gd name="connsiteY67" fmla="*/ 1322173 h 2032687"/>
                <a:gd name="connsiteX68" fmla="*/ 2143897 w 2168610"/>
                <a:gd name="connsiteY68" fmla="*/ 1248033 h 2032687"/>
                <a:gd name="connsiteX69" fmla="*/ 2156254 w 2168610"/>
                <a:gd name="connsiteY69" fmla="*/ 1161536 h 2032687"/>
                <a:gd name="connsiteX70" fmla="*/ 2143897 w 2168610"/>
                <a:gd name="connsiteY70" fmla="*/ 1124465 h 2032687"/>
                <a:gd name="connsiteX71" fmla="*/ 2137719 w 2168610"/>
                <a:gd name="connsiteY71" fmla="*/ 1087395 h 2032687"/>
                <a:gd name="connsiteX72" fmla="*/ 2150075 w 2168610"/>
                <a:gd name="connsiteY72" fmla="*/ 1044146 h 2032687"/>
                <a:gd name="connsiteX73" fmla="*/ 2168610 w 2168610"/>
                <a:gd name="connsiteY73" fmla="*/ 1007076 h 2032687"/>
                <a:gd name="connsiteX74" fmla="*/ 2131540 w 2168610"/>
                <a:gd name="connsiteY74" fmla="*/ 895865 h 2032687"/>
                <a:gd name="connsiteX75" fmla="*/ 2100648 w 2168610"/>
                <a:gd name="connsiteY75" fmla="*/ 864973 h 2032687"/>
                <a:gd name="connsiteX76" fmla="*/ 2075935 w 2168610"/>
                <a:gd name="connsiteY76" fmla="*/ 784655 h 2032687"/>
                <a:gd name="connsiteX77" fmla="*/ 2063578 w 2168610"/>
                <a:gd name="connsiteY77" fmla="*/ 611660 h 2032687"/>
                <a:gd name="connsiteX78" fmla="*/ 2051221 w 2168610"/>
                <a:gd name="connsiteY78" fmla="*/ 512806 h 2032687"/>
                <a:gd name="connsiteX79" fmla="*/ 2032686 w 2168610"/>
                <a:gd name="connsiteY79" fmla="*/ 494271 h 2032687"/>
                <a:gd name="connsiteX80" fmla="*/ 1983259 w 2168610"/>
                <a:gd name="connsiteY80" fmla="*/ 518984 h 2032687"/>
                <a:gd name="connsiteX81" fmla="*/ 1872048 w 2168610"/>
                <a:gd name="connsiteY81" fmla="*/ 463379 h 2032687"/>
                <a:gd name="connsiteX82" fmla="*/ 1834978 w 2168610"/>
                <a:gd name="connsiteY82" fmla="*/ 463379 h 2032687"/>
                <a:gd name="connsiteX83" fmla="*/ 1767016 w 2168610"/>
                <a:gd name="connsiteY83" fmla="*/ 457200 h 2032687"/>
                <a:gd name="connsiteX84" fmla="*/ 1692875 w 2168610"/>
                <a:gd name="connsiteY84" fmla="*/ 512806 h 2032687"/>
                <a:gd name="connsiteX85" fmla="*/ 1631092 w 2168610"/>
                <a:gd name="connsiteY85" fmla="*/ 481914 h 2032687"/>
                <a:gd name="connsiteX86" fmla="*/ 1594021 w 2168610"/>
                <a:gd name="connsiteY86" fmla="*/ 494271 h 2032687"/>
                <a:gd name="connsiteX87" fmla="*/ 1594021 w 2168610"/>
                <a:gd name="connsiteY87" fmla="*/ 494271 h 2032687"/>
                <a:gd name="connsiteX88" fmla="*/ 1519881 w 2168610"/>
                <a:gd name="connsiteY88" fmla="*/ 488092 h 2032687"/>
                <a:gd name="connsiteX89" fmla="*/ 1488989 w 2168610"/>
                <a:gd name="connsiteY89" fmla="*/ 463379 h 2032687"/>
                <a:gd name="connsiteX90" fmla="*/ 1439562 w 2168610"/>
                <a:gd name="connsiteY90" fmla="*/ 481914 h 2032687"/>
                <a:gd name="connsiteX91" fmla="*/ 1353065 w 2168610"/>
                <a:gd name="connsiteY91" fmla="*/ 438665 h 2032687"/>
                <a:gd name="connsiteX92" fmla="*/ 1291281 w 2168610"/>
                <a:gd name="connsiteY92" fmla="*/ 444844 h 2032687"/>
                <a:gd name="connsiteX93" fmla="*/ 1260389 w 2168610"/>
                <a:gd name="connsiteY93" fmla="*/ 432487 h 2032687"/>
                <a:gd name="connsiteX94" fmla="*/ 1235675 w 2168610"/>
                <a:gd name="connsiteY94" fmla="*/ 432487 h 2032687"/>
                <a:gd name="connsiteX95" fmla="*/ 1210962 w 2168610"/>
                <a:gd name="connsiteY95" fmla="*/ 389238 h 2032687"/>
                <a:gd name="connsiteX96" fmla="*/ 1136821 w 2168610"/>
                <a:gd name="connsiteY96" fmla="*/ 395417 h 2032687"/>
                <a:gd name="connsiteX97" fmla="*/ 1105929 w 2168610"/>
                <a:gd name="connsiteY97" fmla="*/ 364525 h 2032687"/>
                <a:gd name="connsiteX98" fmla="*/ 1087394 w 2168610"/>
                <a:gd name="connsiteY98" fmla="*/ 364525 h 2032687"/>
                <a:gd name="connsiteX99" fmla="*/ 1075037 w 2168610"/>
                <a:gd name="connsiteY99" fmla="*/ 352168 h 2032687"/>
                <a:gd name="connsiteX100" fmla="*/ 1062681 w 2168610"/>
                <a:gd name="connsiteY100" fmla="*/ 345990 h 2032687"/>
                <a:gd name="connsiteX101" fmla="*/ 1068450 w 2168610"/>
                <a:gd name="connsiteY101" fmla="*/ 3796 h 2032687"/>
                <a:gd name="connsiteX102" fmla="*/ 586946 w 2168610"/>
                <a:gd name="connsiteY102" fmla="*/ 0 h 2032687"/>
                <a:gd name="connsiteX0" fmla="*/ 598875 w 2168610"/>
                <a:gd name="connsiteY0" fmla="*/ 0 h 2032687"/>
                <a:gd name="connsiteX1" fmla="*/ 580767 w 2168610"/>
                <a:gd name="connsiteY1" fmla="*/ 864973 h 2032687"/>
                <a:gd name="connsiteX2" fmla="*/ 6178 w 2168610"/>
                <a:gd name="connsiteY2" fmla="*/ 846438 h 2032687"/>
                <a:gd name="connsiteX3" fmla="*/ 0 w 2168610"/>
                <a:gd name="connsiteY3" fmla="*/ 883509 h 2032687"/>
                <a:gd name="connsiteX4" fmla="*/ 49427 w 2168610"/>
                <a:gd name="connsiteY4" fmla="*/ 914400 h 2032687"/>
                <a:gd name="connsiteX5" fmla="*/ 105032 w 2168610"/>
                <a:gd name="connsiteY5" fmla="*/ 982363 h 2032687"/>
                <a:gd name="connsiteX6" fmla="*/ 154459 w 2168610"/>
                <a:gd name="connsiteY6" fmla="*/ 1056503 h 2032687"/>
                <a:gd name="connsiteX7" fmla="*/ 203886 w 2168610"/>
                <a:gd name="connsiteY7" fmla="*/ 1068860 h 2032687"/>
                <a:gd name="connsiteX8" fmla="*/ 240956 w 2168610"/>
                <a:gd name="connsiteY8" fmla="*/ 1118287 h 2032687"/>
                <a:gd name="connsiteX9" fmla="*/ 271848 w 2168610"/>
                <a:gd name="connsiteY9" fmla="*/ 1167714 h 2032687"/>
                <a:gd name="connsiteX10" fmla="*/ 296562 w 2168610"/>
                <a:gd name="connsiteY10" fmla="*/ 1223319 h 2032687"/>
                <a:gd name="connsiteX11" fmla="*/ 308919 w 2168610"/>
                <a:gd name="connsiteY11" fmla="*/ 1297460 h 2032687"/>
                <a:gd name="connsiteX12" fmla="*/ 327454 w 2168610"/>
                <a:gd name="connsiteY12" fmla="*/ 1322173 h 2032687"/>
                <a:gd name="connsiteX13" fmla="*/ 432486 w 2168610"/>
                <a:gd name="connsiteY13" fmla="*/ 1402492 h 2032687"/>
                <a:gd name="connsiteX14" fmla="*/ 438665 w 2168610"/>
                <a:gd name="connsiteY14" fmla="*/ 1377779 h 2032687"/>
                <a:gd name="connsiteX15" fmla="*/ 574589 w 2168610"/>
                <a:gd name="connsiteY15" fmla="*/ 1445741 h 2032687"/>
                <a:gd name="connsiteX16" fmla="*/ 574589 w 2168610"/>
                <a:gd name="connsiteY16" fmla="*/ 1445741 h 2032687"/>
                <a:gd name="connsiteX17" fmla="*/ 605481 w 2168610"/>
                <a:gd name="connsiteY17" fmla="*/ 1390136 h 2032687"/>
                <a:gd name="connsiteX18" fmla="*/ 661086 w 2168610"/>
                <a:gd name="connsiteY18" fmla="*/ 1322173 h 2032687"/>
                <a:gd name="connsiteX19" fmla="*/ 729048 w 2168610"/>
                <a:gd name="connsiteY19" fmla="*/ 1303638 h 2032687"/>
                <a:gd name="connsiteX20" fmla="*/ 821724 w 2168610"/>
                <a:gd name="connsiteY20" fmla="*/ 1315995 h 2032687"/>
                <a:gd name="connsiteX21" fmla="*/ 902043 w 2168610"/>
                <a:gd name="connsiteY21" fmla="*/ 1377779 h 2032687"/>
                <a:gd name="connsiteX22" fmla="*/ 957648 w 2168610"/>
                <a:gd name="connsiteY22" fmla="*/ 1458098 h 2032687"/>
                <a:gd name="connsiteX23" fmla="*/ 1013254 w 2168610"/>
                <a:gd name="connsiteY23" fmla="*/ 1538417 h 2032687"/>
                <a:gd name="connsiteX24" fmla="*/ 1062681 w 2168610"/>
                <a:gd name="connsiteY24" fmla="*/ 1624914 h 2032687"/>
                <a:gd name="connsiteX25" fmla="*/ 1118286 w 2168610"/>
                <a:gd name="connsiteY25" fmla="*/ 1692876 h 2032687"/>
                <a:gd name="connsiteX26" fmla="*/ 1167713 w 2168610"/>
                <a:gd name="connsiteY26" fmla="*/ 1729946 h 2032687"/>
                <a:gd name="connsiteX27" fmla="*/ 1198605 w 2168610"/>
                <a:gd name="connsiteY27" fmla="*/ 1810265 h 2032687"/>
                <a:gd name="connsiteX28" fmla="*/ 1223319 w 2168610"/>
                <a:gd name="connsiteY28" fmla="*/ 1872049 h 2032687"/>
                <a:gd name="connsiteX29" fmla="*/ 1248032 w 2168610"/>
                <a:gd name="connsiteY29" fmla="*/ 1933833 h 2032687"/>
                <a:gd name="connsiteX30" fmla="*/ 1278924 w 2168610"/>
                <a:gd name="connsiteY30" fmla="*/ 1977082 h 2032687"/>
                <a:gd name="connsiteX31" fmla="*/ 1340708 w 2168610"/>
                <a:gd name="connsiteY31" fmla="*/ 2001795 h 2032687"/>
                <a:gd name="connsiteX32" fmla="*/ 1439562 w 2168610"/>
                <a:gd name="connsiteY32" fmla="*/ 2020330 h 2032687"/>
                <a:gd name="connsiteX33" fmla="*/ 1513702 w 2168610"/>
                <a:gd name="connsiteY33" fmla="*/ 2032687 h 2032687"/>
                <a:gd name="connsiteX34" fmla="*/ 1606378 w 2168610"/>
                <a:gd name="connsiteY34" fmla="*/ 2032687 h 2032687"/>
                <a:gd name="connsiteX35" fmla="*/ 1587843 w 2168610"/>
                <a:gd name="connsiteY35" fmla="*/ 2020330 h 2032687"/>
                <a:gd name="connsiteX36" fmla="*/ 1587843 w 2168610"/>
                <a:gd name="connsiteY36" fmla="*/ 2020330 h 2032687"/>
                <a:gd name="connsiteX37" fmla="*/ 1575486 w 2168610"/>
                <a:gd name="connsiteY37" fmla="*/ 1952368 h 2032687"/>
                <a:gd name="connsiteX38" fmla="*/ 1550773 w 2168610"/>
                <a:gd name="connsiteY38" fmla="*/ 1921476 h 2032687"/>
                <a:gd name="connsiteX39" fmla="*/ 1544594 w 2168610"/>
                <a:gd name="connsiteY39" fmla="*/ 1884406 h 2032687"/>
                <a:gd name="connsiteX40" fmla="*/ 1526059 w 2168610"/>
                <a:gd name="connsiteY40" fmla="*/ 1841157 h 2032687"/>
                <a:gd name="connsiteX41" fmla="*/ 1538416 w 2168610"/>
                <a:gd name="connsiteY41" fmla="*/ 1810265 h 2032687"/>
                <a:gd name="connsiteX42" fmla="*/ 1532237 w 2168610"/>
                <a:gd name="connsiteY42" fmla="*/ 1791730 h 2032687"/>
                <a:gd name="connsiteX43" fmla="*/ 1488989 w 2168610"/>
                <a:gd name="connsiteY43" fmla="*/ 1767017 h 2032687"/>
                <a:gd name="connsiteX44" fmla="*/ 1538416 w 2168610"/>
                <a:gd name="connsiteY44" fmla="*/ 1736125 h 2032687"/>
                <a:gd name="connsiteX45" fmla="*/ 1544594 w 2168610"/>
                <a:gd name="connsiteY45" fmla="*/ 1723768 h 2032687"/>
                <a:gd name="connsiteX46" fmla="*/ 1550773 w 2168610"/>
                <a:gd name="connsiteY46" fmla="*/ 1692876 h 2032687"/>
                <a:gd name="connsiteX47" fmla="*/ 1526059 w 2168610"/>
                <a:gd name="connsiteY47" fmla="*/ 1661984 h 2032687"/>
                <a:gd name="connsiteX48" fmla="*/ 1550773 w 2168610"/>
                <a:gd name="connsiteY48" fmla="*/ 1661984 h 2032687"/>
                <a:gd name="connsiteX49" fmla="*/ 1575486 w 2168610"/>
                <a:gd name="connsiteY49" fmla="*/ 1643449 h 2032687"/>
                <a:gd name="connsiteX50" fmla="*/ 1550773 w 2168610"/>
                <a:gd name="connsiteY50" fmla="*/ 1587844 h 2032687"/>
                <a:gd name="connsiteX51" fmla="*/ 1550773 w 2168610"/>
                <a:gd name="connsiteY51" fmla="*/ 1587844 h 2032687"/>
                <a:gd name="connsiteX52" fmla="*/ 1618735 w 2168610"/>
                <a:gd name="connsiteY52" fmla="*/ 1587844 h 2032687"/>
                <a:gd name="connsiteX53" fmla="*/ 1631092 w 2168610"/>
                <a:gd name="connsiteY53" fmla="*/ 1575487 h 2032687"/>
                <a:gd name="connsiteX54" fmla="*/ 1649627 w 2168610"/>
                <a:gd name="connsiteY54" fmla="*/ 1526060 h 2032687"/>
                <a:gd name="connsiteX55" fmla="*/ 1686697 w 2168610"/>
                <a:gd name="connsiteY55" fmla="*/ 1526060 h 2032687"/>
                <a:gd name="connsiteX56" fmla="*/ 1705232 w 2168610"/>
                <a:gd name="connsiteY56" fmla="*/ 1526060 h 2032687"/>
                <a:gd name="connsiteX57" fmla="*/ 1705232 w 2168610"/>
                <a:gd name="connsiteY57" fmla="*/ 1495168 h 2032687"/>
                <a:gd name="connsiteX58" fmla="*/ 1699054 w 2168610"/>
                <a:gd name="connsiteY58" fmla="*/ 1476633 h 2032687"/>
                <a:gd name="connsiteX59" fmla="*/ 1699054 w 2168610"/>
                <a:gd name="connsiteY59" fmla="*/ 1476633 h 2032687"/>
                <a:gd name="connsiteX60" fmla="*/ 1773194 w 2168610"/>
                <a:gd name="connsiteY60" fmla="*/ 1482811 h 2032687"/>
                <a:gd name="connsiteX61" fmla="*/ 1834978 w 2168610"/>
                <a:gd name="connsiteY61" fmla="*/ 1470455 h 2032687"/>
                <a:gd name="connsiteX62" fmla="*/ 1896762 w 2168610"/>
                <a:gd name="connsiteY62" fmla="*/ 1414849 h 2032687"/>
                <a:gd name="connsiteX63" fmla="*/ 1896762 w 2168610"/>
                <a:gd name="connsiteY63" fmla="*/ 1371600 h 2032687"/>
                <a:gd name="connsiteX64" fmla="*/ 1946189 w 2168610"/>
                <a:gd name="connsiteY64" fmla="*/ 1340709 h 2032687"/>
                <a:gd name="connsiteX65" fmla="*/ 1940010 w 2168610"/>
                <a:gd name="connsiteY65" fmla="*/ 1278925 h 2032687"/>
                <a:gd name="connsiteX66" fmla="*/ 1983259 w 2168610"/>
                <a:gd name="connsiteY66" fmla="*/ 1260390 h 2032687"/>
                <a:gd name="connsiteX67" fmla="*/ 2007973 w 2168610"/>
                <a:gd name="connsiteY67" fmla="*/ 1322173 h 2032687"/>
                <a:gd name="connsiteX68" fmla="*/ 2143897 w 2168610"/>
                <a:gd name="connsiteY68" fmla="*/ 1248033 h 2032687"/>
                <a:gd name="connsiteX69" fmla="*/ 2156254 w 2168610"/>
                <a:gd name="connsiteY69" fmla="*/ 1161536 h 2032687"/>
                <a:gd name="connsiteX70" fmla="*/ 2143897 w 2168610"/>
                <a:gd name="connsiteY70" fmla="*/ 1124465 h 2032687"/>
                <a:gd name="connsiteX71" fmla="*/ 2137719 w 2168610"/>
                <a:gd name="connsiteY71" fmla="*/ 1087395 h 2032687"/>
                <a:gd name="connsiteX72" fmla="*/ 2150075 w 2168610"/>
                <a:gd name="connsiteY72" fmla="*/ 1044146 h 2032687"/>
                <a:gd name="connsiteX73" fmla="*/ 2168610 w 2168610"/>
                <a:gd name="connsiteY73" fmla="*/ 1007076 h 2032687"/>
                <a:gd name="connsiteX74" fmla="*/ 2131540 w 2168610"/>
                <a:gd name="connsiteY74" fmla="*/ 895865 h 2032687"/>
                <a:gd name="connsiteX75" fmla="*/ 2100648 w 2168610"/>
                <a:gd name="connsiteY75" fmla="*/ 864973 h 2032687"/>
                <a:gd name="connsiteX76" fmla="*/ 2075935 w 2168610"/>
                <a:gd name="connsiteY76" fmla="*/ 784655 h 2032687"/>
                <a:gd name="connsiteX77" fmla="*/ 2063578 w 2168610"/>
                <a:gd name="connsiteY77" fmla="*/ 611660 h 2032687"/>
                <a:gd name="connsiteX78" fmla="*/ 2051221 w 2168610"/>
                <a:gd name="connsiteY78" fmla="*/ 512806 h 2032687"/>
                <a:gd name="connsiteX79" fmla="*/ 2032686 w 2168610"/>
                <a:gd name="connsiteY79" fmla="*/ 494271 h 2032687"/>
                <a:gd name="connsiteX80" fmla="*/ 1983259 w 2168610"/>
                <a:gd name="connsiteY80" fmla="*/ 518984 h 2032687"/>
                <a:gd name="connsiteX81" fmla="*/ 1872048 w 2168610"/>
                <a:gd name="connsiteY81" fmla="*/ 463379 h 2032687"/>
                <a:gd name="connsiteX82" fmla="*/ 1834978 w 2168610"/>
                <a:gd name="connsiteY82" fmla="*/ 463379 h 2032687"/>
                <a:gd name="connsiteX83" fmla="*/ 1767016 w 2168610"/>
                <a:gd name="connsiteY83" fmla="*/ 457200 h 2032687"/>
                <a:gd name="connsiteX84" fmla="*/ 1692875 w 2168610"/>
                <a:gd name="connsiteY84" fmla="*/ 512806 h 2032687"/>
                <a:gd name="connsiteX85" fmla="*/ 1631092 w 2168610"/>
                <a:gd name="connsiteY85" fmla="*/ 481914 h 2032687"/>
                <a:gd name="connsiteX86" fmla="*/ 1594021 w 2168610"/>
                <a:gd name="connsiteY86" fmla="*/ 494271 h 2032687"/>
                <a:gd name="connsiteX87" fmla="*/ 1594021 w 2168610"/>
                <a:gd name="connsiteY87" fmla="*/ 494271 h 2032687"/>
                <a:gd name="connsiteX88" fmla="*/ 1519881 w 2168610"/>
                <a:gd name="connsiteY88" fmla="*/ 488092 h 2032687"/>
                <a:gd name="connsiteX89" fmla="*/ 1488989 w 2168610"/>
                <a:gd name="connsiteY89" fmla="*/ 463379 h 2032687"/>
                <a:gd name="connsiteX90" fmla="*/ 1439562 w 2168610"/>
                <a:gd name="connsiteY90" fmla="*/ 481914 h 2032687"/>
                <a:gd name="connsiteX91" fmla="*/ 1353065 w 2168610"/>
                <a:gd name="connsiteY91" fmla="*/ 438665 h 2032687"/>
                <a:gd name="connsiteX92" fmla="*/ 1291281 w 2168610"/>
                <a:gd name="connsiteY92" fmla="*/ 444844 h 2032687"/>
                <a:gd name="connsiteX93" fmla="*/ 1260389 w 2168610"/>
                <a:gd name="connsiteY93" fmla="*/ 432487 h 2032687"/>
                <a:gd name="connsiteX94" fmla="*/ 1235675 w 2168610"/>
                <a:gd name="connsiteY94" fmla="*/ 432487 h 2032687"/>
                <a:gd name="connsiteX95" fmla="*/ 1210962 w 2168610"/>
                <a:gd name="connsiteY95" fmla="*/ 389238 h 2032687"/>
                <a:gd name="connsiteX96" fmla="*/ 1136821 w 2168610"/>
                <a:gd name="connsiteY96" fmla="*/ 395417 h 2032687"/>
                <a:gd name="connsiteX97" fmla="*/ 1105929 w 2168610"/>
                <a:gd name="connsiteY97" fmla="*/ 364525 h 2032687"/>
                <a:gd name="connsiteX98" fmla="*/ 1087394 w 2168610"/>
                <a:gd name="connsiteY98" fmla="*/ 364525 h 2032687"/>
                <a:gd name="connsiteX99" fmla="*/ 1075037 w 2168610"/>
                <a:gd name="connsiteY99" fmla="*/ 352168 h 2032687"/>
                <a:gd name="connsiteX100" fmla="*/ 1062681 w 2168610"/>
                <a:gd name="connsiteY100" fmla="*/ 345990 h 2032687"/>
                <a:gd name="connsiteX101" fmla="*/ 1068450 w 2168610"/>
                <a:gd name="connsiteY101" fmla="*/ 3796 h 2032687"/>
                <a:gd name="connsiteX102" fmla="*/ 598875 w 2168610"/>
                <a:gd name="connsiteY102" fmla="*/ 0 h 2032687"/>
                <a:gd name="connsiteX0" fmla="*/ 598898 w 2168610"/>
                <a:gd name="connsiteY0" fmla="*/ 0 h 2039827"/>
                <a:gd name="connsiteX1" fmla="*/ 580767 w 2168610"/>
                <a:gd name="connsiteY1" fmla="*/ 872113 h 2039827"/>
                <a:gd name="connsiteX2" fmla="*/ 6178 w 2168610"/>
                <a:gd name="connsiteY2" fmla="*/ 853578 h 2039827"/>
                <a:gd name="connsiteX3" fmla="*/ 0 w 2168610"/>
                <a:gd name="connsiteY3" fmla="*/ 890649 h 2039827"/>
                <a:gd name="connsiteX4" fmla="*/ 49427 w 2168610"/>
                <a:gd name="connsiteY4" fmla="*/ 921540 h 2039827"/>
                <a:gd name="connsiteX5" fmla="*/ 105032 w 2168610"/>
                <a:gd name="connsiteY5" fmla="*/ 989503 h 2039827"/>
                <a:gd name="connsiteX6" fmla="*/ 154459 w 2168610"/>
                <a:gd name="connsiteY6" fmla="*/ 1063643 h 2039827"/>
                <a:gd name="connsiteX7" fmla="*/ 203886 w 2168610"/>
                <a:gd name="connsiteY7" fmla="*/ 1076000 h 2039827"/>
                <a:gd name="connsiteX8" fmla="*/ 240956 w 2168610"/>
                <a:gd name="connsiteY8" fmla="*/ 1125427 h 2039827"/>
                <a:gd name="connsiteX9" fmla="*/ 271848 w 2168610"/>
                <a:gd name="connsiteY9" fmla="*/ 1174854 h 2039827"/>
                <a:gd name="connsiteX10" fmla="*/ 296562 w 2168610"/>
                <a:gd name="connsiteY10" fmla="*/ 1230459 h 2039827"/>
                <a:gd name="connsiteX11" fmla="*/ 308919 w 2168610"/>
                <a:gd name="connsiteY11" fmla="*/ 1304600 h 2039827"/>
                <a:gd name="connsiteX12" fmla="*/ 327454 w 2168610"/>
                <a:gd name="connsiteY12" fmla="*/ 1329313 h 2039827"/>
                <a:gd name="connsiteX13" fmla="*/ 432486 w 2168610"/>
                <a:gd name="connsiteY13" fmla="*/ 1409632 h 2039827"/>
                <a:gd name="connsiteX14" fmla="*/ 438665 w 2168610"/>
                <a:gd name="connsiteY14" fmla="*/ 1384919 h 2039827"/>
                <a:gd name="connsiteX15" fmla="*/ 574589 w 2168610"/>
                <a:gd name="connsiteY15" fmla="*/ 1452881 h 2039827"/>
                <a:gd name="connsiteX16" fmla="*/ 574589 w 2168610"/>
                <a:gd name="connsiteY16" fmla="*/ 1452881 h 2039827"/>
                <a:gd name="connsiteX17" fmla="*/ 605481 w 2168610"/>
                <a:gd name="connsiteY17" fmla="*/ 1397276 h 2039827"/>
                <a:gd name="connsiteX18" fmla="*/ 661086 w 2168610"/>
                <a:gd name="connsiteY18" fmla="*/ 1329313 h 2039827"/>
                <a:gd name="connsiteX19" fmla="*/ 729048 w 2168610"/>
                <a:gd name="connsiteY19" fmla="*/ 1310778 h 2039827"/>
                <a:gd name="connsiteX20" fmla="*/ 821724 w 2168610"/>
                <a:gd name="connsiteY20" fmla="*/ 1323135 h 2039827"/>
                <a:gd name="connsiteX21" fmla="*/ 902043 w 2168610"/>
                <a:gd name="connsiteY21" fmla="*/ 1384919 h 2039827"/>
                <a:gd name="connsiteX22" fmla="*/ 957648 w 2168610"/>
                <a:gd name="connsiteY22" fmla="*/ 1465238 h 2039827"/>
                <a:gd name="connsiteX23" fmla="*/ 1013254 w 2168610"/>
                <a:gd name="connsiteY23" fmla="*/ 1545557 h 2039827"/>
                <a:gd name="connsiteX24" fmla="*/ 1062681 w 2168610"/>
                <a:gd name="connsiteY24" fmla="*/ 1632054 h 2039827"/>
                <a:gd name="connsiteX25" fmla="*/ 1118286 w 2168610"/>
                <a:gd name="connsiteY25" fmla="*/ 1700016 h 2039827"/>
                <a:gd name="connsiteX26" fmla="*/ 1167713 w 2168610"/>
                <a:gd name="connsiteY26" fmla="*/ 1737086 h 2039827"/>
                <a:gd name="connsiteX27" fmla="*/ 1198605 w 2168610"/>
                <a:gd name="connsiteY27" fmla="*/ 1817405 h 2039827"/>
                <a:gd name="connsiteX28" fmla="*/ 1223319 w 2168610"/>
                <a:gd name="connsiteY28" fmla="*/ 1879189 h 2039827"/>
                <a:gd name="connsiteX29" fmla="*/ 1248032 w 2168610"/>
                <a:gd name="connsiteY29" fmla="*/ 1940973 h 2039827"/>
                <a:gd name="connsiteX30" fmla="*/ 1278924 w 2168610"/>
                <a:gd name="connsiteY30" fmla="*/ 1984222 h 2039827"/>
                <a:gd name="connsiteX31" fmla="*/ 1340708 w 2168610"/>
                <a:gd name="connsiteY31" fmla="*/ 2008935 h 2039827"/>
                <a:gd name="connsiteX32" fmla="*/ 1439562 w 2168610"/>
                <a:gd name="connsiteY32" fmla="*/ 2027470 h 2039827"/>
                <a:gd name="connsiteX33" fmla="*/ 1513702 w 2168610"/>
                <a:gd name="connsiteY33" fmla="*/ 2039827 h 2039827"/>
                <a:gd name="connsiteX34" fmla="*/ 1606378 w 2168610"/>
                <a:gd name="connsiteY34" fmla="*/ 2039827 h 2039827"/>
                <a:gd name="connsiteX35" fmla="*/ 1587843 w 2168610"/>
                <a:gd name="connsiteY35" fmla="*/ 2027470 h 2039827"/>
                <a:gd name="connsiteX36" fmla="*/ 1587843 w 2168610"/>
                <a:gd name="connsiteY36" fmla="*/ 2027470 h 2039827"/>
                <a:gd name="connsiteX37" fmla="*/ 1575486 w 2168610"/>
                <a:gd name="connsiteY37" fmla="*/ 1959508 h 2039827"/>
                <a:gd name="connsiteX38" fmla="*/ 1550773 w 2168610"/>
                <a:gd name="connsiteY38" fmla="*/ 1928616 h 2039827"/>
                <a:gd name="connsiteX39" fmla="*/ 1544594 w 2168610"/>
                <a:gd name="connsiteY39" fmla="*/ 1891546 h 2039827"/>
                <a:gd name="connsiteX40" fmla="*/ 1526059 w 2168610"/>
                <a:gd name="connsiteY40" fmla="*/ 1848297 h 2039827"/>
                <a:gd name="connsiteX41" fmla="*/ 1538416 w 2168610"/>
                <a:gd name="connsiteY41" fmla="*/ 1817405 h 2039827"/>
                <a:gd name="connsiteX42" fmla="*/ 1532237 w 2168610"/>
                <a:gd name="connsiteY42" fmla="*/ 1798870 h 2039827"/>
                <a:gd name="connsiteX43" fmla="*/ 1488989 w 2168610"/>
                <a:gd name="connsiteY43" fmla="*/ 1774157 h 2039827"/>
                <a:gd name="connsiteX44" fmla="*/ 1538416 w 2168610"/>
                <a:gd name="connsiteY44" fmla="*/ 1743265 h 2039827"/>
                <a:gd name="connsiteX45" fmla="*/ 1544594 w 2168610"/>
                <a:gd name="connsiteY45" fmla="*/ 1730908 h 2039827"/>
                <a:gd name="connsiteX46" fmla="*/ 1550773 w 2168610"/>
                <a:gd name="connsiteY46" fmla="*/ 1700016 h 2039827"/>
                <a:gd name="connsiteX47" fmla="*/ 1526059 w 2168610"/>
                <a:gd name="connsiteY47" fmla="*/ 1669124 h 2039827"/>
                <a:gd name="connsiteX48" fmla="*/ 1550773 w 2168610"/>
                <a:gd name="connsiteY48" fmla="*/ 1669124 h 2039827"/>
                <a:gd name="connsiteX49" fmla="*/ 1575486 w 2168610"/>
                <a:gd name="connsiteY49" fmla="*/ 1650589 h 2039827"/>
                <a:gd name="connsiteX50" fmla="*/ 1550773 w 2168610"/>
                <a:gd name="connsiteY50" fmla="*/ 1594984 h 2039827"/>
                <a:gd name="connsiteX51" fmla="*/ 1550773 w 2168610"/>
                <a:gd name="connsiteY51" fmla="*/ 1594984 h 2039827"/>
                <a:gd name="connsiteX52" fmla="*/ 1618735 w 2168610"/>
                <a:gd name="connsiteY52" fmla="*/ 1594984 h 2039827"/>
                <a:gd name="connsiteX53" fmla="*/ 1631092 w 2168610"/>
                <a:gd name="connsiteY53" fmla="*/ 1582627 h 2039827"/>
                <a:gd name="connsiteX54" fmla="*/ 1649627 w 2168610"/>
                <a:gd name="connsiteY54" fmla="*/ 1533200 h 2039827"/>
                <a:gd name="connsiteX55" fmla="*/ 1686697 w 2168610"/>
                <a:gd name="connsiteY55" fmla="*/ 1533200 h 2039827"/>
                <a:gd name="connsiteX56" fmla="*/ 1705232 w 2168610"/>
                <a:gd name="connsiteY56" fmla="*/ 1533200 h 2039827"/>
                <a:gd name="connsiteX57" fmla="*/ 1705232 w 2168610"/>
                <a:gd name="connsiteY57" fmla="*/ 1502308 h 2039827"/>
                <a:gd name="connsiteX58" fmla="*/ 1699054 w 2168610"/>
                <a:gd name="connsiteY58" fmla="*/ 1483773 h 2039827"/>
                <a:gd name="connsiteX59" fmla="*/ 1699054 w 2168610"/>
                <a:gd name="connsiteY59" fmla="*/ 1483773 h 2039827"/>
                <a:gd name="connsiteX60" fmla="*/ 1773194 w 2168610"/>
                <a:gd name="connsiteY60" fmla="*/ 1489951 h 2039827"/>
                <a:gd name="connsiteX61" fmla="*/ 1834978 w 2168610"/>
                <a:gd name="connsiteY61" fmla="*/ 1477595 h 2039827"/>
                <a:gd name="connsiteX62" fmla="*/ 1896762 w 2168610"/>
                <a:gd name="connsiteY62" fmla="*/ 1421989 h 2039827"/>
                <a:gd name="connsiteX63" fmla="*/ 1896762 w 2168610"/>
                <a:gd name="connsiteY63" fmla="*/ 1378740 h 2039827"/>
                <a:gd name="connsiteX64" fmla="*/ 1946189 w 2168610"/>
                <a:gd name="connsiteY64" fmla="*/ 1347849 h 2039827"/>
                <a:gd name="connsiteX65" fmla="*/ 1940010 w 2168610"/>
                <a:gd name="connsiteY65" fmla="*/ 1286065 h 2039827"/>
                <a:gd name="connsiteX66" fmla="*/ 1983259 w 2168610"/>
                <a:gd name="connsiteY66" fmla="*/ 1267530 h 2039827"/>
                <a:gd name="connsiteX67" fmla="*/ 2007973 w 2168610"/>
                <a:gd name="connsiteY67" fmla="*/ 1329313 h 2039827"/>
                <a:gd name="connsiteX68" fmla="*/ 2143897 w 2168610"/>
                <a:gd name="connsiteY68" fmla="*/ 1255173 h 2039827"/>
                <a:gd name="connsiteX69" fmla="*/ 2156254 w 2168610"/>
                <a:gd name="connsiteY69" fmla="*/ 1168676 h 2039827"/>
                <a:gd name="connsiteX70" fmla="*/ 2143897 w 2168610"/>
                <a:gd name="connsiteY70" fmla="*/ 1131605 h 2039827"/>
                <a:gd name="connsiteX71" fmla="*/ 2137719 w 2168610"/>
                <a:gd name="connsiteY71" fmla="*/ 1094535 h 2039827"/>
                <a:gd name="connsiteX72" fmla="*/ 2150075 w 2168610"/>
                <a:gd name="connsiteY72" fmla="*/ 1051286 h 2039827"/>
                <a:gd name="connsiteX73" fmla="*/ 2168610 w 2168610"/>
                <a:gd name="connsiteY73" fmla="*/ 1014216 h 2039827"/>
                <a:gd name="connsiteX74" fmla="*/ 2131540 w 2168610"/>
                <a:gd name="connsiteY74" fmla="*/ 903005 h 2039827"/>
                <a:gd name="connsiteX75" fmla="*/ 2100648 w 2168610"/>
                <a:gd name="connsiteY75" fmla="*/ 872113 h 2039827"/>
                <a:gd name="connsiteX76" fmla="*/ 2075935 w 2168610"/>
                <a:gd name="connsiteY76" fmla="*/ 791795 h 2039827"/>
                <a:gd name="connsiteX77" fmla="*/ 2063578 w 2168610"/>
                <a:gd name="connsiteY77" fmla="*/ 618800 h 2039827"/>
                <a:gd name="connsiteX78" fmla="*/ 2051221 w 2168610"/>
                <a:gd name="connsiteY78" fmla="*/ 519946 h 2039827"/>
                <a:gd name="connsiteX79" fmla="*/ 2032686 w 2168610"/>
                <a:gd name="connsiteY79" fmla="*/ 501411 h 2039827"/>
                <a:gd name="connsiteX80" fmla="*/ 1983259 w 2168610"/>
                <a:gd name="connsiteY80" fmla="*/ 526124 h 2039827"/>
                <a:gd name="connsiteX81" fmla="*/ 1872048 w 2168610"/>
                <a:gd name="connsiteY81" fmla="*/ 470519 h 2039827"/>
                <a:gd name="connsiteX82" fmla="*/ 1834978 w 2168610"/>
                <a:gd name="connsiteY82" fmla="*/ 470519 h 2039827"/>
                <a:gd name="connsiteX83" fmla="*/ 1767016 w 2168610"/>
                <a:gd name="connsiteY83" fmla="*/ 464340 h 2039827"/>
                <a:gd name="connsiteX84" fmla="*/ 1692875 w 2168610"/>
                <a:gd name="connsiteY84" fmla="*/ 519946 h 2039827"/>
                <a:gd name="connsiteX85" fmla="*/ 1631092 w 2168610"/>
                <a:gd name="connsiteY85" fmla="*/ 489054 h 2039827"/>
                <a:gd name="connsiteX86" fmla="*/ 1594021 w 2168610"/>
                <a:gd name="connsiteY86" fmla="*/ 501411 h 2039827"/>
                <a:gd name="connsiteX87" fmla="*/ 1594021 w 2168610"/>
                <a:gd name="connsiteY87" fmla="*/ 501411 h 2039827"/>
                <a:gd name="connsiteX88" fmla="*/ 1519881 w 2168610"/>
                <a:gd name="connsiteY88" fmla="*/ 495232 h 2039827"/>
                <a:gd name="connsiteX89" fmla="*/ 1488989 w 2168610"/>
                <a:gd name="connsiteY89" fmla="*/ 470519 h 2039827"/>
                <a:gd name="connsiteX90" fmla="*/ 1439562 w 2168610"/>
                <a:gd name="connsiteY90" fmla="*/ 489054 h 2039827"/>
                <a:gd name="connsiteX91" fmla="*/ 1353065 w 2168610"/>
                <a:gd name="connsiteY91" fmla="*/ 445805 h 2039827"/>
                <a:gd name="connsiteX92" fmla="*/ 1291281 w 2168610"/>
                <a:gd name="connsiteY92" fmla="*/ 451984 h 2039827"/>
                <a:gd name="connsiteX93" fmla="*/ 1260389 w 2168610"/>
                <a:gd name="connsiteY93" fmla="*/ 439627 h 2039827"/>
                <a:gd name="connsiteX94" fmla="*/ 1235675 w 2168610"/>
                <a:gd name="connsiteY94" fmla="*/ 439627 h 2039827"/>
                <a:gd name="connsiteX95" fmla="*/ 1210962 w 2168610"/>
                <a:gd name="connsiteY95" fmla="*/ 396378 h 2039827"/>
                <a:gd name="connsiteX96" fmla="*/ 1136821 w 2168610"/>
                <a:gd name="connsiteY96" fmla="*/ 402557 h 2039827"/>
                <a:gd name="connsiteX97" fmla="*/ 1105929 w 2168610"/>
                <a:gd name="connsiteY97" fmla="*/ 371665 h 2039827"/>
                <a:gd name="connsiteX98" fmla="*/ 1087394 w 2168610"/>
                <a:gd name="connsiteY98" fmla="*/ 371665 h 2039827"/>
                <a:gd name="connsiteX99" fmla="*/ 1075037 w 2168610"/>
                <a:gd name="connsiteY99" fmla="*/ 359308 h 2039827"/>
                <a:gd name="connsiteX100" fmla="*/ 1062681 w 2168610"/>
                <a:gd name="connsiteY100" fmla="*/ 353130 h 2039827"/>
                <a:gd name="connsiteX101" fmla="*/ 1068450 w 2168610"/>
                <a:gd name="connsiteY101" fmla="*/ 10936 h 2039827"/>
                <a:gd name="connsiteX102" fmla="*/ 598898 w 2168610"/>
                <a:gd name="connsiteY102" fmla="*/ 0 h 2039827"/>
                <a:gd name="connsiteX0" fmla="*/ 598898 w 2168610"/>
                <a:gd name="connsiteY0" fmla="*/ 0 h 2039827"/>
                <a:gd name="connsiteX1" fmla="*/ 580767 w 2168610"/>
                <a:gd name="connsiteY1" fmla="*/ 872113 h 2039827"/>
                <a:gd name="connsiteX2" fmla="*/ 6178 w 2168610"/>
                <a:gd name="connsiteY2" fmla="*/ 853578 h 2039827"/>
                <a:gd name="connsiteX3" fmla="*/ 0 w 2168610"/>
                <a:gd name="connsiteY3" fmla="*/ 890649 h 2039827"/>
                <a:gd name="connsiteX4" fmla="*/ 49427 w 2168610"/>
                <a:gd name="connsiteY4" fmla="*/ 921540 h 2039827"/>
                <a:gd name="connsiteX5" fmla="*/ 105032 w 2168610"/>
                <a:gd name="connsiteY5" fmla="*/ 989503 h 2039827"/>
                <a:gd name="connsiteX6" fmla="*/ 154459 w 2168610"/>
                <a:gd name="connsiteY6" fmla="*/ 1063643 h 2039827"/>
                <a:gd name="connsiteX7" fmla="*/ 203886 w 2168610"/>
                <a:gd name="connsiteY7" fmla="*/ 1076000 h 2039827"/>
                <a:gd name="connsiteX8" fmla="*/ 240956 w 2168610"/>
                <a:gd name="connsiteY8" fmla="*/ 1125427 h 2039827"/>
                <a:gd name="connsiteX9" fmla="*/ 271848 w 2168610"/>
                <a:gd name="connsiteY9" fmla="*/ 1174854 h 2039827"/>
                <a:gd name="connsiteX10" fmla="*/ 296562 w 2168610"/>
                <a:gd name="connsiteY10" fmla="*/ 1230459 h 2039827"/>
                <a:gd name="connsiteX11" fmla="*/ 308919 w 2168610"/>
                <a:gd name="connsiteY11" fmla="*/ 1304600 h 2039827"/>
                <a:gd name="connsiteX12" fmla="*/ 327454 w 2168610"/>
                <a:gd name="connsiteY12" fmla="*/ 1329313 h 2039827"/>
                <a:gd name="connsiteX13" fmla="*/ 432486 w 2168610"/>
                <a:gd name="connsiteY13" fmla="*/ 1409632 h 2039827"/>
                <a:gd name="connsiteX14" fmla="*/ 438665 w 2168610"/>
                <a:gd name="connsiteY14" fmla="*/ 1384919 h 2039827"/>
                <a:gd name="connsiteX15" fmla="*/ 574589 w 2168610"/>
                <a:gd name="connsiteY15" fmla="*/ 1452881 h 2039827"/>
                <a:gd name="connsiteX16" fmla="*/ 574589 w 2168610"/>
                <a:gd name="connsiteY16" fmla="*/ 1452881 h 2039827"/>
                <a:gd name="connsiteX17" fmla="*/ 605481 w 2168610"/>
                <a:gd name="connsiteY17" fmla="*/ 1397276 h 2039827"/>
                <a:gd name="connsiteX18" fmla="*/ 661086 w 2168610"/>
                <a:gd name="connsiteY18" fmla="*/ 1329313 h 2039827"/>
                <a:gd name="connsiteX19" fmla="*/ 729048 w 2168610"/>
                <a:gd name="connsiteY19" fmla="*/ 1310778 h 2039827"/>
                <a:gd name="connsiteX20" fmla="*/ 821724 w 2168610"/>
                <a:gd name="connsiteY20" fmla="*/ 1323135 h 2039827"/>
                <a:gd name="connsiteX21" fmla="*/ 902043 w 2168610"/>
                <a:gd name="connsiteY21" fmla="*/ 1384919 h 2039827"/>
                <a:gd name="connsiteX22" fmla="*/ 957648 w 2168610"/>
                <a:gd name="connsiteY22" fmla="*/ 1465238 h 2039827"/>
                <a:gd name="connsiteX23" fmla="*/ 1013254 w 2168610"/>
                <a:gd name="connsiteY23" fmla="*/ 1545557 h 2039827"/>
                <a:gd name="connsiteX24" fmla="*/ 1062681 w 2168610"/>
                <a:gd name="connsiteY24" fmla="*/ 1632054 h 2039827"/>
                <a:gd name="connsiteX25" fmla="*/ 1118286 w 2168610"/>
                <a:gd name="connsiteY25" fmla="*/ 1700016 h 2039827"/>
                <a:gd name="connsiteX26" fmla="*/ 1167713 w 2168610"/>
                <a:gd name="connsiteY26" fmla="*/ 1737086 h 2039827"/>
                <a:gd name="connsiteX27" fmla="*/ 1198605 w 2168610"/>
                <a:gd name="connsiteY27" fmla="*/ 1817405 h 2039827"/>
                <a:gd name="connsiteX28" fmla="*/ 1223319 w 2168610"/>
                <a:gd name="connsiteY28" fmla="*/ 1879189 h 2039827"/>
                <a:gd name="connsiteX29" fmla="*/ 1248032 w 2168610"/>
                <a:gd name="connsiteY29" fmla="*/ 1940973 h 2039827"/>
                <a:gd name="connsiteX30" fmla="*/ 1278924 w 2168610"/>
                <a:gd name="connsiteY30" fmla="*/ 1984222 h 2039827"/>
                <a:gd name="connsiteX31" fmla="*/ 1340708 w 2168610"/>
                <a:gd name="connsiteY31" fmla="*/ 2008935 h 2039827"/>
                <a:gd name="connsiteX32" fmla="*/ 1439562 w 2168610"/>
                <a:gd name="connsiteY32" fmla="*/ 2027470 h 2039827"/>
                <a:gd name="connsiteX33" fmla="*/ 1513702 w 2168610"/>
                <a:gd name="connsiteY33" fmla="*/ 2039827 h 2039827"/>
                <a:gd name="connsiteX34" fmla="*/ 1606378 w 2168610"/>
                <a:gd name="connsiteY34" fmla="*/ 2039827 h 2039827"/>
                <a:gd name="connsiteX35" fmla="*/ 1587843 w 2168610"/>
                <a:gd name="connsiteY35" fmla="*/ 2027470 h 2039827"/>
                <a:gd name="connsiteX36" fmla="*/ 1587843 w 2168610"/>
                <a:gd name="connsiteY36" fmla="*/ 2027470 h 2039827"/>
                <a:gd name="connsiteX37" fmla="*/ 1575486 w 2168610"/>
                <a:gd name="connsiteY37" fmla="*/ 1959508 h 2039827"/>
                <a:gd name="connsiteX38" fmla="*/ 1550773 w 2168610"/>
                <a:gd name="connsiteY38" fmla="*/ 1928616 h 2039827"/>
                <a:gd name="connsiteX39" fmla="*/ 1544594 w 2168610"/>
                <a:gd name="connsiteY39" fmla="*/ 1891546 h 2039827"/>
                <a:gd name="connsiteX40" fmla="*/ 1526059 w 2168610"/>
                <a:gd name="connsiteY40" fmla="*/ 1848297 h 2039827"/>
                <a:gd name="connsiteX41" fmla="*/ 1538416 w 2168610"/>
                <a:gd name="connsiteY41" fmla="*/ 1817405 h 2039827"/>
                <a:gd name="connsiteX42" fmla="*/ 1532237 w 2168610"/>
                <a:gd name="connsiteY42" fmla="*/ 1798870 h 2039827"/>
                <a:gd name="connsiteX43" fmla="*/ 1488989 w 2168610"/>
                <a:gd name="connsiteY43" fmla="*/ 1774157 h 2039827"/>
                <a:gd name="connsiteX44" fmla="*/ 1538416 w 2168610"/>
                <a:gd name="connsiteY44" fmla="*/ 1743265 h 2039827"/>
                <a:gd name="connsiteX45" fmla="*/ 1544594 w 2168610"/>
                <a:gd name="connsiteY45" fmla="*/ 1730908 h 2039827"/>
                <a:gd name="connsiteX46" fmla="*/ 1550773 w 2168610"/>
                <a:gd name="connsiteY46" fmla="*/ 1700016 h 2039827"/>
                <a:gd name="connsiteX47" fmla="*/ 1526059 w 2168610"/>
                <a:gd name="connsiteY47" fmla="*/ 1669124 h 2039827"/>
                <a:gd name="connsiteX48" fmla="*/ 1550773 w 2168610"/>
                <a:gd name="connsiteY48" fmla="*/ 1669124 h 2039827"/>
                <a:gd name="connsiteX49" fmla="*/ 1575486 w 2168610"/>
                <a:gd name="connsiteY49" fmla="*/ 1650589 h 2039827"/>
                <a:gd name="connsiteX50" fmla="*/ 1550773 w 2168610"/>
                <a:gd name="connsiteY50" fmla="*/ 1594984 h 2039827"/>
                <a:gd name="connsiteX51" fmla="*/ 1550773 w 2168610"/>
                <a:gd name="connsiteY51" fmla="*/ 1594984 h 2039827"/>
                <a:gd name="connsiteX52" fmla="*/ 1618735 w 2168610"/>
                <a:gd name="connsiteY52" fmla="*/ 1594984 h 2039827"/>
                <a:gd name="connsiteX53" fmla="*/ 1631092 w 2168610"/>
                <a:gd name="connsiteY53" fmla="*/ 1582627 h 2039827"/>
                <a:gd name="connsiteX54" fmla="*/ 1649627 w 2168610"/>
                <a:gd name="connsiteY54" fmla="*/ 1533200 h 2039827"/>
                <a:gd name="connsiteX55" fmla="*/ 1686697 w 2168610"/>
                <a:gd name="connsiteY55" fmla="*/ 1533200 h 2039827"/>
                <a:gd name="connsiteX56" fmla="*/ 1705232 w 2168610"/>
                <a:gd name="connsiteY56" fmla="*/ 1533200 h 2039827"/>
                <a:gd name="connsiteX57" fmla="*/ 1705232 w 2168610"/>
                <a:gd name="connsiteY57" fmla="*/ 1502308 h 2039827"/>
                <a:gd name="connsiteX58" fmla="*/ 1699054 w 2168610"/>
                <a:gd name="connsiteY58" fmla="*/ 1483773 h 2039827"/>
                <a:gd name="connsiteX59" fmla="*/ 1699054 w 2168610"/>
                <a:gd name="connsiteY59" fmla="*/ 1483773 h 2039827"/>
                <a:gd name="connsiteX60" fmla="*/ 1773194 w 2168610"/>
                <a:gd name="connsiteY60" fmla="*/ 1489951 h 2039827"/>
                <a:gd name="connsiteX61" fmla="*/ 1834978 w 2168610"/>
                <a:gd name="connsiteY61" fmla="*/ 1477595 h 2039827"/>
                <a:gd name="connsiteX62" fmla="*/ 1896762 w 2168610"/>
                <a:gd name="connsiteY62" fmla="*/ 1421989 h 2039827"/>
                <a:gd name="connsiteX63" fmla="*/ 1896762 w 2168610"/>
                <a:gd name="connsiteY63" fmla="*/ 1378740 h 2039827"/>
                <a:gd name="connsiteX64" fmla="*/ 1946189 w 2168610"/>
                <a:gd name="connsiteY64" fmla="*/ 1347849 h 2039827"/>
                <a:gd name="connsiteX65" fmla="*/ 1940010 w 2168610"/>
                <a:gd name="connsiteY65" fmla="*/ 1286065 h 2039827"/>
                <a:gd name="connsiteX66" fmla="*/ 1983259 w 2168610"/>
                <a:gd name="connsiteY66" fmla="*/ 1267530 h 2039827"/>
                <a:gd name="connsiteX67" fmla="*/ 2007973 w 2168610"/>
                <a:gd name="connsiteY67" fmla="*/ 1329313 h 2039827"/>
                <a:gd name="connsiteX68" fmla="*/ 2143897 w 2168610"/>
                <a:gd name="connsiteY68" fmla="*/ 1255173 h 2039827"/>
                <a:gd name="connsiteX69" fmla="*/ 2156254 w 2168610"/>
                <a:gd name="connsiteY69" fmla="*/ 1168676 h 2039827"/>
                <a:gd name="connsiteX70" fmla="*/ 2143897 w 2168610"/>
                <a:gd name="connsiteY70" fmla="*/ 1131605 h 2039827"/>
                <a:gd name="connsiteX71" fmla="*/ 2137719 w 2168610"/>
                <a:gd name="connsiteY71" fmla="*/ 1094535 h 2039827"/>
                <a:gd name="connsiteX72" fmla="*/ 2150075 w 2168610"/>
                <a:gd name="connsiteY72" fmla="*/ 1051286 h 2039827"/>
                <a:gd name="connsiteX73" fmla="*/ 2168610 w 2168610"/>
                <a:gd name="connsiteY73" fmla="*/ 1014216 h 2039827"/>
                <a:gd name="connsiteX74" fmla="*/ 2131540 w 2168610"/>
                <a:gd name="connsiteY74" fmla="*/ 903005 h 2039827"/>
                <a:gd name="connsiteX75" fmla="*/ 2100648 w 2168610"/>
                <a:gd name="connsiteY75" fmla="*/ 872113 h 2039827"/>
                <a:gd name="connsiteX76" fmla="*/ 2075935 w 2168610"/>
                <a:gd name="connsiteY76" fmla="*/ 791795 h 2039827"/>
                <a:gd name="connsiteX77" fmla="*/ 2063578 w 2168610"/>
                <a:gd name="connsiteY77" fmla="*/ 618800 h 2039827"/>
                <a:gd name="connsiteX78" fmla="*/ 2051221 w 2168610"/>
                <a:gd name="connsiteY78" fmla="*/ 519946 h 2039827"/>
                <a:gd name="connsiteX79" fmla="*/ 2032686 w 2168610"/>
                <a:gd name="connsiteY79" fmla="*/ 501411 h 2039827"/>
                <a:gd name="connsiteX80" fmla="*/ 1983259 w 2168610"/>
                <a:gd name="connsiteY80" fmla="*/ 526124 h 2039827"/>
                <a:gd name="connsiteX81" fmla="*/ 1872048 w 2168610"/>
                <a:gd name="connsiteY81" fmla="*/ 470519 h 2039827"/>
                <a:gd name="connsiteX82" fmla="*/ 1834978 w 2168610"/>
                <a:gd name="connsiteY82" fmla="*/ 470519 h 2039827"/>
                <a:gd name="connsiteX83" fmla="*/ 1767016 w 2168610"/>
                <a:gd name="connsiteY83" fmla="*/ 464340 h 2039827"/>
                <a:gd name="connsiteX84" fmla="*/ 1692875 w 2168610"/>
                <a:gd name="connsiteY84" fmla="*/ 519946 h 2039827"/>
                <a:gd name="connsiteX85" fmla="*/ 1631092 w 2168610"/>
                <a:gd name="connsiteY85" fmla="*/ 489054 h 2039827"/>
                <a:gd name="connsiteX86" fmla="*/ 1594021 w 2168610"/>
                <a:gd name="connsiteY86" fmla="*/ 501411 h 2039827"/>
                <a:gd name="connsiteX87" fmla="*/ 1594021 w 2168610"/>
                <a:gd name="connsiteY87" fmla="*/ 501411 h 2039827"/>
                <a:gd name="connsiteX88" fmla="*/ 1519881 w 2168610"/>
                <a:gd name="connsiteY88" fmla="*/ 495232 h 2039827"/>
                <a:gd name="connsiteX89" fmla="*/ 1488989 w 2168610"/>
                <a:gd name="connsiteY89" fmla="*/ 470519 h 2039827"/>
                <a:gd name="connsiteX90" fmla="*/ 1439562 w 2168610"/>
                <a:gd name="connsiteY90" fmla="*/ 489054 h 2039827"/>
                <a:gd name="connsiteX91" fmla="*/ 1353065 w 2168610"/>
                <a:gd name="connsiteY91" fmla="*/ 445805 h 2039827"/>
                <a:gd name="connsiteX92" fmla="*/ 1291281 w 2168610"/>
                <a:gd name="connsiteY92" fmla="*/ 451984 h 2039827"/>
                <a:gd name="connsiteX93" fmla="*/ 1260389 w 2168610"/>
                <a:gd name="connsiteY93" fmla="*/ 439627 h 2039827"/>
                <a:gd name="connsiteX94" fmla="*/ 1235675 w 2168610"/>
                <a:gd name="connsiteY94" fmla="*/ 439627 h 2039827"/>
                <a:gd name="connsiteX95" fmla="*/ 1210962 w 2168610"/>
                <a:gd name="connsiteY95" fmla="*/ 396378 h 2039827"/>
                <a:gd name="connsiteX96" fmla="*/ 1144010 w 2168610"/>
                <a:gd name="connsiteY96" fmla="*/ 390478 h 2039827"/>
                <a:gd name="connsiteX97" fmla="*/ 1105929 w 2168610"/>
                <a:gd name="connsiteY97" fmla="*/ 371665 h 2039827"/>
                <a:gd name="connsiteX98" fmla="*/ 1087394 w 2168610"/>
                <a:gd name="connsiteY98" fmla="*/ 371665 h 2039827"/>
                <a:gd name="connsiteX99" fmla="*/ 1075037 w 2168610"/>
                <a:gd name="connsiteY99" fmla="*/ 359308 h 2039827"/>
                <a:gd name="connsiteX100" fmla="*/ 1062681 w 2168610"/>
                <a:gd name="connsiteY100" fmla="*/ 353130 h 2039827"/>
                <a:gd name="connsiteX101" fmla="*/ 1068450 w 2168610"/>
                <a:gd name="connsiteY101" fmla="*/ 10936 h 2039827"/>
                <a:gd name="connsiteX102" fmla="*/ 598898 w 2168610"/>
                <a:gd name="connsiteY102" fmla="*/ 0 h 2039827"/>
                <a:gd name="connsiteX0" fmla="*/ 598898 w 2168610"/>
                <a:gd name="connsiteY0" fmla="*/ 0 h 2039827"/>
                <a:gd name="connsiteX1" fmla="*/ 580767 w 2168610"/>
                <a:gd name="connsiteY1" fmla="*/ 872113 h 2039827"/>
                <a:gd name="connsiteX2" fmla="*/ 6178 w 2168610"/>
                <a:gd name="connsiteY2" fmla="*/ 853578 h 2039827"/>
                <a:gd name="connsiteX3" fmla="*/ 0 w 2168610"/>
                <a:gd name="connsiteY3" fmla="*/ 890649 h 2039827"/>
                <a:gd name="connsiteX4" fmla="*/ 49427 w 2168610"/>
                <a:gd name="connsiteY4" fmla="*/ 921540 h 2039827"/>
                <a:gd name="connsiteX5" fmla="*/ 105032 w 2168610"/>
                <a:gd name="connsiteY5" fmla="*/ 989503 h 2039827"/>
                <a:gd name="connsiteX6" fmla="*/ 154459 w 2168610"/>
                <a:gd name="connsiteY6" fmla="*/ 1063643 h 2039827"/>
                <a:gd name="connsiteX7" fmla="*/ 203886 w 2168610"/>
                <a:gd name="connsiteY7" fmla="*/ 1076000 h 2039827"/>
                <a:gd name="connsiteX8" fmla="*/ 240956 w 2168610"/>
                <a:gd name="connsiteY8" fmla="*/ 1125427 h 2039827"/>
                <a:gd name="connsiteX9" fmla="*/ 271848 w 2168610"/>
                <a:gd name="connsiteY9" fmla="*/ 1174854 h 2039827"/>
                <a:gd name="connsiteX10" fmla="*/ 296562 w 2168610"/>
                <a:gd name="connsiteY10" fmla="*/ 1230459 h 2039827"/>
                <a:gd name="connsiteX11" fmla="*/ 308919 w 2168610"/>
                <a:gd name="connsiteY11" fmla="*/ 1304600 h 2039827"/>
                <a:gd name="connsiteX12" fmla="*/ 327454 w 2168610"/>
                <a:gd name="connsiteY12" fmla="*/ 1329313 h 2039827"/>
                <a:gd name="connsiteX13" fmla="*/ 432486 w 2168610"/>
                <a:gd name="connsiteY13" fmla="*/ 1409632 h 2039827"/>
                <a:gd name="connsiteX14" fmla="*/ 438665 w 2168610"/>
                <a:gd name="connsiteY14" fmla="*/ 1384919 h 2039827"/>
                <a:gd name="connsiteX15" fmla="*/ 574589 w 2168610"/>
                <a:gd name="connsiteY15" fmla="*/ 1452881 h 2039827"/>
                <a:gd name="connsiteX16" fmla="*/ 574589 w 2168610"/>
                <a:gd name="connsiteY16" fmla="*/ 1452881 h 2039827"/>
                <a:gd name="connsiteX17" fmla="*/ 605481 w 2168610"/>
                <a:gd name="connsiteY17" fmla="*/ 1397276 h 2039827"/>
                <a:gd name="connsiteX18" fmla="*/ 661086 w 2168610"/>
                <a:gd name="connsiteY18" fmla="*/ 1329313 h 2039827"/>
                <a:gd name="connsiteX19" fmla="*/ 729048 w 2168610"/>
                <a:gd name="connsiteY19" fmla="*/ 1310778 h 2039827"/>
                <a:gd name="connsiteX20" fmla="*/ 821724 w 2168610"/>
                <a:gd name="connsiteY20" fmla="*/ 1323135 h 2039827"/>
                <a:gd name="connsiteX21" fmla="*/ 902043 w 2168610"/>
                <a:gd name="connsiteY21" fmla="*/ 1384919 h 2039827"/>
                <a:gd name="connsiteX22" fmla="*/ 957648 w 2168610"/>
                <a:gd name="connsiteY22" fmla="*/ 1465238 h 2039827"/>
                <a:gd name="connsiteX23" fmla="*/ 1013254 w 2168610"/>
                <a:gd name="connsiteY23" fmla="*/ 1545557 h 2039827"/>
                <a:gd name="connsiteX24" fmla="*/ 1062681 w 2168610"/>
                <a:gd name="connsiteY24" fmla="*/ 1632054 h 2039827"/>
                <a:gd name="connsiteX25" fmla="*/ 1118286 w 2168610"/>
                <a:gd name="connsiteY25" fmla="*/ 1700016 h 2039827"/>
                <a:gd name="connsiteX26" fmla="*/ 1167713 w 2168610"/>
                <a:gd name="connsiteY26" fmla="*/ 1737086 h 2039827"/>
                <a:gd name="connsiteX27" fmla="*/ 1198605 w 2168610"/>
                <a:gd name="connsiteY27" fmla="*/ 1817405 h 2039827"/>
                <a:gd name="connsiteX28" fmla="*/ 1223319 w 2168610"/>
                <a:gd name="connsiteY28" fmla="*/ 1879189 h 2039827"/>
                <a:gd name="connsiteX29" fmla="*/ 1248032 w 2168610"/>
                <a:gd name="connsiteY29" fmla="*/ 1940973 h 2039827"/>
                <a:gd name="connsiteX30" fmla="*/ 1278924 w 2168610"/>
                <a:gd name="connsiteY30" fmla="*/ 1984222 h 2039827"/>
                <a:gd name="connsiteX31" fmla="*/ 1340708 w 2168610"/>
                <a:gd name="connsiteY31" fmla="*/ 2008935 h 2039827"/>
                <a:gd name="connsiteX32" fmla="*/ 1439562 w 2168610"/>
                <a:gd name="connsiteY32" fmla="*/ 2027470 h 2039827"/>
                <a:gd name="connsiteX33" fmla="*/ 1513702 w 2168610"/>
                <a:gd name="connsiteY33" fmla="*/ 2039827 h 2039827"/>
                <a:gd name="connsiteX34" fmla="*/ 1606378 w 2168610"/>
                <a:gd name="connsiteY34" fmla="*/ 2039827 h 2039827"/>
                <a:gd name="connsiteX35" fmla="*/ 1587843 w 2168610"/>
                <a:gd name="connsiteY35" fmla="*/ 2027470 h 2039827"/>
                <a:gd name="connsiteX36" fmla="*/ 1587843 w 2168610"/>
                <a:gd name="connsiteY36" fmla="*/ 2027470 h 2039827"/>
                <a:gd name="connsiteX37" fmla="*/ 1575486 w 2168610"/>
                <a:gd name="connsiteY37" fmla="*/ 1959508 h 2039827"/>
                <a:gd name="connsiteX38" fmla="*/ 1550773 w 2168610"/>
                <a:gd name="connsiteY38" fmla="*/ 1928616 h 2039827"/>
                <a:gd name="connsiteX39" fmla="*/ 1544594 w 2168610"/>
                <a:gd name="connsiteY39" fmla="*/ 1891546 h 2039827"/>
                <a:gd name="connsiteX40" fmla="*/ 1526059 w 2168610"/>
                <a:gd name="connsiteY40" fmla="*/ 1848297 h 2039827"/>
                <a:gd name="connsiteX41" fmla="*/ 1538416 w 2168610"/>
                <a:gd name="connsiteY41" fmla="*/ 1817405 h 2039827"/>
                <a:gd name="connsiteX42" fmla="*/ 1532237 w 2168610"/>
                <a:gd name="connsiteY42" fmla="*/ 1798870 h 2039827"/>
                <a:gd name="connsiteX43" fmla="*/ 1488989 w 2168610"/>
                <a:gd name="connsiteY43" fmla="*/ 1774157 h 2039827"/>
                <a:gd name="connsiteX44" fmla="*/ 1538416 w 2168610"/>
                <a:gd name="connsiteY44" fmla="*/ 1743265 h 2039827"/>
                <a:gd name="connsiteX45" fmla="*/ 1544594 w 2168610"/>
                <a:gd name="connsiteY45" fmla="*/ 1730908 h 2039827"/>
                <a:gd name="connsiteX46" fmla="*/ 1550773 w 2168610"/>
                <a:gd name="connsiteY46" fmla="*/ 1700016 h 2039827"/>
                <a:gd name="connsiteX47" fmla="*/ 1526059 w 2168610"/>
                <a:gd name="connsiteY47" fmla="*/ 1669124 h 2039827"/>
                <a:gd name="connsiteX48" fmla="*/ 1550773 w 2168610"/>
                <a:gd name="connsiteY48" fmla="*/ 1669124 h 2039827"/>
                <a:gd name="connsiteX49" fmla="*/ 1575486 w 2168610"/>
                <a:gd name="connsiteY49" fmla="*/ 1650589 h 2039827"/>
                <a:gd name="connsiteX50" fmla="*/ 1550773 w 2168610"/>
                <a:gd name="connsiteY50" fmla="*/ 1594984 h 2039827"/>
                <a:gd name="connsiteX51" fmla="*/ 1550773 w 2168610"/>
                <a:gd name="connsiteY51" fmla="*/ 1594984 h 2039827"/>
                <a:gd name="connsiteX52" fmla="*/ 1618735 w 2168610"/>
                <a:gd name="connsiteY52" fmla="*/ 1594984 h 2039827"/>
                <a:gd name="connsiteX53" fmla="*/ 1631092 w 2168610"/>
                <a:gd name="connsiteY53" fmla="*/ 1582627 h 2039827"/>
                <a:gd name="connsiteX54" fmla="*/ 1649627 w 2168610"/>
                <a:gd name="connsiteY54" fmla="*/ 1533200 h 2039827"/>
                <a:gd name="connsiteX55" fmla="*/ 1686697 w 2168610"/>
                <a:gd name="connsiteY55" fmla="*/ 1533200 h 2039827"/>
                <a:gd name="connsiteX56" fmla="*/ 1705232 w 2168610"/>
                <a:gd name="connsiteY56" fmla="*/ 1533200 h 2039827"/>
                <a:gd name="connsiteX57" fmla="*/ 1705232 w 2168610"/>
                <a:gd name="connsiteY57" fmla="*/ 1502308 h 2039827"/>
                <a:gd name="connsiteX58" fmla="*/ 1699054 w 2168610"/>
                <a:gd name="connsiteY58" fmla="*/ 1483773 h 2039827"/>
                <a:gd name="connsiteX59" fmla="*/ 1699054 w 2168610"/>
                <a:gd name="connsiteY59" fmla="*/ 1483773 h 2039827"/>
                <a:gd name="connsiteX60" fmla="*/ 1773194 w 2168610"/>
                <a:gd name="connsiteY60" fmla="*/ 1489951 h 2039827"/>
                <a:gd name="connsiteX61" fmla="*/ 1834978 w 2168610"/>
                <a:gd name="connsiteY61" fmla="*/ 1477595 h 2039827"/>
                <a:gd name="connsiteX62" fmla="*/ 1896762 w 2168610"/>
                <a:gd name="connsiteY62" fmla="*/ 1421989 h 2039827"/>
                <a:gd name="connsiteX63" fmla="*/ 1896762 w 2168610"/>
                <a:gd name="connsiteY63" fmla="*/ 1378740 h 2039827"/>
                <a:gd name="connsiteX64" fmla="*/ 1946189 w 2168610"/>
                <a:gd name="connsiteY64" fmla="*/ 1347849 h 2039827"/>
                <a:gd name="connsiteX65" fmla="*/ 1940010 w 2168610"/>
                <a:gd name="connsiteY65" fmla="*/ 1286065 h 2039827"/>
                <a:gd name="connsiteX66" fmla="*/ 1983259 w 2168610"/>
                <a:gd name="connsiteY66" fmla="*/ 1267530 h 2039827"/>
                <a:gd name="connsiteX67" fmla="*/ 2007973 w 2168610"/>
                <a:gd name="connsiteY67" fmla="*/ 1329313 h 2039827"/>
                <a:gd name="connsiteX68" fmla="*/ 2143897 w 2168610"/>
                <a:gd name="connsiteY68" fmla="*/ 1255173 h 2039827"/>
                <a:gd name="connsiteX69" fmla="*/ 2156254 w 2168610"/>
                <a:gd name="connsiteY69" fmla="*/ 1168676 h 2039827"/>
                <a:gd name="connsiteX70" fmla="*/ 2143897 w 2168610"/>
                <a:gd name="connsiteY70" fmla="*/ 1131605 h 2039827"/>
                <a:gd name="connsiteX71" fmla="*/ 2137719 w 2168610"/>
                <a:gd name="connsiteY71" fmla="*/ 1094535 h 2039827"/>
                <a:gd name="connsiteX72" fmla="*/ 2150075 w 2168610"/>
                <a:gd name="connsiteY72" fmla="*/ 1051286 h 2039827"/>
                <a:gd name="connsiteX73" fmla="*/ 2168610 w 2168610"/>
                <a:gd name="connsiteY73" fmla="*/ 1014216 h 2039827"/>
                <a:gd name="connsiteX74" fmla="*/ 2131540 w 2168610"/>
                <a:gd name="connsiteY74" fmla="*/ 903005 h 2039827"/>
                <a:gd name="connsiteX75" fmla="*/ 2100648 w 2168610"/>
                <a:gd name="connsiteY75" fmla="*/ 872113 h 2039827"/>
                <a:gd name="connsiteX76" fmla="*/ 2075935 w 2168610"/>
                <a:gd name="connsiteY76" fmla="*/ 791795 h 2039827"/>
                <a:gd name="connsiteX77" fmla="*/ 2063578 w 2168610"/>
                <a:gd name="connsiteY77" fmla="*/ 618800 h 2039827"/>
                <a:gd name="connsiteX78" fmla="*/ 2051221 w 2168610"/>
                <a:gd name="connsiteY78" fmla="*/ 519946 h 2039827"/>
                <a:gd name="connsiteX79" fmla="*/ 2032686 w 2168610"/>
                <a:gd name="connsiteY79" fmla="*/ 501411 h 2039827"/>
                <a:gd name="connsiteX80" fmla="*/ 1983259 w 2168610"/>
                <a:gd name="connsiteY80" fmla="*/ 526124 h 2039827"/>
                <a:gd name="connsiteX81" fmla="*/ 1872048 w 2168610"/>
                <a:gd name="connsiteY81" fmla="*/ 470519 h 2039827"/>
                <a:gd name="connsiteX82" fmla="*/ 1834978 w 2168610"/>
                <a:gd name="connsiteY82" fmla="*/ 470519 h 2039827"/>
                <a:gd name="connsiteX83" fmla="*/ 1767016 w 2168610"/>
                <a:gd name="connsiteY83" fmla="*/ 464340 h 2039827"/>
                <a:gd name="connsiteX84" fmla="*/ 1692875 w 2168610"/>
                <a:gd name="connsiteY84" fmla="*/ 519946 h 2039827"/>
                <a:gd name="connsiteX85" fmla="*/ 1631092 w 2168610"/>
                <a:gd name="connsiteY85" fmla="*/ 489054 h 2039827"/>
                <a:gd name="connsiteX86" fmla="*/ 1594021 w 2168610"/>
                <a:gd name="connsiteY86" fmla="*/ 501411 h 2039827"/>
                <a:gd name="connsiteX87" fmla="*/ 1594083 w 2168610"/>
                <a:gd name="connsiteY87" fmla="*/ 489288 h 2039827"/>
                <a:gd name="connsiteX88" fmla="*/ 1519881 w 2168610"/>
                <a:gd name="connsiteY88" fmla="*/ 495232 h 2039827"/>
                <a:gd name="connsiteX89" fmla="*/ 1488989 w 2168610"/>
                <a:gd name="connsiteY89" fmla="*/ 470519 h 2039827"/>
                <a:gd name="connsiteX90" fmla="*/ 1439562 w 2168610"/>
                <a:gd name="connsiteY90" fmla="*/ 489054 h 2039827"/>
                <a:gd name="connsiteX91" fmla="*/ 1353065 w 2168610"/>
                <a:gd name="connsiteY91" fmla="*/ 445805 h 2039827"/>
                <a:gd name="connsiteX92" fmla="*/ 1291281 w 2168610"/>
                <a:gd name="connsiteY92" fmla="*/ 451984 h 2039827"/>
                <a:gd name="connsiteX93" fmla="*/ 1260389 w 2168610"/>
                <a:gd name="connsiteY93" fmla="*/ 439627 h 2039827"/>
                <a:gd name="connsiteX94" fmla="*/ 1235675 w 2168610"/>
                <a:gd name="connsiteY94" fmla="*/ 439627 h 2039827"/>
                <a:gd name="connsiteX95" fmla="*/ 1210962 w 2168610"/>
                <a:gd name="connsiteY95" fmla="*/ 396378 h 2039827"/>
                <a:gd name="connsiteX96" fmla="*/ 1144010 w 2168610"/>
                <a:gd name="connsiteY96" fmla="*/ 390478 h 2039827"/>
                <a:gd name="connsiteX97" fmla="*/ 1105929 w 2168610"/>
                <a:gd name="connsiteY97" fmla="*/ 371665 h 2039827"/>
                <a:gd name="connsiteX98" fmla="*/ 1087394 w 2168610"/>
                <a:gd name="connsiteY98" fmla="*/ 371665 h 2039827"/>
                <a:gd name="connsiteX99" fmla="*/ 1075037 w 2168610"/>
                <a:gd name="connsiteY99" fmla="*/ 359308 h 2039827"/>
                <a:gd name="connsiteX100" fmla="*/ 1062681 w 2168610"/>
                <a:gd name="connsiteY100" fmla="*/ 353130 h 2039827"/>
                <a:gd name="connsiteX101" fmla="*/ 1068450 w 2168610"/>
                <a:gd name="connsiteY101" fmla="*/ 10936 h 2039827"/>
                <a:gd name="connsiteX102" fmla="*/ 598898 w 2168610"/>
                <a:gd name="connsiteY102" fmla="*/ 0 h 2039827"/>
                <a:gd name="connsiteX0" fmla="*/ 598898 w 2168610"/>
                <a:gd name="connsiteY0" fmla="*/ 0 h 2039827"/>
                <a:gd name="connsiteX1" fmla="*/ 580767 w 2168610"/>
                <a:gd name="connsiteY1" fmla="*/ 872113 h 2039827"/>
                <a:gd name="connsiteX2" fmla="*/ 6178 w 2168610"/>
                <a:gd name="connsiteY2" fmla="*/ 853578 h 2039827"/>
                <a:gd name="connsiteX3" fmla="*/ 0 w 2168610"/>
                <a:gd name="connsiteY3" fmla="*/ 890649 h 2039827"/>
                <a:gd name="connsiteX4" fmla="*/ 49427 w 2168610"/>
                <a:gd name="connsiteY4" fmla="*/ 921540 h 2039827"/>
                <a:gd name="connsiteX5" fmla="*/ 105032 w 2168610"/>
                <a:gd name="connsiteY5" fmla="*/ 989503 h 2039827"/>
                <a:gd name="connsiteX6" fmla="*/ 154459 w 2168610"/>
                <a:gd name="connsiteY6" fmla="*/ 1063643 h 2039827"/>
                <a:gd name="connsiteX7" fmla="*/ 203886 w 2168610"/>
                <a:gd name="connsiteY7" fmla="*/ 1076000 h 2039827"/>
                <a:gd name="connsiteX8" fmla="*/ 240956 w 2168610"/>
                <a:gd name="connsiteY8" fmla="*/ 1125427 h 2039827"/>
                <a:gd name="connsiteX9" fmla="*/ 271848 w 2168610"/>
                <a:gd name="connsiteY9" fmla="*/ 1174854 h 2039827"/>
                <a:gd name="connsiteX10" fmla="*/ 296562 w 2168610"/>
                <a:gd name="connsiteY10" fmla="*/ 1230459 h 2039827"/>
                <a:gd name="connsiteX11" fmla="*/ 308919 w 2168610"/>
                <a:gd name="connsiteY11" fmla="*/ 1304600 h 2039827"/>
                <a:gd name="connsiteX12" fmla="*/ 327454 w 2168610"/>
                <a:gd name="connsiteY12" fmla="*/ 1329313 h 2039827"/>
                <a:gd name="connsiteX13" fmla="*/ 432486 w 2168610"/>
                <a:gd name="connsiteY13" fmla="*/ 1409632 h 2039827"/>
                <a:gd name="connsiteX14" fmla="*/ 438665 w 2168610"/>
                <a:gd name="connsiteY14" fmla="*/ 1384919 h 2039827"/>
                <a:gd name="connsiteX15" fmla="*/ 574589 w 2168610"/>
                <a:gd name="connsiteY15" fmla="*/ 1452881 h 2039827"/>
                <a:gd name="connsiteX16" fmla="*/ 574589 w 2168610"/>
                <a:gd name="connsiteY16" fmla="*/ 1452881 h 2039827"/>
                <a:gd name="connsiteX17" fmla="*/ 605481 w 2168610"/>
                <a:gd name="connsiteY17" fmla="*/ 1397276 h 2039827"/>
                <a:gd name="connsiteX18" fmla="*/ 661086 w 2168610"/>
                <a:gd name="connsiteY18" fmla="*/ 1329313 h 2039827"/>
                <a:gd name="connsiteX19" fmla="*/ 729048 w 2168610"/>
                <a:gd name="connsiteY19" fmla="*/ 1310778 h 2039827"/>
                <a:gd name="connsiteX20" fmla="*/ 821724 w 2168610"/>
                <a:gd name="connsiteY20" fmla="*/ 1323135 h 2039827"/>
                <a:gd name="connsiteX21" fmla="*/ 902043 w 2168610"/>
                <a:gd name="connsiteY21" fmla="*/ 1384919 h 2039827"/>
                <a:gd name="connsiteX22" fmla="*/ 957648 w 2168610"/>
                <a:gd name="connsiteY22" fmla="*/ 1465238 h 2039827"/>
                <a:gd name="connsiteX23" fmla="*/ 1013254 w 2168610"/>
                <a:gd name="connsiteY23" fmla="*/ 1545557 h 2039827"/>
                <a:gd name="connsiteX24" fmla="*/ 1062681 w 2168610"/>
                <a:gd name="connsiteY24" fmla="*/ 1632054 h 2039827"/>
                <a:gd name="connsiteX25" fmla="*/ 1118286 w 2168610"/>
                <a:gd name="connsiteY25" fmla="*/ 1700016 h 2039827"/>
                <a:gd name="connsiteX26" fmla="*/ 1167713 w 2168610"/>
                <a:gd name="connsiteY26" fmla="*/ 1737086 h 2039827"/>
                <a:gd name="connsiteX27" fmla="*/ 1198605 w 2168610"/>
                <a:gd name="connsiteY27" fmla="*/ 1817405 h 2039827"/>
                <a:gd name="connsiteX28" fmla="*/ 1223319 w 2168610"/>
                <a:gd name="connsiteY28" fmla="*/ 1879189 h 2039827"/>
                <a:gd name="connsiteX29" fmla="*/ 1248032 w 2168610"/>
                <a:gd name="connsiteY29" fmla="*/ 1940973 h 2039827"/>
                <a:gd name="connsiteX30" fmla="*/ 1278924 w 2168610"/>
                <a:gd name="connsiteY30" fmla="*/ 1984222 h 2039827"/>
                <a:gd name="connsiteX31" fmla="*/ 1340708 w 2168610"/>
                <a:gd name="connsiteY31" fmla="*/ 2008935 h 2039827"/>
                <a:gd name="connsiteX32" fmla="*/ 1439562 w 2168610"/>
                <a:gd name="connsiteY32" fmla="*/ 2027470 h 2039827"/>
                <a:gd name="connsiteX33" fmla="*/ 1513702 w 2168610"/>
                <a:gd name="connsiteY33" fmla="*/ 2039827 h 2039827"/>
                <a:gd name="connsiteX34" fmla="*/ 1606378 w 2168610"/>
                <a:gd name="connsiteY34" fmla="*/ 2039827 h 2039827"/>
                <a:gd name="connsiteX35" fmla="*/ 1587843 w 2168610"/>
                <a:gd name="connsiteY35" fmla="*/ 2027470 h 2039827"/>
                <a:gd name="connsiteX36" fmla="*/ 1587843 w 2168610"/>
                <a:gd name="connsiteY36" fmla="*/ 2027470 h 2039827"/>
                <a:gd name="connsiteX37" fmla="*/ 1575486 w 2168610"/>
                <a:gd name="connsiteY37" fmla="*/ 1959508 h 2039827"/>
                <a:gd name="connsiteX38" fmla="*/ 1550773 w 2168610"/>
                <a:gd name="connsiteY38" fmla="*/ 1928616 h 2039827"/>
                <a:gd name="connsiteX39" fmla="*/ 1544594 w 2168610"/>
                <a:gd name="connsiteY39" fmla="*/ 1891546 h 2039827"/>
                <a:gd name="connsiteX40" fmla="*/ 1526059 w 2168610"/>
                <a:gd name="connsiteY40" fmla="*/ 1848297 h 2039827"/>
                <a:gd name="connsiteX41" fmla="*/ 1538416 w 2168610"/>
                <a:gd name="connsiteY41" fmla="*/ 1817405 h 2039827"/>
                <a:gd name="connsiteX42" fmla="*/ 1532237 w 2168610"/>
                <a:gd name="connsiteY42" fmla="*/ 1798870 h 2039827"/>
                <a:gd name="connsiteX43" fmla="*/ 1488989 w 2168610"/>
                <a:gd name="connsiteY43" fmla="*/ 1774157 h 2039827"/>
                <a:gd name="connsiteX44" fmla="*/ 1538416 w 2168610"/>
                <a:gd name="connsiteY44" fmla="*/ 1743265 h 2039827"/>
                <a:gd name="connsiteX45" fmla="*/ 1544594 w 2168610"/>
                <a:gd name="connsiteY45" fmla="*/ 1730908 h 2039827"/>
                <a:gd name="connsiteX46" fmla="*/ 1550773 w 2168610"/>
                <a:gd name="connsiteY46" fmla="*/ 1700016 h 2039827"/>
                <a:gd name="connsiteX47" fmla="*/ 1526059 w 2168610"/>
                <a:gd name="connsiteY47" fmla="*/ 1669124 h 2039827"/>
                <a:gd name="connsiteX48" fmla="*/ 1550773 w 2168610"/>
                <a:gd name="connsiteY48" fmla="*/ 1669124 h 2039827"/>
                <a:gd name="connsiteX49" fmla="*/ 1575486 w 2168610"/>
                <a:gd name="connsiteY49" fmla="*/ 1650589 h 2039827"/>
                <a:gd name="connsiteX50" fmla="*/ 1550773 w 2168610"/>
                <a:gd name="connsiteY50" fmla="*/ 1594984 h 2039827"/>
                <a:gd name="connsiteX51" fmla="*/ 1550773 w 2168610"/>
                <a:gd name="connsiteY51" fmla="*/ 1594984 h 2039827"/>
                <a:gd name="connsiteX52" fmla="*/ 1618735 w 2168610"/>
                <a:gd name="connsiteY52" fmla="*/ 1594984 h 2039827"/>
                <a:gd name="connsiteX53" fmla="*/ 1631092 w 2168610"/>
                <a:gd name="connsiteY53" fmla="*/ 1582627 h 2039827"/>
                <a:gd name="connsiteX54" fmla="*/ 1649627 w 2168610"/>
                <a:gd name="connsiteY54" fmla="*/ 1533200 h 2039827"/>
                <a:gd name="connsiteX55" fmla="*/ 1686697 w 2168610"/>
                <a:gd name="connsiteY55" fmla="*/ 1533200 h 2039827"/>
                <a:gd name="connsiteX56" fmla="*/ 1705232 w 2168610"/>
                <a:gd name="connsiteY56" fmla="*/ 1533200 h 2039827"/>
                <a:gd name="connsiteX57" fmla="*/ 1705232 w 2168610"/>
                <a:gd name="connsiteY57" fmla="*/ 1502308 h 2039827"/>
                <a:gd name="connsiteX58" fmla="*/ 1699054 w 2168610"/>
                <a:gd name="connsiteY58" fmla="*/ 1483773 h 2039827"/>
                <a:gd name="connsiteX59" fmla="*/ 1699054 w 2168610"/>
                <a:gd name="connsiteY59" fmla="*/ 1483773 h 2039827"/>
                <a:gd name="connsiteX60" fmla="*/ 1773194 w 2168610"/>
                <a:gd name="connsiteY60" fmla="*/ 1489951 h 2039827"/>
                <a:gd name="connsiteX61" fmla="*/ 1834978 w 2168610"/>
                <a:gd name="connsiteY61" fmla="*/ 1477595 h 2039827"/>
                <a:gd name="connsiteX62" fmla="*/ 1896762 w 2168610"/>
                <a:gd name="connsiteY62" fmla="*/ 1421989 h 2039827"/>
                <a:gd name="connsiteX63" fmla="*/ 1896762 w 2168610"/>
                <a:gd name="connsiteY63" fmla="*/ 1378740 h 2039827"/>
                <a:gd name="connsiteX64" fmla="*/ 1946189 w 2168610"/>
                <a:gd name="connsiteY64" fmla="*/ 1347849 h 2039827"/>
                <a:gd name="connsiteX65" fmla="*/ 1940010 w 2168610"/>
                <a:gd name="connsiteY65" fmla="*/ 1286065 h 2039827"/>
                <a:gd name="connsiteX66" fmla="*/ 1983259 w 2168610"/>
                <a:gd name="connsiteY66" fmla="*/ 1267530 h 2039827"/>
                <a:gd name="connsiteX67" fmla="*/ 2007973 w 2168610"/>
                <a:gd name="connsiteY67" fmla="*/ 1329313 h 2039827"/>
                <a:gd name="connsiteX68" fmla="*/ 2143897 w 2168610"/>
                <a:gd name="connsiteY68" fmla="*/ 1255173 h 2039827"/>
                <a:gd name="connsiteX69" fmla="*/ 2156254 w 2168610"/>
                <a:gd name="connsiteY69" fmla="*/ 1168676 h 2039827"/>
                <a:gd name="connsiteX70" fmla="*/ 2143897 w 2168610"/>
                <a:gd name="connsiteY70" fmla="*/ 1131605 h 2039827"/>
                <a:gd name="connsiteX71" fmla="*/ 2137719 w 2168610"/>
                <a:gd name="connsiteY71" fmla="*/ 1094535 h 2039827"/>
                <a:gd name="connsiteX72" fmla="*/ 2150075 w 2168610"/>
                <a:gd name="connsiteY72" fmla="*/ 1051286 h 2039827"/>
                <a:gd name="connsiteX73" fmla="*/ 2168610 w 2168610"/>
                <a:gd name="connsiteY73" fmla="*/ 1014216 h 2039827"/>
                <a:gd name="connsiteX74" fmla="*/ 2131540 w 2168610"/>
                <a:gd name="connsiteY74" fmla="*/ 903005 h 2039827"/>
                <a:gd name="connsiteX75" fmla="*/ 2100648 w 2168610"/>
                <a:gd name="connsiteY75" fmla="*/ 872113 h 2039827"/>
                <a:gd name="connsiteX76" fmla="*/ 2075935 w 2168610"/>
                <a:gd name="connsiteY76" fmla="*/ 791795 h 2039827"/>
                <a:gd name="connsiteX77" fmla="*/ 2063578 w 2168610"/>
                <a:gd name="connsiteY77" fmla="*/ 618800 h 2039827"/>
                <a:gd name="connsiteX78" fmla="*/ 2051221 w 2168610"/>
                <a:gd name="connsiteY78" fmla="*/ 519946 h 2039827"/>
                <a:gd name="connsiteX79" fmla="*/ 2032686 w 2168610"/>
                <a:gd name="connsiteY79" fmla="*/ 501411 h 2039827"/>
                <a:gd name="connsiteX80" fmla="*/ 1983259 w 2168610"/>
                <a:gd name="connsiteY80" fmla="*/ 526124 h 2039827"/>
                <a:gd name="connsiteX81" fmla="*/ 1872048 w 2168610"/>
                <a:gd name="connsiteY81" fmla="*/ 470519 h 2039827"/>
                <a:gd name="connsiteX82" fmla="*/ 1834978 w 2168610"/>
                <a:gd name="connsiteY82" fmla="*/ 470519 h 2039827"/>
                <a:gd name="connsiteX83" fmla="*/ 1767016 w 2168610"/>
                <a:gd name="connsiteY83" fmla="*/ 464340 h 2039827"/>
                <a:gd name="connsiteX84" fmla="*/ 1692875 w 2168610"/>
                <a:gd name="connsiteY84" fmla="*/ 519946 h 2039827"/>
                <a:gd name="connsiteX85" fmla="*/ 1631092 w 2168610"/>
                <a:gd name="connsiteY85" fmla="*/ 489054 h 2039827"/>
                <a:gd name="connsiteX86" fmla="*/ 1594021 w 2168610"/>
                <a:gd name="connsiteY86" fmla="*/ 501411 h 2039827"/>
                <a:gd name="connsiteX87" fmla="*/ 1594083 w 2168610"/>
                <a:gd name="connsiteY87" fmla="*/ 489288 h 2039827"/>
                <a:gd name="connsiteX88" fmla="*/ 1519881 w 2168610"/>
                <a:gd name="connsiteY88" fmla="*/ 495232 h 2039827"/>
                <a:gd name="connsiteX89" fmla="*/ 1488989 w 2168610"/>
                <a:gd name="connsiteY89" fmla="*/ 470519 h 2039827"/>
                <a:gd name="connsiteX90" fmla="*/ 1439562 w 2168610"/>
                <a:gd name="connsiteY90" fmla="*/ 489054 h 2039827"/>
                <a:gd name="connsiteX91" fmla="*/ 1362643 w 2168610"/>
                <a:gd name="connsiteY91" fmla="*/ 433707 h 2039827"/>
                <a:gd name="connsiteX92" fmla="*/ 1291281 w 2168610"/>
                <a:gd name="connsiteY92" fmla="*/ 451984 h 2039827"/>
                <a:gd name="connsiteX93" fmla="*/ 1260389 w 2168610"/>
                <a:gd name="connsiteY93" fmla="*/ 439627 h 2039827"/>
                <a:gd name="connsiteX94" fmla="*/ 1235675 w 2168610"/>
                <a:gd name="connsiteY94" fmla="*/ 439627 h 2039827"/>
                <a:gd name="connsiteX95" fmla="*/ 1210962 w 2168610"/>
                <a:gd name="connsiteY95" fmla="*/ 396378 h 2039827"/>
                <a:gd name="connsiteX96" fmla="*/ 1144010 w 2168610"/>
                <a:gd name="connsiteY96" fmla="*/ 390478 h 2039827"/>
                <a:gd name="connsiteX97" fmla="*/ 1105929 w 2168610"/>
                <a:gd name="connsiteY97" fmla="*/ 371665 h 2039827"/>
                <a:gd name="connsiteX98" fmla="*/ 1087394 w 2168610"/>
                <a:gd name="connsiteY98" fmla="*/ 371665 h 2039827"/>
                <a:gd name="connsiteX99" fmla="*/ 1075037 w 2168610"/>
                <a:gd name="connsiteY99" fmla="*/ 359308 h 2039827"/>
                <a:gd name="connsiteX100" fmla="*/ 1062681 w 2168610"/>
                <a:gd name="connsiteY100" fmla="*/ 353130 h 2039827"/>
                <a:gd name="connsiteX101" fmla="*/ 1068450 w 2168610"/>
                <a:gd name="connsiteY101" fmla="*/ 10936 h 2039827"/>
                <a:gd name="connsiteX102" fmla="*/ 598898 w 2168610"/>
                <a:gd name="connsiteY102" fmla="*/ 0 h 2039827"/>
                <a:gd name="connsiteX0" fmla="*/ 598898 w 2168610"/>
                <a:gd name="connsiteY0" fmla="*/ 0 h 2039827"/>
                <a:gd name="connsiteX1" fmla="*/ 580767 w 2168610"/>
                <a:gd name="connsiteY1" fmla="*/ 872113 h 2039827"/>
                <a:gd name="connsiteX2" fmla="*/ 6178 w 2168610"/>
                <a:gd name="connsiteY2" fmla="*/ 853578 h 2039827"/>
                <a:gd name="connsiteX3" fmla="*/ 0 w 2168610"/>
                <a:gd name="connsiteY3" fmla="*/ 890649 h 2039827"/>
                <a:gd name="connsiteX4" fmla="*/ 49427 w 2168610"/>
                <a:gd name="connsiteY4" fmla="*/ 921540 h 2039827"/>
                <a:gd name="connsiteX5" fmla="*/ 105032 w 2168610"/>
                <a:gd name="connsiteY5" fmla="*/ 989503 h 2039827"/>
                <a:gd name="connsiteX6" fmla="*/ 154459 w 2168610"/>
                <a:gd name="connsiteY6" fmla="*/ 1063643 h 2039827"/>
                <a:gd name="connsiteX7" fmla="*/ 203886 w 2168610"/>
                <a:gd name="connsiteY7" fmla="*/ 1076000 h 2039827"/>
                <a:gd name="connsiteX8" fmla="*/ 240956 w 2168610"/>
                <a:gd name="connsiteY8" fmla="*/ 1125427 h 2039827"/>
                <a:gd name="connsiteX9" fmla="*/ 271848 w 2168610"/>
                <a:gd name="connsiteY9" fmla="*/ 1174854 h 2039827"/>
                <a:gd name="connsiteX10" fmla="*/ 296562 w 2168610"/>
                <a:gd name="connsiteY10" fmla="*/ 1230459 h 2039827"/>
                <a:gd name="connsiteX11" fmla="*/ 308919 w 2168610"/>
                <a:gd name="connsiteY11" fmla="*/ 1304600 h 2039827"/>
                <a:gd name="connsiteX12" fmla="*/ 327454 w 2168610"/>
                <a:gd name="connsiteY12" fmla="*/ 1329313 h 2039827"/>
                <a:gd name="connsiteX13" fmla="*/ 432486 w 2168610"/>
                <a:gd name="connsiteY13" fmla="*/ 1409632 h 2039827"/>
                <a:gd name="connsiteX14" fmla="*/ 438665 w 2168610"/>
                <a:gd name="connsiteY14" fmla="*/ 1384919 h 2039827"/>
                <a:gd name="connsiteX15" fmla="*/ 574589 w 2168610"/>
                <a:gd name="connsiteY15" fmla="*/ 1452881 h 2039827"/>
                <a:gd name="connsiteX16" fmla="*/ 574589 w 2168610"/>
                <a:gd name="connsiteY16" fmla="*/ 1452881 h 2039827"/>
                <a:gd name="connsiteX17" fmla="*/ 605481 w 2168610"/>
                <a:gd name="connsiteY17" fmla="*/ 1397276 h 2039827"/>
                <a:gd name="connsiteX18" fmla="*/ 661086 w 2168610"/>
                <a:gd name="connsiteY18" fmla="*/ 1329313 h 2039827"/>
                <a:gd name="connsiteX19" fmla="*/ 729048 w 2168610"/>
                <a:gd name="connsiteY19" fmla="*/ 1310778 h 2039827"/>
                <a:gd name="connsiteX20" fmla="*/ 821724 w 2168610"/>
                <a:gd name="connsiteY20" fmla="*/ 1323135 h 2039827"/>
                <a:gd name="connsiteX21" fmla="*/ 902043 w 2168610"/>
                <a:gd name="connsiteY21" fmla="*/ 1384919 h 2039827"/>
                <a:gd name="connsiteX22" fmla="*/ 957648 w 2168610"/>
                <a:gd name="connsiteY22" fmla="*/ 1465238 h 2039827"/>
                <a:gd name="connsiteX23" fmla="*/ 1013254 w 2168610"/>
                <a:gd name="connsiteY23" fmla="*/ 1545557 h 2039827"/>
                <a:gd name="connsiteX24" fmla="*/ 1062681 w 2168610"/>
                <a:gd name="connsiteY24" fmla="*/ 1632054 h 2039827"/>
                <a:gd name="connsiteX25" fmla="*/ 1118286 w 2168610"/>
                <a:gd name="connsiteY25" fmla="*/ 1700016 h 2039827"/>
                <a:gd name="connsiteX26" fmla="*/ 1167713 w 2168610"/>
                <a:gd name="connsiteY26" fmla="*/ 1737086 h 2039827"/>
                <a:gd name="connsiteX27" fmla="*/ 1198605 w 2168610"/>
                <a:gd name="connsiteY27" fmla="*/ 1817405 h 2039827"/>
                <a:gd name="connsiteX28" fmla="*/ 1223319 w 2168610"/>
                <a:gd name="connsiteY28" fmla="*/ 1879189 h 2039827"/>
                <a:gd name="connsiteX29" fmla="*/ 1248032 w 2168610"/>
                <a:gd name="connsiteY29" fmla="*/ 1940973 h 2039827"/>
                <a:gd name="connsiteX30" fmla="*/ 1278924 w 2168610"/>
                <a:gd name="connsiteY30" fmla="*/ 1984222 h 2039827"/>
                <a:gd name="connsiteX31" fmla="*/ 1340708 w 2168610"/>
                <a:gd name="connsiteY31" fmla="*/ 2008935 h 2039827"/>
                <a:gd name="connsiteX32" fmla="*/ 1439562 w 2168610"/>
                <a:gd name="connsiteY32" fmla="*/ 2027470 h 2039827"/>
                <a:gd name="connsiteX33" fmla="*/ 1513702 w 2168610"/>
                <a:gd name="connsiteY33" fmla="*/ 2039827 h 2039827"/>
                <a:gd name="connsiteX34" fmla="*/ 1606378 w 2168610"/>
                <a:gd name="connsiteY34" fmla="*/ 2039827 h 2039827"/>
                <a:gd name="connsiteX35" fmla="*/ 1587843 w 2168610"/>
                <a:gd name="connsiteY35" fmla="*/ 2027470 h 2039827"/>
                <a:gd name="connsiteX36" fmla="*/ 1587843 w 2168610"/>
                <a:gd name="connsiteY36" fmla="*/ 2027470 h 2039827"/>
                <a:gd name="connsiteX37" fmla="*/ 1575486 w 2168610"/>
                <a:gd name="connsiteY37" fmla="*/ 1959508 h 2039827"/>
                <a:gd name="connsiteX38" fmla="*/ 1550773 w 2168610"/>
                <a:gd name="connsiteY38" fmla="*/ 1928616 h 2039827"/>
                <a:gd name="connsiteX39" fmla="*/ 1544594 w 2168610"/>
                <a:gd name="connsiteY39" fmla="*/ 1891546 h 2039827"/>
                <a:gd name="connsiteX40" fmla="*/ 1526059 w 2168610"/>
                <a:gd name="connsiteY40" fmla="*/ 1848297 h 2039827"/>
                <a:gd name="connsiteX41" fmla="*/ 1538416 w 2168610"/>
                <a:gd name="connsiteY41" fmla="*/ 1817405 h 2039827"/>
                <a:gd name="connsiteX42" fmla="*/ 1532237 w 2168610"/>
                <a:gd name="connsiteY42" fmla="*/ 1798870 h 2039827"/>
                <a:gd name="connsiteX43" fmla="*/ 1488989 w 2168610"/>
                <a:gd name="connsiteY43" fmla="*/ 1774157 h 2039827"/>
                <a:gd name="connsiteX44" fmla="*/ 1538416 w 2168610"/>
                <a:gd name="connsiteY44" fmla="*/ 1743265 h 2039827"/>
                <a:gd name="connsiteX45" fmla="*/ 1544594 w 2168610"/>
                <a:gd name="connsiteY45" fmla="*/ 1730908 h 2039827"/>
                <a:gd name="connsiteX46" fmla="*/ 1550773 w 2168610"/>
                <a:gd name="connsiteY46" fmla="*/ 1700016 h 2039827"/>
                <a:gd name="connsiteX47" fmla="*/ 1526059 w 2168610"/>
                <a:gd name="connsiteY47" fmla="*/ 1669124 h 2039827"/>
                <a:gd name="connsiteX48" fmla="*/ 1550773 w 2168610"/>
                <a:gd name="connsiteY48" fmla="*/ 1669124 h 2039827"/>
                <a:gd name="connsiteX49" fmla="*/ 1575486 w 2168610"/>
                <a:gd name="connsiteY49" fmla="*/ 1650589 h 2039827"/>
                <a:gd name="connsiteX50" fmla="*/ 1550773 w 2168610"/>
                <a:gd name="connsiteY50" fmla="*/ 1594984 h 2039827"/>
                <a:gd name="connsiteX51" fmla="*/ 1550773 w 2168610"/>
                <a:gd name="connsiteY51" fmla="*/ 1594984 h 2039827"/>
                <a:gd name="connsiteX52" fmla="*/ 1618735 w 2168610"/>
                <a:gd name="connsiteY52" fmla="*/ 1594984 h 2039827"/>
                <a:gd name="connsiteX53" fmla="*/ 1631092 w 2168610"/>
                <a:gd name="connsiteY53" fmla="*/ 1582627 h 2039827"/>
                <a:gd name="connsiteX54" fmla="*/ 1649627 w 2168610"/>
                <a:gd name="connsiteY54" fmla="*/ 1533200 h 2039827"/>
                <a:gd name="connsiteX55" fmla="*/ 1686697 w 2168610"/>
                <a:gd name="connsiteY55" fmla="*/ 1533200 h 2039827"/>
                <a:gd name="connsiteX56" fmla="*/ 1705232 w 2168610"/>
                <a:gd name="connsiteY56" fmla="*/ 1533200 h 2039827"/>
                <a:gd name="connsiteX57" fmla="*/ 1705232 w 2168610"/>
                <a:gd name="connsiteY57" fmla="*/ 1502308 h 2039827"/>
                <a:gd name="connsiteX58" fmla="*/ 1699054 w 2168610"/>
                <a:gd name="connsiteY58" fmla="*/ 1483773 h 2039827"/>
                <a:gd name="connsiteX59" fmla="*/ 1699054 w 2168610"/>
                <a:gd name="connsiteY59" fmla="*/ 1483773 h 2039827"/>
                <a:gd name="connsiteX60" fmla="*/ 1773194 w 2168610"/>
                <a:gd name="connsiteY60" fmla="*/ 1489951 h 2039827"/>
                <a:gd name="connsiteX61" fmla="*/ 1834978 w 2168610"/>
                <a:gd name="connsiteY61" fmla="*/ 1477595 h 2039827"/>
                <a:gd name="connsiteX62" fmla="*/ 1896762 w 2168610"/>
                <a:gd name="connsiteY62" fmla="*/ 1421989 h 2039827"/>
                <a:gd name="connsiteX63" fmla="*/ 1896762 w 2168610"/>
                <a:gd name="connsiteY63" fmla="*/ 1378740 h 2039827"/>
                <a:gd name="connsiteX64" fmla="*/ 1946189 w 2168610"/>
                <a:gd name="connsiteY64" fmla="*/ 1347849 h 2039827"/>
                <a:gd name="connsiteX65" fmla="*/ 1940010 w 2168610"/>
                <a:gd name="connsiteY65" fmla="*/ 1286065 h 2039827"/>
                <a:gd name="connsiteX66" fmla="*/ 1983259 w 2168610"/>
                <a:gd name="connsiteY66" fmla="*/ 1267530 h 2039827"/>
                <a:gd name="connsiteX67" fmla="*/ 2007973 w 2168610"/>
                <a:gd name="connsiteY67" fmla="*/ 1329313 h 2039827"/>
                <a:gd name="connsiteX68" fmla="*/ 2143897 w 2168610"/>
                <a:gd name="connsiteY68" fmla="*/ 1255173 h 2039827"/>
                <a:gd name="connsiteX69" fmla="*/ 2156254 w 2168610"/>
                <a:gd name="connsiteY69" fmla="*/ 1168676 h 2039827"/>
                <a:gd name="connsiteX70" fmla="*/ 2143897 w 2168610"/>
                <a:gd name="connsiteY70" fmla="*/ 1131605 h 2039827"/>
                <a:gd name="connsiteX71" fmla="*/ 2137719 w 2168610"/>
                <a:gd name="connsiteY71" fmla="*/ 1094535 h 2039827"/>
                <a:gd name="connsiteX72" fmla="*/ 2150075 w 2168610"/>
                <a:gd name="connsiteY72" fmla="*/ 1051286 h 2039827"/>
                <a:gd name="connsiteX73" fmla="*/ 2168610 w 2168610"/>
                <a:gd name="connsiteY73" fmla="*/ 1014216 h 2039827"/>
                <a:gd name="connsiteX74" fmla="*/ 2131540 w 2168610"/>
                <a:gd name="connsiteY74" fmla="*/ 903005 h 2039827"/>
                <a:gd name="connsiteX75" fmla="*/ 2100648 w 2168610"/>
                <a:gd name="connsiteY75" fmla="*/ 872113 h 2039827"/>
                <a:gd name="connsiteX76" fmla="*/ 2075935 w 2168610"/>
                <a:gd name="connsiteY76" fmla="*/ 791795 h 2039827"/>
                <a:gd name="connsiteX77" fmla="*/ 2063578 w 2168610"/>
                <a:gd name="connsiteY77" fmla="*/ 618800 h 2039827"/>
                <a:gd name="connsiteX78" fmla="*/ 2051221 w 2168610"/>
                <a:gd name="connsiteY78" fmla="*/ 519946 h 2039827"/>
                <a:gd name="connsiteX79" fmla="*/ 2032686 w 2168610"/>
                <a:gd name="connsiteY79" fmla="*/ 501411 h 2039827"/>
                <a:gd name="connsiteX80" fmla="*/ 1983259 w 2168610"/>
                <a:gd name="connsiteY80" fmla="*/ 526124 h 2039827"/>
                <a:gd name="connsiteX81" fmla="*/ 1872048 w 2168610"/>
                <a:gd name="connsiteY81" fmla="*/ 470519 h 2039827"/>
                <a:gd name="connsiteX82" fmla="*/ 1834978 w 2168610"/>
                <a:gd name="connsiteY82" fmla="*/ 470519 h 2039827"/>
                <a:gd name="connsiteX83" fmla="*/ 1767016 w 2168610"/>
                <a:gd name="connsiteY83" fmla="*/ 464340 h 2039827"/>
                <a:gd name="connsiteX84" fmla="*/ 1692875 w 2168610"/>
                <a:gd name="connsiteY84" fmla="*/ 519946 h 2039827"/>
                <a:gd name="connsiteX85" fmla="*/ 1631092 w 2168610"/>
                <a:gd name="connsiteY85" fmla="*/ 489054 h 2039827"/>
                <a:gd name="connsiteX86" fmla="*/ 1594021 w 2168610"/>
                <a:gd name="connsiteY86" fmla="*/ 501411 h 2039827"/>
                <a:gd name="connsiteX87" fmla="*/ 1594083 w 2168610"/>
                <a:gd name="connsiteY87" fmla="*/ 489288 h 2039827"/>
                <a:gd name="connsiteX88" fmla="*/ 1519881 w 2168610"/>
                <a:gd name="connsiteY88" fmla="*/ 495232 h 2039827"/>
                <a:gd name="connsiteX89" fmla="*/ 1488989 w 2168610"/>
                <a:gd name="connsiteY89" fmla="*/ 470519 h 2039827"/>
                <a:gd name="connsiteX90" fmla="*/ 1439562 w 2168610"/>
                <a:gd name="connsiteY90" fmla="*/ 489054 h 2039827"/>
                <a:gd name="connsiteX91" fmla="*/ 1362643 w 2168610"/>
                <a:gd name="connsiteY91" fmla="*/ 433707 h 2039827"/>
                <a:gd name="connsiteX92" fmla="*/ 1291281 w 2168610"/>
                <a:gd name="connsiteY92" fmla="*/ 451984 h 2039827"/>
                <a:gd name="connsiteX93" fmla="*/ 1260389 w 2168610"/>
                <a:gd name="connsiteY93" fmla="*/ 439627 h 2039827"/>
                <a:gd name="connsiteX94" fmla="*/ 1240486 w 2168610"/>
                <a:gd name="connsiteY94" fmla="*/ 432292 h 2039827"/>
                <a:gd name="connsiteX95" fmla="*/ 1210962 w 2168610"/>
                <a:gd name="connsiteY95" fmla="*/ 396378 h 2039827"/>
                <a:gd name="connsiteX96" fmla="*/ 1144010 w 2168610"/>
                <a:gd name="connsiteY96" fmla="*/ 390478 h 2039827"/>
                <a:gd name="connsiteX97" fmla="*/ 1105929 w 2168610"/>
                <a:gd name="connsiteY97" fmla="*/ 371665 h 2039827"/>
                <a:gd name="connsiteX98" fmla="*/ 1087394 w 2168610"/>
                <a:gd name="connsiteY98" fmla="*/ 371665 h 2039827"/>
                <a:gd name="connsiteX99" fmla="*/ 1075037 w 2168610"/>
                <a:gd name="connsiteY99" fmla="*/ 359308 h 2039827"/>
                <a:gd name="connsiteX100" fmla="*/ 1062681 w 2168610"/>
                <a:gd name="connsiteY100" fmla="*/ 353130 h 2039827"/>
                <a:gd name="connsiteX101" fmla="*/ 1068450 w 2168610"/>
                <a:gd name="connsiteY101" fmla="*/ 10936 h 2039827"/>
                <a:gd name="connsiteX102" fmla="*/ 598898 w 2168610"/>
                <a:gd name="connsiteY102" fmla="*/ 0 h 2039827"/>
                <a:gd name="connsiteX0" fmla="*/ 602245 w 2171957"/>
                <a:gd name="connsiteY0" fmla="*/ 0 h 2039827"/>
                <a:gd name="connsiteX1" fmla="*/ 584114 w 2171957"/>
                <a:gd name="connsiteY1" fmla="*/ 872113 h 2039827"/>
                <a:gd name="connsiteX2" fmla="*/ 0 w 2171957"/>
                <a:gd name="connsiteY2" fmla="*/ 841299 h 2039827"/>
                <a:gd name="connsiteX3" fmla="*/ 3347 w 2171957"/>
                <a:gd name="connsiteY3" fmla="*/ 890649 h 2039827"/>
                <a:gd name="connsiteX4" fmla="*/ 52774 w 2171957"/>
                <a:gd name="connsiteY4" fmla="*/ 921540 h 2039827"/>
                <a:gd name="connsiteX5" fmla="*/ 108379 w 2171957"/>
                <a:gd name="connsiteY5" fmla="*/ 989503 h 2039827"/>
                <a:gd name="connsiteX6" fmla="*/ 157806 w 2171957"/>
                <a:gd name="connsiteY6" fmla="*/ 1063643 h 2039827"/>
                <a:gd name="connsiteX7" fmla="*/ 207233 w 2171957"/>
                <a:gd name="connsiteY7" fmla="*/ 1076000 h 2039827"/>
                <a:gd name="connsiteX8" fmla="*/ 244303 w 2171957"/>
                <a:gd name="connsiteY8" fmla="*/ 1125427 h 2039827"/>
                <a:gd name="connsiteX9" fmla="*/ 275195 w 2171957"/>
                <a:gd name="connsiteY9" fmla="*/ 1174854 h 2039827"/>
                <a:gd name="connsiteX10" fmla="*/ 299909 w 2171957"/>
                <a:gd name="connsiteY10" fmla="*/ 1230459 h 2039827"/>
                <a:gd name="connsiteX11" fmla="*/ 312266 w 2171957"/>
                <a:gd name="connsiteY11" fmla="*/ 1304600 h 2039827"/>
                <a:gd name="connsiteX12" fmla="*/ 330801 w 2171957"/>
                <a:gd name="connsiteY12" fmla="*/ 1329313 h 2039827"/>
                <a:gd name="connsiteX13" fmla="*/ 435833 w 2171957"/>
                <a:gd name="connsiteY13" fmla="*/ 1409632 h 2039827"/>
                <a:gd name="connsiteX14" fmla="*/ 442012 w 2171957"/>
                <a:gd name="connsiteY14" fmla="*/ 1384919 h 2039827"/>
                <a:gd name="connsiteX15" fmla="*/ 577936 w 2171957"/>
                <a:gd name="connsiteY15" fmla="*/ 1452881 h 2039827"/>
                <a:gd name="connsiteX16" fmla="*/ 577936 w 2171957"/>
                <a:gd name="connsiteY16" fmla="*/ 1452881 h 2039827"/>
                <a:gd name="connsiteX17" fmla="*/ 608828 w 2171957"/>
                <a:gd name="connsiteY17" fmla="*/ 1397276 h 2039827"/>
                <a:gd name="connsiteX18" fmla="*/ 664433 w 2171957"/>
                <a:gd name="connsiteY18" fmla="*/ 1329313 h 2039827"/>
                <a:gd name="connsiteX19" fmla="*/ 732395 w 2171957"/>
                <a:gd name="connsiteY19" fmla="*/ 1310778 h 2039827"/>
                <a:gd name="connsiteX20" fmla="*/ 825071 w 2171957"/>
                <a:gd name="connsiteY20" fmla="*/ 1323135 h 2039827"/>
                <a:gd name="connsiteX21" fmla="*/ 905390 w 2171957"/>
                <a:gd name="connsiteY21" fmla="*/ 1384919 h 2039827"/>
                <a:gd name="connsiteX22" fmla="*/ 960995 w 2171957"/>
                <a:gd name="connsiteY22" fmla="*/ 1465238 h 2039827"/>
                <a:gd name="connsiteX23" fmla="*/ 1016601 w 2171957"/>
                <a:gd name="connsiteY23" fmla="*/ 1545557 h 2039827"/>
                <a:gd name="connsiteX24" fmla="*/ 1066028 w 2171957"/>
                <a:gd name="connsiteY24" fmla="*/ 1632054 h 2039827"/>
                <a:gd name="connsiteX25" fmla="*/ 1121633 w 2171957"/>
                <a:gd name="connsiteY25" fmla="*/ 1700016 h 2039827"/>
                <a:gd name="connsiteX26" fmla="*/ 1171060 w 2171957"/>
                <a:gd name="connsiteY26" fmla="*/ 1737086 h 2039827"/>
                <a:gd name="connsiteX27" fmla="*/ 1201952 w 2171957"/>
                <a:gd name="connsiteY27" fmla="*/ 1817405 h 2039827"/>
                <a:gd name="connsiteX28" fmla="*/ 1226666 w 2171957"/>
                <a:gd name="connsiteY28" fmla="*/ 1879189 h 2039827"/>
                <a:gd name="connsiteX29" fmla="*/ 1251379 w 2171957"/>
                <a:gd name="connsiteY29" fmla="*/ 1940973 h 2039827"/>
                <a:gd name="connsiteX30" fmla="*/ 1282271 w 2171957"/>
                <a:gd name="connsiteY30" fmla="*/ 1984222 h 2039827"/>
                <a:gd name="connsiteX31" fmla="*/ 1344055 w 2171957"/>
                <a:gd name="connsiteY31" fmla="*/ 2008935 h 2039827"/>
                <a:gd name="connsiteX32" fmla="*/ 1442909 w 2171957"/>
                <a:gd name="connsiteY32" fmla="*/ 2027470 h 2039827"/>
                <a:gd name="connsiteX33" fmla="*/ 1517049 w 2171957"/>
                <a:gd name="connsiteY33" fmla="*/ 2039827 h 2039827"/>
                <a:gd name="connsiteX34" fmla="*/ 1609725 w 2171957"/>
                <a:gd name="connsiteY34" fmla="*/ 2039827 h 2039827"/>
                <a:gd name="connsiteX35" fmla="*/ 1591190 w 2171957"/>
                <a:gd name="connsiteY35" fmla="*/ 2027470 h 2039827"/>
                <a:gd name="connsiteX36" fmla="*/ 1591190 w 2171957"/>
                <a:gd name="connsiteY36" fmla="*/ 2027470 h 2039827"/>
                <a:gd name="connsiteX37" fmla="*/ 1578833 w 2171957"/>
                <a:gd name="connsiteY37" fmla="*/ 1959508 h 2039827"/>
                <a:gd name="connsiteX38" fmla="*/ 1554120 w 2171957"/>
                <a:gd name="connsiteY38" fmla="*/ 1928616 h 2039827"/>
                <a:gd name="connsiteX39" fmla="*/ 1547941 w 2171957"/>
                <a:gd name="connsiteY39" fmla="*/ 1891546 h 2039827"/>
                <a:gd name="connsiteX40" fmla="*/ 1529406 w 2171957"/>
                <a:gd name="connsiteY40" fmla="*/ 1848297 h 2039827"/>
                <a:gd name="connsiteX41" fmla="*/ 1541763 w 2171957"/>
                <a:gd name="connsiteY41" fmla="*/ 1817405 h 2039827"/>
                <a:gd name="connsiteX42" fmla="*/ 1535584 w 2171957"/>
                <a:gd name="connsiteY42" fmla="*/ 1798870 h 2039827"/>
                <a:gd name="connsiteX43" fmla="*/ 1492336 w 2171957"/>
                <a:gd name="connsiteY43" fmla="*/ 1774157 h 2039827"/>
                <a:gd name="connsiteX44" fmla="*/ 1541763 w 2171957"/>
                <a:gd name="connsiteY44" fmla="*/ 1743265 h 2039827"/>
                <a:gd name="connsiteX45" fmla="*/ 1547941 w 2171957"/>
                <a:gd name="connsiteY45" fmla="*/ 1730908 h 2039827"/>
                <a:gd name="connsiteX46" fmla="*/ 1554120 w 2171957"/>
                <a:gd name="connsiteY46" fmla="*/ 1700016 h 2039827"/>
                <a:gd name="connsiteX47" fmla="*/ 1529406 w 2171957"/>
                <a:gd name="connsiteY47" fmla="*/ 1669124 h 2039827"/>
                <a:gd name="connsiteX48" fmla="*/ 1554120 w 2171957"/>
                <a:gd name="connsiteY48" fmla="*/ 1669124 h 2039827"/>
                <a:gd name="connsiteX49" fmla="*/ 1578833 w 2171957"/>
                <a:gd name="connsiteY49" fmla="*/ 1650589 h 2039827"/>
                <a:gd name="connsiteX50" fmla="*/ 1554120 w 2171957"/>
                <a:gd name="connsiteY50" fmla="*/ 1594984 h 2039827"/>
                <a:gd name="connsiteX51" fmla="*/ 1554120 w 2171957"/>
                <a:gd name="connsiteY51" fmla="*/ 1594984 h 2039827"/>
                <a:gd name="connsiteX52" fmla="*/ 1622082 w 2171957"/>
                <a:gd name="connsiteY52" fmla="*/ 1594984 h 2039827"/>
                <a:gd name="connsiteX53" fmla="*/ 1634439 w 2171957"/>
                <a:gd name="connsiteY53" fmla="*/ 1582627 h 2039827"/>
                <a:gd name="connsiteX54" fmla="*/ 1652974 w 2171957"/>
                <a:gd name="connsiteY54" fmla="*/ 1533200 h 2039827"/>
                <a:gd name="connsiteX55" fmla="*/ 1690044 w 2171957"/>
                <a:gd name="connsiteY55" fmla="*/ 1533200 h 2039827"/>
                <a:gd name="connsiteX56" fmla="*/ 1708579 w 2171957"/>
                <a:gd name="connsiteY56" fmla="*/ 1533200 h 2039827"/>
                <a:gd name="connsiteX57" fmla="*/ 1708579 w 2171957"/>
                <a:gd name="connsiteY57" fmla="*/ 1502308 h 2039827"/>
                <a:gd name="connsiteX58" fmla="*/ 1702401 w 2171957"/>
                <a:gd name="connsiteY58" fmla="*/ 1483773 h 2039827"/>
                <a:gd name="connsiteX59" fmla="*/ 1702401 w 2171957"/>
                <a:gd name="connsiteY59" fmla="*/ 1483773 h 2039827"/>
                <a:gd name="connsiteX60" fmla="*/ 1776541 w 2171957"/>
                <a:gd name="connsiteY60" fmla="*/ 1489951 h 2039827"/>
                <a:gd name="connsiteX61" fmla="*/ 1838325 w 2171957"/>
                <a:gd name="connsiteY61" fmla="*/ 1477595 h 2039827"/>
                <a:gd name="connsiteX62" fmla="*/ 1900109 w 2171957"/>
                <a:gd name="connsiteY62" fmla="*/ 1421989 h 2039827"/>
                <a:gd name="connsiteX63" fmla="*/ 1900109 w 2171957"/>
                <a:gd name="connsiteY63" fmla="*/ 1378740 h 2039827"/>
                <a:gd name="connsiteX64" fmla="*/ 1949536 w 2171957"/>
                <a:gd name="connsiteY64" fmla="*/ 1347849 h 2039827"/>
                <a:gd name="connsiteX65" fmla="*/ 1943357 w 2171957"/>
                <a:gd name="connsiteY65" fmla="*/ 1286065 h 2039827"/>
                <a:gd name="connsiteX66" fmla="*/ 1986606 w 2171957"/>
                <a:gd name="connsiteY66" fmla="*/ 1267530 h 2039827"/>
                <a:gd name="connsiteX67" fmla="*/ 2011320 w 2171957"/>
                <a:gd name="connsiteY67" fmla="*/ 1329313 h 2039827"/>
                <a:gd name="connsiteX68" fmla="*/ 2147244 w 2171957"/>
                <a:gd name="connsiteY68" fmla="*/ 1255173 h 2039827"/>
                <a:gd name="connsiteX69" fmla="*/ 2159601 w 2171957"/>
                <a:gd name="connsiteY69" fmla="*/ 1168676 h 2039827"/>
                <a:gd name="connsiteX70" fmla="*/ 2147244 w 2171957"/>
                <a:gd name="connsiteY70" fmla="*/ 1131605 h 2039827"/>
                <a:gd name="connsiteX71" fmla="*/ 2141066 w 2171957"/>
                <a:gd name="connsiteY71" fmla="*/ 1094535 h 2039827"/>
                <a:gd name="connsiteX72" fmla="*/ 2153422 w 2171957"/>
                <a:gd name="connsiteY72" fmla="*/ 1051286 h 2039827"/>
                <a:gd name="connsiteX73" fmla="*/ 2171957 w 2171957"/>
                <a:gd name="connsiteY73" fmla="*/ 1014216 h 2039827"/>
                <a:gd name="connsiteX74" fmla="*/ 2134887 w 2171957"/>
                <a:gd name="connsiteY74" fmla="*/ 903005 h 2039827"/>
                <a:gd name="connsiteX75" fmla="*/ 2103995 w 2171957"/>
                <a:gd name="connsiteY75" fmla="*/ 872113 h 2039827"/>
                <a:gd name="connsiteX76" fmla="*/ 2079282 w 2171957"/>
                <a:gd name="connsiteY76" fmla="*/ 791795 h 2039827"/>
                <a:gd name="connsiteX77" fmla="*/ 2066925 w 2171957"/>
                <a:gd name="connsiteY77" fmla="*/ 618800 h 2039827"/>
                <a:gd name="connsiteX78" fmla="*/ 2054568 w 2171957"/>
                <a:gd name="connsiteY78" fmla="*/ 519946 h 2039827"/>
                <a:gd name="connsiteX79" fmla="*/ 2036033 w 2171957"/>
                <a:gd name="connsiteY79" fmla="*/ 501411 h 2039827"/>
                <a:gd name="connsiteX80" fmla="*/ 1986606 w 2171957"/>
                <a:gd name="connsiteY80" fmla="*/ 526124 h 2039827"/>
                <a:gd name="connsiteX81" fmla="*/ 1875395 w 2171957"/>
                <a:gd name="connsiteY81" fmla="*/ 470519 h 2039827"/>
                <a:gd name="connsiteX82" fmla="*/ 1838325 w 2171957"/>
                <a:gd name="connsiteY82" fmla="*/ 470519 h 2039827"/>
                <a:gd name="connsiteX83" fmla="*/ 1770363 w 2171957"/>
                <a:gd name="connsiteY83" fmla="*/ 464340 h 2039827"/>
                <a:gd name="connsiteX84" fmla="*/ 1696222 w 2171957"/>
                <a:gd name="connsiteY84" fmla="*/ 519946 h 2039827"/>
                <a:gd name="connsiteX85" fmla="*/ 1634439 w 2171957"/>
                <a:gd name="connsiteY85" fmla="*/ 489054 h 2039827"/>
                <a:gd name="connsiteX86" fmla="*/ 1597368 w 2171957"/>
                <a:gd name="connsiteY86" fmla="*/ 501411 h 2039827"/>
                <a:gd name="connsiteX87" fmla="*/ 1597430 w 2171957"/>
                <a:gd name="connsiteY87" fmla="*/ 489288 h 2039827"/>
                <a:gd name="connsiteX88" fmla="*/ 1523228 w 2171957"/>
                <a:gd name="connsiteY88" fmla="*/ 495232 h 2039827"/>
                <a:gd name="connsiteX89" fmla="*/ 1492336 w 2171957"/>
                <a:gd name="connsiteY89" fmla="*/ 470519 h 2039827"/>
                <a:gd name="connsiteX90" fmla="*/ 1442909 w 2171957"/>
                <a:gd name="connsiteY90" fmla="*/ 489054 h 2039827"/>
                <a:gd name="connsiteX91" fmla="*/ 1365990 w 2171957"/>
                <a:gd name="connsiteY91" fmla="*/ 433707 h 2039827"/>
                <a:gd name="connsiteX92" fmla="*/ 1294628 w 2171957"/>
                <a:gd name="connsiteY92" fmla="*/ 451984 h 2039827"/>
                <a:gd name="connsiteX93" fmla="*/ 1263736 w 2171957"/>
                <a:gd name="connsiteY93" fmla="*/ 439627 h 2039827"/>
                <a:gd name="connsiteX94" fmla="*/ 1243833 w 2171957"/>
                <a:gd name="connsiteY94" fmla="*/ 432292 h 2039827"/>
                <a:gd name="connsiteX95" fmla="*/ 1214309 w 2171957"/>
                <a:gd name="connsiteY95" fmla="*/ 396378 h 2039827"/>
                <a:gd name="connsiteX96" fmla="*/ 1147357 w 2171957"/>
                <a:gd name="connsiteY96" fmla="*/ 390478 h 2039827"/>
                <a:gd name="connsiteX97" fmla="*/ 1109276 w 2171957"/>
                <a:gd name="connsiteY97" fmla="*/ 371665 h 2039827"/>
                <a:gd name="connsiteX98" fmla="*/ 1090741 w 2171957"/>
                <a:gd name="connsiteY98" fmla="*/ 371665 h 2039827"/>
                <a:gd name="connsiteX99" fmla="*/ 1078384 w 2171957"/>
                <a:gd name="connsiteY99" fmla="*/ 359308 h 2039827"/>
                <a:gd name="connsiteX100" fmla="*/ 1066028 w 2171957"/>
                <a:gd name="connsiteY100" fmla="*/ 353130 h 2039827"/>
                <a:gd name="connsiteX101" fmla="*/ 1071797 w 2171957"/>
                <a:gd name="connsiteY101" fmla="*/ 10936 h 2039827"/>
                <a:gd name="connsiteX102" fmla="*/ 602245 w 2171957"/>
                <a:gd name="connsiteY102" fmla="*/ 0 h 2039827"/>
                <a:gd name="connsiteX0" fmla="*/ 608423 w 2178135"/>
                <a:gd name="connsiteY0" fmla="*/ 0 h 2039827"/>
                <a:gd name="connsiteX1" fmla="*/ 590292 w 2178135"/>
                <a:gd name="connsiteY1" fmla="*/ 872113 h 2039827"/>
                <a:gd name="connsiteX2" fmla="*/ 6178 w 2178135"/>
                <a:gd name="connsiteY2" fmla="*/ 841299 h 2039827"/>
                <a:gd name="connsiteX3" fmla="*/ 0 w 2178135"/>
                <a:gd name="connsiteY3" fmla="*/ 880734 h 2039827"/>
                <a:gd name="connsiteX4" fmla="*/ 58952 w 2178135"/>
                <a:gd name="connsiteY4" fmla="*/ 921540 h 2039827"/>
                <a:gd name="connsiteX5" fmla="*/ 114557 w 2178135"/>
                <a:gd name="connsiteY5" fmla="*/ 989503 h 2039827"/>
                <a:gd name="connsiteX6" fmla="*/ 163984 w 2178135"/>
                <a:gd name="connsiteY6" fmla="*/ 1063643 h 2039827"/>
                <a:gd name="connsiteX7" fmla="*/ 213411 w 2178135"/>
                <a:gd name="connsiteY7" fmla="*/ 1076000 h 2039827"/>
                <a:gd name="connsiteX8" fmla="*/ 250481 w 2178135"/>
                <a:gd name="connsiteY8" fmla="*/ 1125427 h 2039827"/>
                <a:gd name="connsiteX9" fmla="*/ 281373 w 2178135"/>
                <a:gd name="connsiteY9" fmla="*/ 1174854 h 2039827"/>
                <a:gd name="connsiteX10" fmla="*/ 306087 w 2178135"/>
                <a:gd name="connsiteY10" fmla="*/ 1230459 h 2039827"/>
                <a:gd name="connsiteX11" fmla="*/ 318444 w 2178135"/>
                <a:gd name="connsiteY11" fmla="*/ 1304600 h 2039827"/>
                <a:gd name="connsiteX12" fmla="*/ 336979 w 2178135"/>
                <a:gd name="connsiteY12" fmla="*/ 1329313 h 2039827"/>
                <a:gd name="connsiteX13" fmla="*/ 442011 w 2178135"/>
                <a:gd name="connsiteY13" fmla="*/ 1409632 h 2039827"/>
                <a:gd name="connsiteX14" fmla="*/ 448190 w 2178135"/>
                <a:gd name="connsiteY14" fmla="*/ 1384919 h 2039827"/>
                <a:gd name="connsiteX15" fmla="*/ 584114 w 2178135"/>
                <a:gd name="connsiteY15" fmla="*/ 1452881 h 2039827"/>
                <a:gd name="connsiteX16" fmla="*/ 584114 w 2178135"/>
                <a:gd name="connsiteY16" fmla="*/ 1452881 h 2039827"/>
                <a:gd name="connsiteX17" fmla="*/ 615006 w 2178135"/>
                <a:gd name="connsiteY17" fmla="*/ 1397276 h 2039827"/>
                <a:gd name="connsiteX18" fmla="*/ 670611 w 2178135"/>
                <a:gd name="connsiteY18" fmla="*/ 1329313 h 2039827"/>
                <a:gd name="connsiteX19" fmla="*/ 738573 w 2178135"/>
                <a:gd name="connsiteY19" fmla="*/ 1310778 h 2039827"/>
                <a:gd name="connsiteX20" fmla="*/ 831249 w 2178135"/>
                <a:gd name="connsiteY20" fmla="*/ 1323135 h 2039827"/>
                <a:gd name="connsiteX21" fmla="*/ 911568 w 2178135"/>
                <a:gd name="connsiteY21" fmla="*/ 1384919 h 2039827"/>
                <a:gd name="connsiteX22" fmla="*/ 967173 w 2178135"/>
                <a:gd name="connsiteY22" fmla="*/ 1465238 h 2039827"/>
                <a:gd name="connsiteX23" fmla="*/ 1022779 w 2178135"/>
                <a:gd name="connsiteY23" fmla="*/ 1545557 h 2039827"/>
                <a:gd name="connsiteX24" fmla="*/ 1072206 w 2178135"/>
                <a:gd name="connsiteY24" fmla="*/ 1632054 h 2039827"/>
                <a:gd name="connsiteX25" fmla="*/ 1127811 w 2178135"/>
                <a:gd name="connsiteY25" fmla="*/ 1700016 h 2039827"/>
                <a:gd name="connsiteX26" fmla="*/ 1177238 w 2178135"/>
                <a:gd name="connsiteY26" fmla="*/ 1737086 h 2039827"/>
                <a:gd name="connsiteX27" fmla="*/ 1208130 w 2178135"/>
                <a:gd name="connsiteY27" fmla="*/ 1817405 h 2039827"/>
                <a:gd name="connsiteX28" fmla="*/ 1232844 w 2178135"/>
                <a:gd name="connsiteY28" fmla="*/ 1879189 h 2039827"/>
                <a:gd name="connsiteX29" fmla="*/ 1257557 w 2178135"/>
                <a:gd name="connsiteY29" fmla="*/ 1940973 h 2039827"/>
                <a:gd name="connsiteX30" fmla="*/ 1288449 w 2178135"/>
                <a:gd name="connsiteY30" fmla="*/ 1984222 h 2039827"/>
                <a:gd name="connsiteX31" fmla="*/ 1350233 w 2178135"/>
                <a:gd name="connsiteY31" fmla="*/ 2008935 h 2039827"/>
                <a:gd name="connsiteX32" fmla="*/ 1449087 w 2178135"/>
                <a:gd name="connsiteY32" fmla="*/ 2027470 h 2039827"/>
                <a:gd name="connsiteX33" fmla="*/ 1523227 w 2178135"/>
                <a:gd name="connsiteY33" fmla="*/ 2039827 h 2039827"/>
                <a:gd name="connsiteX34" fmla="*/ 1615903 w 2178135"/>
                <a:gd name="connsiteY34" fmla="*/ 2039827 h 2039827"/>
                <a:gd name="connsiteX35" fmla="*/ 1597368 w 2178135"/>
                <a:gd name="connsiteY35" fmla="*/ 2027470 h 2039827"/>
                <a:gd name="connsiteX36" fmla="*/ 1597368 w 2178135"/>
                <a:gd name="connsiteY36" fmla="*/ 2027470 h 2039827"/>
                <a:gd name="connsiteX37" fmla="*/ 1585011 w 2178135"/>
                <a:gd name="connsiteY37" fmla="*/ 1959508 h 2039827"/>
                <a:gd name="connsiteX38" fmla="*/ 1560298 w 2178135"/>
                <a:gd name="connsiteY38" fmla="*/ 1928616 h 2039827"/>
                <a:gd name="connsiteX39" fmla="*/ 1554119 w 2178135"/>
                <a:gd name="connsiteY39" fmla="*/ 1891546 h 2039827"/>
                <a:gd name="connsiteX40" fmla="*/ 1535584 w 2178135"/>
                <a:gd name="connsiteY40" fmla="*/ 1848297 h 2039827"/>
                <a:gd name="connsiteX41" fmla="*/ 1547941 w 2178135"/>
                <a:gd name="connsiteY41" fmla="*/ 1817405 h 2039827"/>
                <a:gd name="connsiteX42" fmla="*/ 1541762 w 2178135"/>
                <a:gd name="connsiteY42" fmla="*/ 1798870 h 2039827"/>
                <a:gd name="connsiteX43" fmla="*/ 1498514 w 2178135"/>
                <a:gd name="connsiteY43" fmla="*/ 1774157 h 2039827"/>
                <a:gd name="connsiteX44" fmla="*/ 1547941 w 2178135"/>
                <a:gd name="connsiteY44" fmla="*/ 1743265 h 2039827"/>
                <a:gd name="connsiteX45" fmla="*/ 1554119 w 2178135"/>
                <a:gd name="connsiteY45" fmla="*/ 1730908 h 2039827"/>
                <a:gd name="connsiteX46" fmla="*/ 1560298 w 2178135"/>
                <a:gd name="connsiteY46" fmla="*/ 1700016 h 2039827"/>
                <a:gd name="connsiteX47" fmla="*/ 1535584 w 2178135"/>
                <a:gd name="connsiteY47" fmla="*/ 1669124 h 2039827"/>
                <a:gd name="connsiteX48" fmla="*/ 1560298 w 2178135"/>
                <a:gd name="connsiteY48" fmla="*/ 1669124 h 2039827"/>
                <a:gd name="connsiteX49" fmla="*/ 1585011 w 2178135"/>
                <a:gd name="connsiteY49" fmla="*/ 1650589 h 2039827"/>
                <a:gd name="connsiteX50" fmla="*/ 1560298 w 2178135"/>
                <a:gd name="connsiteY50" fmla="*/ 1594984 h 2039827"/>
                <a:gd name="connsiteX51" fmla="*/ 1560298 w 2178135"/>
                <a:gd name="connsiteY51" fmla="*/ 1594984 h 2039827"/>
                <a:gd name="connsiteX52" fmla="*/ 1628260 w 2178135"/>
                <a:gd name="connsiteY52" fmla="*/ 1594984 h 2039827"/>
                <a:gd name="connsiteX53" fmla="*/ 1640617 w 2178135"/>
                <a:gd name="connsiteY53" fmla="*/ 1582627 h 2039827"/>
                <a:gd name="connsiteX54" fmla="*/ 1659152 w 2178135"/>
                <a:gd name="connsiteY54" fmla="*/ 1533200 h 2039827"/>
                <a:gd name="connsiteX55" fmla="*/ 1696222 w 2178135"/>
                <a:gd name="connsiteY55" fmla="*/ 1533200 h 2039827"/>
                <a:gd name="connsiteX56" fmla="*/ 1714757 w 2178135"/>
                <a:gd name="connsiteY56" fmla="*/ 1533200 h 2039827"/>
                <a:gd name="connsiteX57" fmla="*/ 1714757 w 2178135"/>
                <a:gd name="connsiteY57" fmla="*/ 1502308 h 2039827"/>
                <a:gd name="connsiteX58" fmla="*/ 1708579 w 2178135"/>
                <a:gd name="connsiteY58" fmla="*/ 1483773 h 2039827"/>
                <a:gd name="connsiteX59" fmla="*/ 1708579 w 2178135"/>
                <a:gd name="connsiteY59" fmla="*/ 1483773 h 2039827"/>
                <a:gd name="connsiteX60" fmla="*/ 1782719 w 2178135"/>
                <a:gd name="connsiteY60" fmla="*/ 1489951 h 2039827"/>
                <a:gd name="connsiteX61" fmla="*/ 1844503 w 2178135"/>
                <a:gd name="connsiteY61" fmla="*/ 1477595 h 2039827"/>
                <a:gd name="connsiteX62" fmla="*/ 1906287 w 2178135"/>
                <a:gd name="connsiteY62" fmla="*/ 1421989 h 2039827"/>
                <a:gd name="connsiteX63" fmla="*/ 1906287 w 2178135"/>
                <a:gd name="connsiteY63" fmla="*/ 1378740 h 2039827"/>
                <a:gd name="connsiteX64" fmla="*/ 1955714 w 2178135"/>
                <a:gd name="connsiteY64" fmla="*/ 1347849 h 2039827"/>
                <a:gd name="connsiteX65" fmla="*/ 1949535 w 2178135"/>
                <a:gd name="connsiteY65" fmla="*/ 1286065 h 2039827"/>
                <a:gd name="connsiteX66" fmla="*/ 1992784 w 2178135"/>
                <a:gd name="connsiteY66" fmla="*/ 1267530 h 2039827"/>
                <a:gd name="connsiteX67" fmla="*/ 2017498 w 2178135"/>
                <a:gd name="connsiteY67" fmla="*/ 1329313 h 2039827"/>
                <a:gd name="connsiteX68" fmla="*/ 2153422 w 2178135"/>
                <a:gd name="connsiteY68" fmla="*/ 1255173 h 2039827"/>
                <a:gd name="connsiteX69" fmla="*/ 2165779 w 2178135"/>
                <a:gd name="connsiteY69" fmla="*/ 1168676 h 2039827"/>
                <a:gd name="connsiteX70" fmla="*/ 2153422 w 2178135"/>
                <a:gd name="connsiteY70" fmla="*/ 1131605 h 2039827"/>
                <a:gd name="connsiteX71" fmla="*/ 2147244 w 2178135"/>
                <a:gd name="connsiteY71" fmla="*/ 1094535 h 2039827"/>
                <a:gd name="connsiteX72" fmla="*/ 2159600 w 2178135"/>
                <a:gd name="connsiteY72" fmla="*/ 1051286 h 2039827"/>
                <a:gd name="connsiteX73" fmla="*/ 2178135 w 2178135"/>
                <a:gd name="connsiteY73" fmla="*/ 1014216 h 2039827"/>
                <a:gd name="connsiteX74" fmla="*/ 2141065 w 2178135"/>
                <a:gd name="connsiteY74" fmla="*/ 903005 h 2039827"/>
                <a:gd name="connsiteX75" fmla="*/ 2110173 w 2178135"/>
                <a:gd name="connsiteY75" fmla="*/ 872113 h 2039827"/>
                <a:gd name="connsiteX76" fmla="*/ 2085460 w 2178135"/>
                <a:gd name="connsiteY76" fmla="*/ 791795 h 2039827"/>
                <a:gd name="connsiteX77" fmla="*/ 2073103 w 2178135"/>
                <a:gd name="connsiteY77" fmla="*/ 618800 h 2039827"/>
                <a:gd name="connsiteX78" fmla="*/ 2060746 w 2178135"/>
                <a:gd name="connsiteY78" fmla="*/ 519946 h 2039827"/>
                <a:gd name="connsiteX79" fmla="*/ 2042211 w 2178135"/>
                <a:gd name="connsiteY79" fmla="*/ 501411 h 2039827"/>
                <a:gd name="connsiteX80" fmla="*/ 1992784 w 2178135"/>
                <a:gd name="connsiteY80" fmla="*/ 526124 h 2039827"/>
                <a:gd name="connsiteX81" fmla="*/ 1881573 w 2178135"/>
                <a:gd name="connsiteY81" fmla="*/ 470519 h 2039827"/>
                <a:gd name="connsiteX82" fmla="*/ 1844503 w 2178135"/>
                <a:gd name="connsiteY82" fmla="*/ 470519 h 2039827"/>
                <a:gd name="connsiteX83" fmla="*/ 1776541 w 2178135"/>
                <a:gd name="connsiteY83" fmla="*/ 464340 h 2039827"/>
                <a:gd name="connsiteX84" fmla="*/ 1702400 w 2178135"/>
                <a:gd name="connsiteY84" fmla="*/ 519946 h 2039827"/>
                <a:gd name="connsiteX85" fmla="*/ 1640617 w 2178135"/>
                <a:gd name="connsiteY85" fmla="*/ 489054 h 2039827"/>
                <a:gd name="connsiteX86" fmla="*/ 1603546 w 2178135"/>
                <a:gd name="connsiteY86" fmla="*/ 501411 h 2039827"/>
                <a:gd name="connsiteX87" fmla="*/ 1603608 w 2178135"/>
                <a:gd name="connsiteY87" fmla="*/ 489288 h 2039827"/>
                <a:gd name="connsiteX88" fmla="*/ 1529406 w 2178135"/>
                <a:gd name="connsiteY88" fmla="*/ 495232 h 2039827"/>
                <a:gd name="connsiteX89" fmla="*/ 1498514 w 2178135"/>
                <a:gd name="connsiteY89" fmla="*/ 470519 h 2039827"/>
                <a:gd name="connsiteX90" fmla="*/ 1449087 w 2178135"/>
                <a:gd name="connsiteY90" fmla="*/ 489054 h 2039827"/>
                <a:gd name="connsiteX91" fmla="*/ 1372168 w 2178135"/>
                <a:gd name="connsiteY91" fmla="*/ 433707 h 2039827"/>
                <a:gd name="connsiteX92" fmla="*/ 1300806 w 2178135"/>
                <a:gd name="connsiteY92" fmla="*/ 451984 h 2039827"/>
                <a:gd name="connsiteX93" fmla="*/ 1269914 w 2178135"/>
                <a:gd name="connsiteY93" fmla="*/ 439627 h 2039827"/>
                <a:gd name="connsiteX94" fmla="*/ 1250011 w 2178135"/>
                <a:gd name="connsiteY94" fmla="*/ 432292 h 2039827"/>
                <a:gd name="connsiteX95" fmla="*/ 1220487 w 2178135"/>
                <a:gd name="connsiteY95" fmla="*/ 396378 h 2039827"/>
                <a:gd name="connsiteX96" fmla="*/ 1153535 w 2178135"/>
                <a:gd name="connsiteY96" fmla="*/ 390478 h 2039827"/>
                <a:gd name="connsiteX97" fmla="*/ 1115454 w 2178135"/>
                <a:gd name="connsiteY97" fmla="*/ 371665 h 2039827"/>
                <a:gd name="connsiteX98" fmla="*/ 1096919 w 2178135"/>
                <a:gd name="connsiteY98" fmla="*/ 371665 h 2039827"/>
                <a:gd name="connsiteX99" fmla="*/ 1084562 w 2178135"/>
                <a:gd name="connsiteY99" fmla="*/ 359308 h 2039827"/>
                <a:gd name="connsiteX100" fmla="*/ 1072206 w 2178135"/>
                <a:gd name="connsiteY100" fmla="*/ 353130 h 2039827"/>
                <a:gd name="connsiteX101" fmla="*/ 1077975 w 2178135"/>
                <a:gd name="connsiteY101" fmla="*/ 10936 h 2039827"/>
                <a:gd name="connsiteX102" fmla="*/ 608423 w 2178135"/>
                <a:gd name="connsiteY102" fmla="*/ 0 h 2039827"/>
                <a:gd name="connsiteX0" fmla="*/ 608423 w 2178135"/>
                <a:gd name="connsiteY0" fmla="*/ 0 h 2039827"/>
                <a:gd name="connsiteX1" fmla="*/ 590292 w 2178135"/>
                <a:gd name="connsiteY1" fmla="*/ 872113 h 2039827"/>
                <a:gd name="connsiteX2" fmla="*/ 6178 w 2178135"/>
                <a:gd name="connsiteY2" fmla="*/ 841299 h 2039827"/>
                <a:gd name="connsiteX3" fmla="*/ 0 w 2178135"/>
                <a:gd name="connsiteY3" fmla="*/ 880734 h 2039827"/>
                <a:gd name="connsiteX4" fmla="*/ 58952 w 2178135"/>
                <a:gd name="connsiteY4" fmla="*/ 921540 h 2039827"/>
                <a:gd name="connsiteX5" fmla="*/ 114557 w 2178135"/>
                <a:gd name="connsiteY5" fmla="*/ 989503 h 2039827"/>
                <a:gd name="connsiteX6" fmla="*/ 163984 w 2178135"/>
                <a:gd name="connsiteY6" fmla="*/ 1063643 h 2039827"/>
                <a:gd name="connsiteX7" fmla="*/ 213411 w 2178135"/>
                <a:gd name="connsiteY7" fmla="*/ 1076000 h 2039827"/>
                <a:gd name="connsiteX8" fmla="*/ 250481 w 2178135"/>
                <a:gd name="connsiteY8" fmla="*/ 1125427 h 2039827"/>
                <a:gd name="connsiteX9" fmla="*/ 281373 w 2178135"/>
                <a:gd name="connsiteY9" fmla="*/ 1174854 h 2039827"/>
                <a:gd name="connsiteX10" fmla="*/ 306087 w 2178135"/>
                <a:gd name="connsiteY10" fmla="*/ 1230459 h 2039827"/>
                <a:gd name="connsiteX11" fmla="*/ 318444 w 2178135"/>
                <a:gd name="connsiteY11" fmla="*/ 1304600 h 2039827"/>
                <a:gd name="connsiteX12" fmla="*/ 336979 w 2178135"/>
                <a:gd name="connsiteY12" fmla="*/ 1329313 h 2039827"/>
                <a:gd name="connsiteX13" fmla="*/ 442011 w 2178135"/>
                <a:gd name="connsiteY13" fmla="*/ 1409632 h 2039827"/>
                <a:gd name="connsiteX14" fmla="*/ 448190 w 2178135"/>
                <a:gd name="connsiteY14" fmla="*/ 1384919 h 2039827"/>
                <a:gd name="connsiteX15" fmla="*/ 584114 w 2178135"/>
                <a:gd name="connsiteY15" fmla="*/ 1452881 h 2039827"/>
                <a:gd name="connsiteX16" fmla="*/ 584114 w 2178135"/>
                <a:gd name="connsiteY16" fmla="*/ 1452881 h 2039827"/>
                <a:gd name="connsiteX17" fmla="*/ 615006 w 2178135"/>
                <a:gd name="connsiteY17" fmla="*/ 1397276 h 2039827"/>
                <a:gd name="connsiteX18" fmla="*/ 670611 w 2178135"/>
                <a:gd name="connsiteY18" fmla="*/ 1329313 h 2039827"/>
                <a:gd name="connsiteX19" fmla="*/ 738573 w 2178135"/>
                <a:gd name="connsiteY19" fmla="*/ 1310778 h 2039827"/>
                <a:gd name="connsiteX20" fmla="*/ 831249 w 2178135"/>
                <a:gd name="connsiteY20" fmla="*/ 1323135 h 2039827"/>
                <a:gd name="connsiteX21" fmla="*/ 911568 w 2178135"/>
                <a:gd name="connsiteY21" fmla="*/ 1384919 h 2039827"/>
                <a:gd name="connsiteX22" fmla="*/ 967173 w 2178135"/>
                <a:gd name="connsiteY22" fmla="*/ 1465238 h 2039827"/>
                <a:gd name="connsiteX23" fmla="*/ 1022779 w 2178135"/>
                <a:gd name="connsiteY23" fmla="*/ 1545557 h 2039827"/>
                <a:gd name="connsiteX24" fmla="*/ 1072206 w 2178135"/>
                <a:gd name="connsiteY24" fmla="*/ 1632054 h 2039827"/>
                <a:gd name="connsiteX25" fmla="*/ 1127811 w 2178135"/>
                <a:gd name="connsiteY25" fmla="*/ 1700016 h 2039827"/>
                <a:gd name="connsiteX26" fmla="*/ 1177238 w 2178135"/>
                <a:gd name="connsiteY26" fmla="*/ 1737086 h 2039827"/>
                <a:gd name="connsiteX27" fmla="*/ 1208130 w 2178135"/>
                <a:gd name="connsiteY27" fmla="*/ 1817405 h 2039827"/>
                <a:gd name="connsiteX28" fmla="*/ 1232844 w 2178135"/>
                <a:gd name="connsiteY28" fmla="*/ 1879189 h 2039827"/>
                <a:gd name="connsiteX29" fmla="*/ 1257557 w 2178135"/>
                <a:gd name="connsiteY29" fmla="*/ 1940973 h 2039827"/>
                <a:gd name="connsiteX30" fmla="*/ 1288449 w 2178135"/>
                <a:gd name="connsiteY30" fmla="*/ 1984222 h 2039827"/>
                <a:gd name="connsiteX31" fmla="*/ 1350233 w 2178135"/>
                <a:gd name="connsiteY31" fmla="*/ 2008935 h 2039827"/>
                <a:gd name="connsiteX32" fmla="*/ 1449087 w 2178135"/>
                <a:gd name="connsiteY32" fmla="*/ 2027470 h 2039827"/>
                <a:gd name="connsiteX33" fmla="*/ 1523227 w 2178135"/>
                <a:gd name="connsiteY33" fmla="*/ 2039827 h 2039827"/>
                <a:gd name="connsiteX34" fmla="*/ 1615903 w 2178135"/>
                <a:gd name="connsiteY34" fmla="*/ 2039827 h 2039827"/>
                <a:gd name="connsiteX35" fmla="*/ 1597368 w 2178135"/>
                <a:gd name="connsiteY35" fmla="*/ 2027470 h 2039827"/>
                <a:gd name="connsiteX36" fmla="*/ 1597368 w 2178135"/>
                <a:gd name="connsiteY36" fmla="*/ 2027470 h 2039827"/>
                <a:gd name="connsiteX37" fmla="*/ 1585011 w 2178135"/>
                <a:gd name="connsiteY37" fmla="*/ 1959508 h 2039827"/>
                <a:gd name="connsiteX38" fmla="*/ 1560298 w 2178135"/>
                <a:gd name="connsiteY38" fmla="*/ 1928616 h 2039827"/>
                <a:gd name="connsiteX39" fmla="*/ 1554119 w 2178135"/>
                <a:gd name="connsiteY39" fmla="*/ 1891546 h 2039827"/>
                <a:gd name="connsiteX40" fmla="*/ 1535584 w 2178135"/>
                <a:gd name="connsiteY40" fmla="*/ 1848297 h 2039827"/>
                <a:gd name="connsiteX41" fmla="*/ 1547941 w 2178135"/>
                <a:gd name="connsiteY41" fmla="*/ 1817405 h 2039827"/>
                <a:gd name="connsiteX42" fmla="*/ 1541762 w 2178135"/>
                <a:gd name="connsiteY42" fmla="*/ 1798870 h 2039827"/>
                <a:gd name="connsiteX43" fmla="*/ 1498514 w 2178135"/>
                <a:gd name="connsiteY43" fmla="*/ 1774157 h 2039827"/>
                <a:gd name="connsiteX44" fmla="*/ 1547941 w 2178135"/>
                <a:gd name="connsiteY44" fmla="*/ 1743265 h 2039827"/>
                <a:gd name="connsiteX45" fmla="*/ 1554119 w 2178135"/>
                <a:gd name="connsiteY45" fmla="*/ 1730908 h 2039827"/>
                <a:gd name="connsiteX46" fmla="*/ 1560298 w 2178135"/>
                <a:gd name="connsiteY46" fmla="*/ 1700016 h 2039827"/>
                <a:gd name="connsiteX47" fmla="*/ 1535584 w 2178135"/>
                <a:gd name="connsiteY47" fmla="*/ 1669124 h 2039827"/>
                <a:gd name="connsiteX48" fmla="*/ 1560298 w 2178135"/>
                <a:gd name="connsiteY48" fmla="*/ 1669124 h 2039827"/>
                <a:gd name="connsiteX49" fmla="*/ 1585011 w 2178135"/>
                <a:gd name="connsiteY49" fmla="*/ 1650589 h 2039827"/>
                <a:gd name="connsiteX50" fmla="*/ 1560298 w 2178135"/>
                <a:gd name="connsiteY50" fmla="*/ 1594984 h 2039827"/>
                <a:gd name="connsiteX51" fmla="*/ 1560298 w 2178135"/>
                <a:gd name="connsiteY51" fmla="*/ 1594984 h 2039827"/>
                <a:gd name="connsiteX52" fmla="*/ 1628260 w 2178135"/>
                <a:gd name="connsiteY52" fmla="*/ 1594984 h 2039827"/>
                <a:gd name="connsiteX53" fmla="*/ 1640617 w 2178135"/>
                <a:gd name="connsiteY53" fmla="*/ 1582627 h 2039827"/>
                <a:gd name="connsiteX54" fmla="*/ 1659152 w 2178135"/>
                <a:gd name="connsiteY54" fmla="*/ 1533200 h 2039827"/>
                <a:gd name="connsiteX55" fmla="*/ 1696222 w 2178135"/>
                <a:gd name="connsiteY55" fmla="*/ 1533200 h 2039827"/>
                <a:gd name="connsiteX56" fmla="*/ 1714757 w 2178135"/>
                <a:gd name="connsiteY56" fmla="*/ 1533200 h 2039827"/>
                <a:gd name="connsiteX57" fmla="*/ 1714757 w 2178135"/>
                <a:gd name="connsiteY57" fmla="*/ 1502308 h 2039827"/>
                <a:gd name="connsiteX58" fmla="*/ 1708579 w 2178135"/>
                <a:gd name="connsiteY58" fmla="*/ 1483773 h 2039827"/>
                <a:gd name="connsiteX59" fmla="*/ 1708579 w 2178135"/>
                <a:gd name="connsiteY59" fmla="*/ 1483773 h 2039827"/>
                <a:gd name="connsiteX60" fmla="*/ 1782719 w 2178135"/>
                <a:gd name="connsiteY60" fmla="*/ 1489951 h 2039827"/>
                <a:gd name="connsiteX61" fmla="*/ 1844503 w 2178135"/>
                <a:gd name="connsiteY61" fmla="*/ 1477595 h 2039827"/>
                <a:gd name="connsiteX62" fmla="*/ 1906287 w 2178135"/>
                <a:gd name="connsiteY62" fmla="*/ 1421989 h 2039827"/>
                <a:gd name="connsiteX63" fmla="*/ 1906287 w 2178135"/>
                <a:gd name="connsiteY63" fmla="*/ 1378740 h 2039827"/>
                <a:gd name="connsiteX64" fmla="*/ 1955714 w 2178135"/>
                <a:gd name="connsiteY64" fmla="*/ 1347849 h 2039827"/>
                <a:gd name="connsiteX65" fmla="*/ 1949535 w 2178135"/>
                <a:gd name="connsiteY65" fmla="*/ 1286065 h 2039827"/>
                <a:gd name="connsiteX66" fmla="*/ 1992784 w 2178135"/>
                <a:gd name="connsiteY66" fmla="*/ 1267530 h 2039827"/>
                <a:gd name="connsiteX67" fmla="*/ 2017498 w 2178135"/>
                <a:gd name="connsiteY67" fmla="*/ 1329313 h 2039827"/>
                <a:gd name="connsiteX68" fmla="*/ 2153422 w 2178135"/>
                <a:gd name="connsiteY68" fmla="*/ 1255173 h 2039827"/>
                <a:gd name="connsiteX69" fmla="*/ 2165779 w 2178135"/>
                <a:gd name="connsiteY69" fmla="*/ 1168676 h 2039827"/>
                <a:gd name="connsiteX70" fmla="*/ 2153422 w 2178135"/>
                <a:gd name="connsiteY70" fmla="*/ 1131605 h 2039827"/>
                <a:gd name="connsiteX71" fmla="*/ 2147244 w 2178135"/>
                <a:gd name="connsiteY71" fmla="*/ 1094535 h 2039827"/>
                <a:gd name="connsiteX72" fmla="*/ 2159600 w 2178135"/>
                <a:gd name="connsiteY72" fmla="*/ 1051286 h 2039827"/>
                <a:gd name="connsiteX73" fmla="*/ 2178135 w 2178135"/>
                <a:gd name="connsiteY73" fmla="*/ 1014216 h 2039827"/>
                <a:gd name="connsiteX74" fmla="*/ 2141065 w 2178135"/>
                <a:gd name="connsiteY74" fmla="*/ 903005 h 2039827"/>
                <a:gd name="connsiteX75" fmla="*/ 2110173 w 2178135"/>
                <a:gd name="connsiteY75" fmla="*/ 872113 h 2039827"/>
                <a:gd name="connsiteX76" fmla="*/ 2085460 w 2178135"/>
                <a:gd name="connsiteY76" fmla="*/ 791795 h 2039827"/>
                <a:gd name="connsiteX77" fmla="*/ 2073103 w 2178135"/>
                <a:gd name="connsiteY77" fmla="*/ 618800 h 2039827"/>
                <a:gd name="connsiteX78" fmla="*/ 2060746 w 2178135"/>
                <a:gd name="connsiteY78" fmla="*/ 519946 h 2039827"/>
                <a:gd name="connsiteX79" fmla="*/ 2042211 w 2178135"/>
                <a:gd name="connsiteY79" fmla="*/ 501411 h 2039827"/>
                <a:gd name="connsiteX80" fmla="*/ 1992784 w 2178135"/>
                <a:gd name="connsiteY80" fmla="*/ 526124 h 2039827"/>
                <a:gd name="connsiteX81" fmla="*/ 1881573 w 2178135"/>
                <a:gd name="connsiteY81" fmla="*/ 470519 h 2039827"/>
                <a:gd name="connsiteX82" fmla="*/ 1844503 w 2178135"/>
                <a:gd name="connsiteY82" fmla="*/ 470519 h 2039827"/>
                <a:gd name="connsiteX83" fmla="*/ 1776541 w 2178135"/>
                <a:gd name="connsiteY83" fmla="*/ 464340 h 2039827"/>
                <a:gd name="connsiteX84" fmla="*/ 1702400 w 2178135"/>
                <a:gd name="connsiteY84" fmla="*/ 519946 h 2039827"/>
                <a:gd name="connsiteX85" fmla="*/ 1640617 w 2178135"/>
                <a:gd name="connsiteY85" fmla="*/ 489054 h 2039827"/>
                <a:gd name="connsiteX86" fmla="*/ 1603546 w 2178135"/>
                <a:gd name="connsiteY86" fmla="*/ 501411 h 2039827"/>
                <a:gd name="connsiteX87" fmla="*/ 1603608 w 2178135"/>
                <a:gd name="connsiteY87" fmla="*/ 489288 h 2039827"/>
                <a:gd name="connsiteX88" fmla="*/ 1529406 w 2178135"/>
                <a:gd name="connsiteY88" fmla="*/ 495232 h 2039827"/>
                <a:gd name="connsiteX89" fmla="*/ 1498514 w 2178135"/>
                <a:gd name="connsiteY89" fmla="*/ 470519 h 2039827"/>
                <a:gd name="connsiteX90" fmla="*/ 1451525 w 2178135"/>
                <a:gd name="connsiteY90" fmla="*/ 481697 h 2039827"/>
                <a:gd name="connsiteX91" fmla="*/ 1372168 w 2178135"/>
                <a:gd name="connsiteY91" fmla="*/ 433707 h 2039827"/>
                <a:gd name="connsiteX92" fmla="*/ 1300806 w 2178135"/>
                <a:gd name="connsiteY92" fmla="*/ 451984 h 2039827"/>
                <a:gd name="connsiteX93" fmla="*/ 1269914 w 2178135"/>
                <a:gd name="connsiteY93" fmla="*/ 439627 h 2039827"/>
                <a:gd name="connsiteX94" fmla="*/ 1250011 w 2178135"/>
                <a:gd name="connsiteY94" fmla="*/ 432292 h 2039827"/>
                <a:gd name="connsiteX95" fmla="*/ 1220487 w 2178135"/>
                <a:gd name="connsiteY95" fmla="*/ 396378 h 2039827"/>
                <a:gd name="connsiteX96" fmla="*/ 1153535 w 2178135"/>
                <a:gd name="connsiteY96" fmla="*/ 390478 h 2039827"/>
                <a:gd name="connsiteX97" fmla="*/ 1115454 w 2178135"/>
                <a:gd name="connsiteY97" fmla="*/ 371665 h 2039827"/>
                <a:gd name="connsiteX98" fmla="*/ 1096919 w 2178135"/>
                <a:gd name="connsiteY98" fmla="*/ 371665 h 2039827"/>
                <a:gd name="connsiteX99" fmla="*/ 1084562 w 2178135"/>
                <a:gd name="connsiteY99" fmla="*/ 359308 h 2039827"/>
                <a:gd name="connsiteX100" fmla="*/ 1072206 w 2178135"/>
                <a:gd name="connsiteY100" fmla="*/ 353130 h 2039827"/>
                <a:gd name="connsiteX101" fmla="*/ 1077975 w 2178135"/>
                <a:gd name="connsiteY101" fmla="*/ 10936 h 2039827"/>
                <a:gd name="connsiteX102" fmla="*/ 608423 w 2178135"/>
                <a:gd name="connsiteY102" fmla="*/ 0 h 2039827"/>
                <a:gd name="connsiteX0" fmla="*/ 608423 w 2178135"/>
                <a:gd name="connsiteY0" fmla="*/ 0 h 2039827"/>
                <a:gd name="connsiteX1" fmla="*/ 590292 w 2178135"/>
                <a:gd name="connsiteY1" fmla="*/ 872113 h 2039827"/>
                <a:gd name="connsiteX2" fmla="*/ 6178 w 2178135"/>
                <a:gd name="connsiteY2" fmla="*/ 841299 h 2039827"/>
                <a:gd name="connsiteX3" fmla="*/ 0 w 2178135"/>
                <a:gd name="connsiteY3" fmla="*/ 880734 h 2039827"/>
                <a:gd name="connsiteX4" fmla="*/ 58952 w 2178135"/>
                <a:gd name="connsiteY4" fmla="*/ 921540 h 2039827"/>
                <a:gd name="connsiteX5" fmla="*/ 114557 w 2178135"/>
                <a:gd name="connsiteY5" fmla="*/ 989503 h 2039827"/>
                <a:gd name="connsiteX6" fmla="*/ 163984 w 2178135"/>
                <a:gd name="connsiteY6" fmla="*/ 1063643 h 2039827"/>
                <a:gd name="connsiteX7" fmla="*/ 213411 w 2178135"/>
                <a:gd name="connsiteY7" fmla="*/ 1076000 h 2039827"/>
                <a:gd name="connsiteX8" fmla="*/ 250481 w 2178135"/>
                <a:gd name="connsiteY8" fmla="*/ 1125427 h 2039827"/>
                <a:gd name="connsiteX9" fmla="*/ 281373 w 2178135"/>
                <a:gd name="connsiteY9" fmla="*/ 1174854 h 2039827"/>
                <a:gd name="connsiteX10" fmla="*/ 306087 w 2178135"/>
                <a:gd name="connsiteY10" fmla="*/ 1230459 h 2039827"/>
                <a:gd name="connsiteX11" fmla="*/ 318444 w 2178135"/>
                <a:gd name="connsiteY11" fmla="*/ 1304600 h 2039827"/>
                <a:gd name="connsiteX12" fmla="*/ 336979 w 2178135"/>
                <a:gd name="connsiteY12" fmla="*/ 1329313 h 2039827"/>
                <a:gd name="connsiteX13" fmla="*/ 442011 w 2178135"/>
                <a:gd name="connsiteY13" fmla="*/ 1409632 h 2039827"/>
                <a:gd name="connsiteX14" fmla="*/ 448190 w 2178135"/>
                <a:gd name="connsiteY14" fmla="*/ 1384919 h 2039827"/>
                <a:gd name="connsiteX15" fmla="*/ 584114 w 2178135"/>
                <a:gd name="connsiteY15" fmla="*/ 1452881 h 2039827"/>
                <a:gd name="connsiteX16" fmla="*/ 584114 w 2178135"/>
                <a:gd name="connsiteY16" fmla="*/ 1452881 h 2039827"/>
                <a:gd name="connsiteX17" fmla="*/ 615006 w 2178135"/>
                <a:gd name="connsiteY17" fmla="*/ 1397276 h 2039827"/>
                <a:gd name="connsiteX18" fmla="*/ 670611 w 2178135"/>
                <a:gd name="connsiteY18" fmla="*/ 1329313 h 2039827"/>
                <a:gd name="connsiteX19" fmla="*/ 738573 w 2178135"/>
                <a:gd name="connsiteY19" fmla="*/ 1310778 h 2039827"/>
                <a:gd name="connsiteX20" fmla="*/ 831249 w 2178135"/>
                <a:gd name="connsiteY20" fmla="*/ 1323135 h 2039827"/>
                <a:gd name="connsiteX21" fmla="*/ 911568 w 2178135"/>
                <a:gd name="connsiteY21" fmla="*/ 1384919 h 2039827"/>
                <a:gd name="connsiteX22" fmla="*/ 967173 w 2178135"/>
                <a:gd name="connsiteY22" fmla="*/ 1465238 h 2039827"/>
                <a:gd name="connsiteX23" fmla="*/ 1022779 w 2178135"/>
                <a:gd name="connsiteY23" fmla="*/ 1545557 h 2039827"/>
                <a:gd name="connsiteX24" fmla="*/ 1072206 w 2178135"/>
                <a:gd name="connsiteY24" fmla="*/ 1632054 h 2039827"/>
                <a:gd name="connsiteX25" fmla="*/ 1127811 w 2178135"/>
                <a:gd name="connsiteY25" fmla="*/ 1700016 h 2039827"/>
                <a:gd name="connsiteX26" fmla="*/ 1177238 w 2178135"/>
                <a:gd name="connsiteY26" fmla="*/ 1737086 h 2039827"/>
                <a:gd name="connsiteX27" fmla="*/ 1208130 w 2178135"/>
                <a:gd name="connsiteY27" fmla="*/ 1817405 h 2039827"/>
                <a:gd name="connsiteX28" fmla="*/ 1232844 w 2178135"/>
                <a:gd name="connsiteY28" fmla="*/ 1879189 h 2039827"/>
                <a:gd name="connsiteX29" fmla="*/ 1257557 w 2178135"/>
                <a:gd name="connsiteY29" fmla="*/ 1940973 h 2039827"/>
                <a:gd name="connsiteX30" fmla="*/ 1288449 w 2178135"/>
                <a:gd name="connsiteY30" fmla="*/ 1984222 h 2039827"/>
                <a:gd name="connsiteX31" fmla="*/ 1350233 w 2178135"/>
                <a:gd name="connsiteY31" fmla="*/ 2008935 h 2039827"/>
                <a:gd name="connsiteX32" fmla="*/ 1449087 w 2178135"/>
                <a:gd name="connsiteY32" fmla="*/ 2027470 h 2039827"/>
                <a:gd name="connsiteX33" fmla="*/ 1523227 w 2178135"/>
                <a:gd name="connsiteY33" fmla="*/ 2039827 h 2039827"/>
                <a:gd name="connsiteX34" fmla="*/ 1615903 w 2178135"/>
                <a:gd name="connsiteY34" fmla="*/ 2039827 h 2039827"/>
                <a:gd name="connsiteX35" fmla="*/ 1597368 w 2178135"/>
                <a:gd name="connsiteY35" fmla="*/ 2027470 h 2039827"/>
                <a:gd name="connsiteX36" fmla="*/ 1597368 w 2178135"/>
                <a:gd name="connsiteY36" fmla="*/ 2027470 h 2039827"/>
                <a:gd name="connsiteX37" fmla="*/ 1585011 w 2178135"/>
                <a:gd name="connsiteY37" fmla="*/ 1959508 h 2039827"/>
                <a:gd name="connsiteX38" fmla="*/ 1560298 w 2178135"/>
                <a:gd name="connsiteY38" fmla="*/ 1928616 h 2039827"/>
                <a:gd name="connsiteX39" fmla="*/ 1554119 w 2178135"/>
                <a:gd name="connsiteY39" fmla="*/ 1891546 h 2039827"/>
                <a:gd name="connsiteX40" fmla="*/ 1535584 w 2178135"/>
                <a:gd name="connsiteY40" fmla="*/ 1848297 h 2039827"/>
                <a:gd name="connsiteX41" fmla="*/ 1547941 w 2178135"/>
                <a:gd name="connsiteY41" fmla="*/ 1817405 h 2039827"/>
                <a:gd name="connsiteX42" fmla="*/ 1541762 w 2178135"/>
                <a:gd name="connsiteY42" fmla="*/ 1798870 h 2039827"/>
                <a:gd name="connsiteX43" fmla="*/ 1498514 w 2178135"/>
                <a:gd name="connsiteY43" fmla="*/ 1774157 h 2039827"/>
                <a:gd name="connsiteX44" fmla="*/ 1547941 w 2178135"/>
                <a:gd name="connsiteY44" fmla="*/ 1743265 h 2039827"/>
                <a:gd name="connsiteX45" fmla="*/ 1554119 w 2178135"/>
                <a:gd name="connsiteY45" fmla="*/ 1730908 h 2039827"/>
                <a:gd name="connsiteX46" fmla="*/ 1560298 w 2178135"/>
                <a:gd name="connsiteY46" fmla="*/ 1700016 h 2039827"/>
                <a:gd name="connsiteX47" fmla="*/ 1535584 w 2178135"/>
                <a:gd name="connsiteY47" fmla="*/ 1669124 h 2039827"/>
                <a:gd name="connsiteX48" fmla="*/ 1560298 w 2178135"/>
                <a:gd name="connsiteY48" fmla="*/ 1669124 h 2039827"/>
                <a:gd name="connsiteX49" fmla="*/ 1585011 w 2178135"/>
                <a:gd name="connsiteY49" fmla="*/ 1650589 h 2039827"/>
                <a:gd name="connsiteX50" fmla="*/ 1560298 w 2178135"/>
                <a:gd name="connsiteY50" fmla="*/ 1594984 h 2039827"/>
                <a:gd name="connsiteX51" fmla="*/ 1560298 w 2178135"/>
                <a:gd name="connsiteY51" fmla="*/ 1594984 h 2039827"/>
                <a:gd name="connsiteX52" fmla="*/ 1628260 w 2178135"/>
                <a:gd name="connsiteY52" fmla="*/ 1594984 h 2039827"/>
                <a:gd name="connsiteX53" fmla="*/ 1640617 w 2178135"/>
                <a:gd name="connsiteY53" fmla="*/ 1582627 h 2039827"/>
                <a:gd name="connsiteX54" fmla="*/ 1659152 w 2178135"/>
                <a:gd name="connsiteY54" fmla="*/ 1533200 h 2039827"/>
                <a:gd name="connsiteX55" fmla="*/ 1696222 w 2178135"/>
                <a:gd name="connsiteY55" fmla="*/ 1533200 h 2039827"/>
                <a:gd name="connsiteX56" fmla="*/ 1714757 w 2178135"/>
                <a:gd name="connsiteY56" fmla="*/ 1533200 h 2039827"/>
                <a:gd name="connsiteX57" fmla="*/ 1714757 w 2178135"/>
                <a:gd name="connsiteY57" fmla="*/ 1502308 h 2039827"/>
                <a:gd name="connsiteX58" fmla="*/ 1708579 w 2178135"/>
                <a:gd name="connsiteY58" fmla="*/ 1483773 h 2039827"/>
                <a:gd name="connsiteX59" fmla="*/ 1708579 w 2178135"/>
                <a:gd name="connsiteY59" fmla="*/ 1483773 h 2039827"/>
                <a:gd name="connsiteX60" fmla="*/ 1782719 w 2178135"/>
                <a:gd name="connsiteY60" fmla="*/ 1489951 h 2039827"/>
                <a:gd name="connsiteX61" fmla="*/ 1844503 w 2178135"/>
                <a:gd name="connsiteY61" fmla="*/ 1477595 h 2039827"/>
                <a:gd name="connsiteX62" fmla="*/ 1906287 w 2178135"/>
                <a:gd name="connsiteY62" fmla="*/ 1421989 h 2039827"/>
                <a:gd name="connsiteX63" fmla="*/ 1906287 w 2178135"/>
                <a:gd name="connsiteY63" fmla="*/ 1378740 h 2039827"/>
                <a:gd name="connsiteX64" fmla="*/ 1955714 w 2178135"/>
                <a:gd name="connsiteY64" fmla="*/ 1347849 h 2039827"/>
                <a:gd name="connsiteX65" fmla="*/ 1949535 w 2178135"/>
                <a:gd name="connsiteY65" fmla="*/ 1286065 h 2039827"/>
                <a:gd name="connsiteX66" fmla="*/ 1992784 w 2178135"/>
                <a:gd name="connsiteY66" fmla="*/ 1267530 h 2039827"/>
                <a:gd name="connsiteX67" fmla="*/ 2017498 w 2178135"/>
                <a:gd name="connsiteY67" fmla="*/ 1329313 h 2039827"/>
                <a:gd name="connsiteX68" fmla="*/ 2153422 w 2178135"/>
                <a:gd name="connsiteY68" fmla="*/ 1255173 h 2039827"/>
                <a:gd name="connsiteX69" fmla="*/ 2165779 w 2178135"/>
                <a:gd name="connsiteY69" fmla="*/ 1168676 h 2039827"/>
                <a:gd name="connsiteX70" fmla="*/ 2153422 w 2178135"/>
                <a:gd name="connsiteY70" fmla="*/ 1131605 h 2039827"/>
                <a:gd name="connsiteX71" fmla="*/ 2147244 w 2178135"/>
                <a:gd name="connsiteY71" fmla="*/ 1094535 h 2039827"/>
                <a:gd name="connsiteX72" fmla="*/ 2159600 w 2178135"/>
                <a:gd name="connsiteY72" fmla="*/ 1051286 h 2039827"/>
                <a:gd name="connsiteX73" fmla="*/ 2178135 w 2178135"/>
                <a:gd name="connsiteY73" fmla="*/ 1014216 h 2039827"/>
                <a:gd name="connsiteX74" fmla="*/ 2141065 w 2178135"/>
                <a:gd name="connsiteY74" fmla="*/ 903005 h 2039827"/>
                <a:gd name="connsiteX75" fmla="*/ 2110173 w 2178135"/>
                <a:gd name="connsiteY75" fmla="*/ 872113 h 2039827"/>
                <a:gd name="connsiteX76" fmla="*/ 2085460 w 2178135"/>
                <a:gd name="connsiteY76" fmla="*/ 791795 h 2039827"/>
                <a:gd name="connsiteX77" fmla="*/ 2073103 w 2178135"/>
                <a:gd name="connsiteY77" fmla="*/ 618800 h 2039827"/>
                <a:gd name="connsiteX78" fmla="*/ 2060746 w 2178135"/>
                <a:gd name="connsiteY78" fmla="*/ 519946 h 2039827"/>
                <a:gd name="connsiteX79" fmla="*/ 2042211 w 2178135"/>
                <a:gd name="connsiteY79" fmla="*/ 501411 h 2039827"/>
                <a:gd name="connsiteX80" fmla="*/ 1992784 w 2178135"/>
                <a:gd name="connsiteY80" fmla="*/ 526124 h 2039827"/>
                <a:gd name="connsiteX81" fmla="*/ 1884028 w 2178135"/>
                <a:gd name="connsiteY81" fmla="*/ 453649 h 2039827"/>
                <a:gd name="connsiteX82" fmla="*/ 1844503 w 2178135"/>
                <a:gd name="connsiteY82" fmla="*/ 470519 h 2039827"/>
                <a:gd name="connsiteX83" fmla="*/ 1776541 w 2178135"/>
                <a:gd name="connsiteY83" fmla="*/ 464340 h 2039827"/>
                <a:gd name="connsiteX84" fmla="*/ 1702400 w 2178135"/>
                <a:gd name="connsiteY84" fmla="*/ 519946 h 2039827"/>
                <a:gd name="connsiteX85" fmla="*/ 1640617 w 2178135"/>
                <a:gd name="connsiteY85" fmla="*/ 489054 h 2039827"/>
                <a:gd name="connsiteX86" fmla="*/ 1603546 w 2178135"/>
                <a:gd name="connsiteY86" fmla="*/ 501411 h 2039827"/>
                <a:gd name="connsiteX87" fmla="*/ 1603608 w 2178135"/>
                <a:gd name="connsiteY87" fmla="*/ 489288 h 2039827"/>
                <a:gd name="connsiteX88" fmla="*/ 1529406 w 2178135"/>
                <a:gd name="connsiteY88" fmla="*/ 495232 h 2039827"/>
                <a:gd name="connsiteX89" fmla="*/ 1498514 w 2178135"/>
                <a:gd name="connsiteY89" fmla="*/ 470519 h 2039827"/>
                <a:gd name="connsiteX90" fmla="*/ 1451525 w 2178135"/>
                <a:gd name="connsiteY90" fmla="*/ 481697 h 2039827"/>
                <a:gd name="connsiteX91" fmla="*/ 1372168 w 2178135"/>
                <a:gd name="connsiteY91" fmla="*/ 433707 h 2039827"/>
                <a:gd name="connsiteX92" fmla="*/ 1300806 w 2178135"/>
                <a:gd name="connsiteY92" fmla="*/ 451984 h 2039827"/>
                <a:gd name="connsiteX93" fmla="*/ 1269914 w 2178135"/>
                <a:gd name="connsiteY93" fmla="*/ 439627 h 2039827"/>
                <a:gd name="connsiteX94" fmla="*/ 1250011 w 2178135"/>
                <a:gd name="connsiteY94" fmla="*/ 432292 h 2039827"/>
                <a:gd name="connsiteX95" fmla="*/ 1220487 w 2178135"/>
                <a:gd name="connsiteY95" fmla="*/ 396378 h 2039827"/>
                <a:gd name="connsiteX96" fmla="*/ 1153535 w 2178135"/>
                <a:gd name="connsiteY96" fmla="*/ 390478 h 2039827"/>
                <a:gd name="connsiteX97" fmla="*/ 1115454 w 2178135"/>
                <a:gd name="connsiteY97" fmla="*/ 371665 h 2039827"/>
                <a:gd name="connsiteX98" fmla="*/ 1096919 w 2178135"/>
                <a:gd name="connsiteY98" fmla="*/ 371665 h 2039827"/>
                <a:gd name="connsiteX99" fmla="*/ 1084562 w 2178135"/>
                <a:gd name="connsiteY99" fmla="*/ 359308 h 2039827"/>
                <a:gd name="connsiteX100" fmla="*/ 1072206 w 2178135"/>
                <a:gd name="connsiteY100" fmla="*/ 353130 h 2039827"/>
                <a:gd name="connsiteX101" fmla="*/ 1077975 w 2178135"/>
                <a:gd name="connsiteY101" fmla="*/ 10936 h 2039827"/>
                <a:gd name="connsiteX102" fmla="*/ 608423 w 2178135"/>
                <a:gd name="connsiteY102" fmla="*/ 0 h 2039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2178135" h="2039827">
                  <a:moveTo>
                    <a:pt x="608423" y="0"/>
                  </a:moveTo>
                  <a:cubicBezTo>
                    <a:pt x="606363" y="288324"/>
                    <a:pt x="592352" y="583789"/>
                    <a:pt x="590292" y="872113"/>
                  </a:cubicBezTo>
                  <a:lnTo>
                    <a:pt x="6178" y="841299"/>
                  </a:lnTo>
                  <a:lnTo>
                    <a:pt x="0" y="880734"/>
                  </a:lnTo>
                  <a:lnTo>
                    <a:pt x="58952" y="921540"/>
                  </a:lnTo>
                  <a:lnTo>
                    <a:pt x="114557" y="989503"/>
                  </a:lnTo>
                  <a:lnTo>
                    <a:pt x="163984" y="1063643"/>
                  </a:lnTo>
                  <a:lnTo>
                    <a:pt x="213411" y="1076000"/>
                  </a:lnTo>
                  <a:lnTo>
                    <a:pt x="250481" y="1125427"/>
                  </a:lnTo>
                  <a:lnTo>
                    <a:pt x="281373" y="1174854"/>
                  </a:lnTo>
                  <a:lnTo>
                    <a:pt x="306087" y="1230459"/>
                  </a:lnTo>
                  <a:lnTo>
                    <a:pt x="318444" y="1304600"/>
                  </a:lnTo>
                  <a:lnTo>
                    <a:pt x="336979" y="1329313"/>
                  </a:lnTo>
                  <a:lnTo>
                    <a:pt x="442011" y="1409632"/>
                  </a:lnTo>
                  <a:lnTo>
                    <a:pt x="448190" y="1384919"/>
                  </a:lnTo>
                  <a:lnTo>
                    <a:pt x="584114" y="1452881"/>
                  </a:lnTo>
                  <a:lnTo>
                    <a:pt x="584114" y="1452881"/>
                  </a:lnTo>
                  <a:lnTo>
                    <a:pt x="615006" y="1397276"/>
                  </a:lnTo>
                  <a:lnTo>
                    <a:pt x="670611" y="1329313"/>
                  </a:lnTo>
                  <a:lnTo>
                    <a:pt x="738573" y="1310778"/>
                  </a:lnTo>
                  <a:lnTo>
                    <a:pt x="831249" y="1323135"/>
                  </a:lnTo>
                  <a:lnTo>
                    <a:pt x="911568" y="1384919"/>
                  </a:lnTo>
                  <a:lnTo>
                    <a:pt x="967173" y="1465238"/>
                  </a:lnTo>
                  <a:lnTo>
                    <a:pt x="1022779" y="1545557"/>
                  </a:lnTo>
                  <a:lnTo>
                    <a:pt x="1072206" y="1632054"/>
                  </a:lnTo>
                  <a:lnTo>
                    <a:pt x="1127811" y="1700016"/>
                  </a:lnTo>
                  <a:lnTo>
                    <a:pt x="1177238" y="1737086"/>
                  </a:lnTo>
                  <a:lnTo>
                    <a:pt x="1208130" y="1817405"/>
                  </a:lnTo>
                  <a:lnTo>
                    <a:pt x="1232844" y="1879189"/>
                  </a:lnTo>
                  <a:lnTo>
                    <a:pt x="1257557" y="1940973"/>
                  </a:lnTo>
                  <a:lnTo>
                    <a:pt x="1288449" y="1984222"/>
                  </a:lnTo>
                  <a:lnTo>
                    <a:pt x="1350233" y="2008935"/>
                  </a:lnTo>
                  <a:lnTo>
                    <a:pt x="1449087" y="2027470"/>
                  </a:lnTo>
                  <a:lnTo>
                    <a:pt x="1523227" y="2039827"/>
                  </a:lnTo>
                  <a:lnTo>
                    <a:pt x="1615903" y="2039827"/>
                  </a:lnTo>
                  <a:lnTo>
                    <a:pt x="1597368" y="2027470"/>
                  </a:lnTo>
                  <a:lnTo>
                    <a:pt x="1597368" y="2027470"/>
                  </a:lnTo>
                  <a:lnTo>
                    <a:pt x="1585011" y="1959508"/>
                  </a:lnTo>
                  <a:lnTo>
                    <a:pt x="1560298" y="1928616"/>
                  </a:lnTo>
                  <a:lnTo>
                    <a:pt x="1554119" y="1891546"/>
                  </a:lnTo>
                  <a:lnTo>
                    <a:pt x="1535584" y="1848297"/>
                  </a:lnTo>
                  <a:lnTo>
                    <a:pt x="1547941" y="1817405"/>
                  </a:lnTo>
                  <a:lnTo>
                    <a:pt x="1541762" y="1798870"/>
                  </a:lnTo>
                  <a:lnTo>
                    <a:pt x="1498514" y="1774157"/>
                  </a:lnTo>
                  <a:lnTo>
                    <a:pt x="1547941" y="1743265"/>
                  </a:lnTo>
                  <a:lnTo>
                    <a:pt x="1554119" y="1730908"/>
                  </a:lnTo>
                  <a:lnTo>
                    <a:pt x="1560298" y="1700016"/>
                  </a:lnTo>
                  <a:lnTo>
                    <a:pt x="1535584" y="1669124"/>
                  </a:lnTo>
                  <a:lnTo>
                    <a:pt x="1560298" y="1669124"/>
                  </a:lnTo>
                  <a:lnTo>
                    <a:pt x="1585011" y="1650589"/>
                  </a:lnTo>
                  <a:lnTo>
                    <a:pt x="1560298" y="1594984"/>
                  </a:lnTo>
                  <a:lnTo>
                    <a:pt x="1560298" y="1594984"/>
                  </a:lnTo>
                  <a:lnTo>
                    <a:pt x="1628260" y="1594984"/>
                  </a:lnTo>
                  <a:lnTo>
                    <a:pt x="1640617" y="1582627"/>
                  </a:lnTo>
                  <a:lnTo>
                    <a:pt x="1659152" y="1533200"/>
                  </a:lnTo>
                  <a:lnTo>
                    <a:pt x="1696222" y="1533200"/>
                  </a:lnTo>
                  <a:lnTo>
                    <a:pt x="1714757" y="1533200"/>
                  </a:lnTo>
                  <a:lnTo>
                    <a:pt x="1714757" y="1502308"/>
                  </a:lnTo>
                  <a:lnTo>
                    <a:pt x="1708579" y="1483773"/>
                  </a:lnTo>
                  <a:lnTo>
                    <a:pt x="1708579" y="1483773"/>
                  </a:lnTo>
                  <a:lnTo>
                    <a:pt x="1782719" y="1489951"/>
                  </a:lnTo>
                  <a:lnTo>
                    <a:pt x="1844503" y="1477595"/>
                  </a:lnTo>
                  <a:lnTo>
                    <a:pt x="1906287" y="1421989"/>
                  </a:lnTo>
                  <a:lnTo>
                    <a:pt x="1906287" y="1378740"/>
                  </a:lnTo>
                  <a:lnTo>
                    <a:pt x="1955714" y="1347849"/>
                  </a:lnTo>
                  <a:lnTo>
                    <a:pt x="1949535" y="1286065"/>
                  </a:lnTo>
                  <a:lnTo>
                    <a:pt x="1992784" y="1267530"/>
                  </a:lnTo>
                  <a:lnTo>
                    <a:pt x="2017498" y="1329313"/>
                  </a:lnTo>
                  <a:lnTo>
                    <a:pt x="2153422" y="1255173"/>
                  </a:lnTo>
                  <a:lnTo>
                    <a:pt x="2165779" y="1168676"/>
                  </a:lnTo>
                  <a:lnTo>
                    <a:pt x="2153422" y="1131605"/>
                  </a:lnTo>
                  <a:lnTo>
                    <a:pt x="2147244" y="1094535"/>
                  </a:lnTo>
                  <a:lnTo>
                    <a:pt x="2159600" y="1051286"/>
                  </a:lnTo>
                  <a:lnTo>
                    <a:pt x="2178135" y="1014216"/>
                  </a:lnTo>
                  <a:lnTo>
                    <a:pt x="2141065" y="903005"/>
                  </a:lnTo>
                  <a:lnTo>
                    <a:pt x="2110173" y="872113"/>
                  </a:lnTo>
                  <a:lnTo>
                    <a:pt x="2085460" y="791795"/>
                  </a:lnTo>
                  <a:lnTo>
                    <a:pt x="2073103" y="618800"/>
                  </a:lnTo>
                  <a:lnTo>
                    <a:pt x="2060746" y="519946"/>
                  </a:lnTo>
                  <a:lnTo>
                    <a:pt x="2042211" y="501411"/>
                  </a:lnTo>
                  <a:lnTo>
                    <a:pt x="1992784" y="526124"/>
                  </a:lnTo>
                  <a:lnTo>
                    <a:pt x="1884028" y="453649"/>
                  </a:lnTo>
                  <a:lnTo>
                    <a:pt x="1844503" y="470519"/>
                  </a:lnTo>
                  <a:lnTo>
                    <a:pt x="1776541" y="464340"/>
                  </a:lnTo>
                  <a:lnTo>
                    <a:pt x="1702400" y="519946"/>
                  </a:lnTo>
                  <a:lnTo>
                    <a:pt x="1640617" y="489054"/>
                  </a:lnTo>
                  <a:lnTo>
                    <a:pt x="1603546" y="501411"/>
                  </a:lnTo>
                  <a:cubicBezTo>
                    <a:pt x="1603567" y="497370"/>
                    <a:pt x="1603587" y="493329"/>
                    <a:pt x="1603608" y="489288"/>
                  </a:cubicBezTo>
                  <a:lnTo>
                    <a:pt x="1529406" y="495232"/>
                  </a:lnTo>
                  <a:lnTo>
                    <a:pt x="1498514" y="470519"/>
                  </a:lnTo>
                  <a:lnTo>
                    <a:pt x="1451525" y="481697"/>
                  </a:lnTo>
                  <a:lnTo>
                    <a:pt x="1372168" y="433707"/>
                  </a:lnTo>
                  <a:lnTo>
                    <a:pt x="1300806" y="451984"/>
                  </a:lnTo>
                  <a:lnTo>
                    <a:pt x="1269914" y="439627"/>
                  </a:lnTo>
                  <a:lnTo>
                    <a:pt x="1250011" y="432292"/>
                  </a:lnTo>
                  <a:lnTo>
                    <a:pt x="1220487" y="396378"/>
                  </a:lnTo>
                  <a:lnTo>
                    <a:pt x="1153535" y="390478"/>
                  </a:lnTo>
                  <a:lnTo>
                    <a:pt x="1115454" y="371665"/>
                  </a:lnTo>
                  <a:lnTo>
                    <a:pt x="1096919" y="371665"/>
                  </a:lnTo>
                  <a:lnTo>
                    <a:pt x="1084562" y="359308"/>
                  </a:lnTo>
                  <a:lnTo>
                    <a:pt x="1072206" y="353130"/>
                  </a:lnTo>
                  <a:lnTo>
                    <a:pt x="1077975" y="10936"/>
                  </a:lnTo>
                  <a:lnTo>
                    <a:pt x="60842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19" name="Freeform 118"/>
            <p:cNvSpPr/>
            <p:nvPr/>
          </p:nvSpPr>
          <p:spPr>
            <a:xfrm>
              <a:off x="488221" y="2683896"/>
              <a:ext cx="840015" cy="1253564"/>
            </a:xfrm>
            <a:custGeom>
              <a:avLst/>
              <a:gdLst>
                <a:gd name="connsiteX0" fmla="*/ 99753 w 1313411"/>
                <a:gd name="connsiteY0" fmla="*/ 0 h 2116975"/>
                <a:gd name="connsiteX1" fmla="*/ 99753 w 1313411"/>
                <a:gd name="connsiteY1" fmla="*/ 60960 h 2116975"/>
                <a:gd name="connsiteX2" fmla="*/ 94211 w 1313411"/>
                <a:gd name="connsiteY2" fmla="*/ 99753 h 2116975"/>
                <a:gd name="connsiteX3" fmla="*/ 72043 w 1313411"/>
                <a:gd name="connsiteY3" fmla="*/ 138545 h 2116975"/>
                <a:gd name="connsiteX4" fmla="*/ 83127 w 1313411"/>
                <a:gd name="connsiteY4" fmla="*/ 193964 h 2116975"/>
                <a:gd name="connsiteX5" fmla="*/ 0 w 1313411"/>
                <a:gd name="connsiteY5" fmla="*/ 254924 h 2116975"/>
                <a:gd name="connsiteX6" fmla="*/ 0 w 1313411"/>
                <a:gd name="connsiteY6" fmla="*/ 299258 h 2116975"/>
                <a:gd name="connsiteX7" fmla="*/ 38793 w 1313411"/>
                <a:gd name="connsiteY7" fmla="*/ 387927 h 2116975"/>
                <a:gd name="connsiteX8" fmla="*/ 38793 w 1313411"/>
                <a:gd name="connsiteY8" fmla="*/ 426720 h 2116975"/>
                <a:gd name="connsiteX9" fmla="*/ 22167 w 1313411"/>
                <a:gd name="connsiteY9" fmla="*/ 576349 h 2116975"/>
                <a:gd name="connsiteX10" fmla="*/ 49876 w 1313411"/>
                <a:gd name="connsiteY10" fmla="*/ 670560 h 2116975"/>
                <a:gd name="connsiteX11" fmla="*/ 77585 w 1313411"/>
                <a:gd name="connsiteY11" fmla="*/ 703811 h 2116975"/>
                <a:gd name="connsiteX12" fmla="*/ 83127 w 1313411"/>
                <a:gd name="connsiteY12" fmla="*/ 742604 h 2116975"/>
                <a:gd name="connsiteX13" fmla="*/ 72043 w 1313411"/>
                <a:gd name="connsiteY13" fmla="*/ 814647 h 2116975"/>
                <a:gd name="connsiteX14" fmla="*/ 121920 w 1313411"/>
                <a:gd name="connsiteY14" fmla="*/ 825731 h 2116975"/>
                <a:gd name="connsiteX15" fmla="*/ 144087 w 1313411"/>
                <a:gd name="connsiteY15" fmla="*/ 825731 h 2116975"/>
                <a:gd name="connsiteX16" fmla="*/ 166254 w 1313411"/>
                <a:gd name="connsiteY16" fmla="*/ 792480 h 2116975"/>
                <a:gd name="connsiteX17" fmla="*/ 182880 w 1313411"/>
                <a:gd name="connsiteY17" fmla="*/ 781396 h 2116975"/>
                <a:gd name="connsiteX18" fmla="*/ 193963 w 1313411"/>
                <a:gd name="connsiteY18" fmla="*/ 825731 h 2116975"/>
                <a:gd name="connsiteX19" fmla="*/ 188422 w 1313411"/>
                <a:gd name="connsiteY19" fmla="*/ 875607 h 2116975"/>
                <a:gd name="connsiteX20" fmla="*/ 182880 w 1313411"/>
                <a:gd name="connsiteY20" fmla="*/ 892233 h 2116975"/>
                <a:gd name="connsiteX21" fmla="*/ 149629 w 1313411"/>
                <a:gd name="connsiteY21" fmla="*/ 886691 h 2116975"/>
                <a:gd name="connsiteX22" fmla="*/ 133003 w 1313411"/>
                <a:gd name="connsiteY22" fmla="*/ 942109 h 2116975"/>
                <a:gd name="connsiteX23" fmla="*/ 144087 w 1313411"/>
                <a:gd name="connsiteY23" fmla="*/ 997527 h 2116975"/>
                <a:gd name="connsiteX24" fmla="*/ 171796 w 1313411"/>
                <a:gd name="connsiteY24" fmla="*/ 1025236 h 2116975"/>
                <a:gd name="connsiteX25" fmla="*/ 205047 w 1313411"/>
                <a:gd name="connsiteY25" fmla="*/ 1064029 h 2116975"/>
                <a:gd name="connsiteX26" fmla="*/ 205047 w 1313411"/>
                <a:gd name="connsiteY26" fmla="*/ 1102822 h 2116975"/>
                <a:gd name="connsiteX27" fmla="*/ 182880 w 1313411"/>
                <a:gd name="connsiteY27" fmla="*/ 1119447 h 2116975"/>
                <a:gd name="connsiteX28" fmla="*/ 182880 w 1313411"/>
                <a:gd name="connsiteY28" fmla="*/ 1119447 h 2116975"/>
                <a:gd name="connsiteX29" fmla="*/ 238298 w 1313411"/>
                <a:gd name="connsiteY29" fmla="*/ 1230284 h 2116975"/>
                <a:gd name="connsiteX30" fmla="*/ 249382 w 1313411"/>
                <a:gd name="connsiteY30" fmla="*/ 1318953 h 2116975"/>
                <a:gd name="connsiteX31" fmla="*/ 282633 w 1313411"/>
                <a:gd name="connsiteY31" fmla="*/ 1341120 h 2116975"/>
                <a:gd name="connsiteX32" fmla="*/ 282633 w 1313411"/>
                <a:gd name="connsiteY32" fmla="*/ 1341120 h 2116975"/>
                <a:gd name="connsiteX33" fmla="*/ 304800 w 1313411"/>
                <a:gd name="connsiteY33" fmla="*/ 1390996 h 2116975"/>
                <a:gd name="connsiteX34" fmla="*/ 321425 w 1313411"/>
                <a:gd name="connsiteY34" fmla="*/ 1418705 h 2116975"/>
                <a:gd name="connsiteX35" fmla="*/ 326967 w 1313411"/>
                <a:gd name="connsiteY35" fmla="*/ 1463040 h 2116975"/>
                <a:gd name="connsiteX36" fmla="*/ 299258 w 1313411"/>
                <a:gd name="connsiteY36" fmla="*/ 1507375 h 2116975"/>
                <a:gd name="connsiteX37" fmla="*/ 315883 w 1313411"/>
                <a:gd name="connsiteY37" fmla="*/ 1546167 h 2116975"/>
                <a:gd name="connsiteX38" fmla="*/ 410094 w 1313411"/>
                <a:gd name="connsiteY38" fmla="*/ 1612669 h 2116975"/>
                <a:gd name="connsiteX39" fmla="*/ 459971 w 1313411"/>
                <a:gd name="connsiteY39" fmla="*/ 1623753 h 2116975"/>
                <a:gd name="connsiteX40" fmla="*/ 465513 w 1313411"/>
                <a:gd name="connsiteY40" fmla="*/ 1607127 h 2116975"/>
                <a:gd name="connsiteX41" fmla="*/ 465513 w 1313411"/>
                <a:gd name="connsiteY41" fmla="*/ 1607127 h 2116975"/>
                <a:gd name="connsiteX42" fmla="*/ 543098 w 1313411"/>
                <a:gd name="connsiteY42" fmla="*/ 1712422 h 2116975"/>
                <a:gd name="connsiteX43" fmla="*/ 604058 w 1313411"/>
                <a:gd name="connsiteY43" fmla="*/ 1734589 h 2116975"/>
                <a:gd name="connsiteX44" fmla="*/ 604058 w 1313411"/>
                <a:gd name="connsiteY44" fmla="*/ 1734589 h 2116975"/>
                <a:gd name="connsiteX45" fmla="*/ 642851 w 1313411"/>
                <a:gd name="connsiteY45" fmla="*/ 1795549 h 2116975"/>
                <a:gd name="connsiteX46" fmla="*/ 703811 w 1313411"/>
                <a:gd name="connsiteY46" fmla="*/ 1834342 h 2116975"/>
                <a:gd name="connsiteX47" fmla="*/ 775854 w 1313411"/>
                <a:gd name="connsiteY47" fmla="*/ 1923011 h 2116975"/>
                <a:gd name="connsiteX48" fmla="*/ 786938 w 1313411"/>
                <a:gd name="connsiteY48" fmla="*/ 2017222 h 2116975"/>
                <a:gd name="connsiteX49" fmla="*/ 803563 w 1313411"/>
                <a:gd name="connsiteY49" fmla="*/ 2050473 h 2116975"/>
                <a:gd name="connsiteX50" fmla="*/ 809105 w 1313411"/>
                <a:gd name="connsiteY50" fmla="*/ 2083724 h 2116975"/>
                <a:gd name="connsiteX51" fmla="*/ 1197033 w 1313411"/>
                <a:gd name="connsiteY51" fmla="*/ 2116975 h 2116975"/>
                <a:gd name="connsiteX52" fmla="*/ 1230283 w 1313411"/>
                <a:gd name="connsiteY52" fmla="*/ 2089265 h 2116975"/>
                <a:gd name="connsiteX53" fmla="*/ 1213658 w 1313411"/>
                <a:gd name="connsiteY53" fmla="*/ 2011680 h 2116975"/>
                <a:gd name="connsiteX54" fmla="*/ 1263534 w 1313411"/>
                <a:gd name="connsiteY54" fmla="*/ 1906385 h 2116975"/>
                <a:gd name="connsiteX55" fmla="*/ 1285702 w 1313411"/>
                <a:gd name="connsiteY55" fmla="*/ 1867593 h 2116975"/>
                <a:gd name="connsiteX56" fmla="*/ 1313411 w 1313411"/>
                <a:gd name="connsiteY56" fmla="*/ 1806633 h 2116975"/>
                <a:gd name="connsiteX57" fmla="*/ 1252451 w 1313411"/>
                <a:gd name="connsiteY57" fmla="*/ 1657004 h 2116975"/>
                <a:gd name="connsiteX58" fmla="*/ 576349 w 1313411"/>
                <a:gd name="connsiteY58" fmla="*/ 714895 h 2116975"/>
                <a:gd name="connsiteX59" fmla="*/ 687185 w 1313411"/>
                <a:gd name="connsiteY59" fmla="*/ 177338 h 2116975"/>
                <a:gd name="connsiteX60" fmla="*/ 99753 w 1313411"/>
                <a:gd name="connsiteY60" fmla="*/ 0 h 2116975"/>
                <a:gd name="connsiteX0" fmla="*/ 99753 w 1313411"/>
                <a:gd name="connsiteY0" fmla="*/ 0 h 2116975"/>
                <a:gd name="connsiteX1" fmla="*/ 99753 w 1313411"/>
                <a:gd name="connsiteY1" fmla="*/ 60960 h 2116975"/>
                <a:gd name="connsiteX2" fmla="*/ 94211 w 1313411"/>
                <a:gd name="connsiteY2" fmla="*/ 99753 h 2116975"/>
                <a:gd name="connsiteX3" fmla="*/ 72043 w 1313411"/>
                <a:gd name="connsiteY3" fmla="*/ 138545 h 2116975"/>
                <a:gd name="connsiteX4" fmla="*/ 83127 w 1313411"/>
                <a:gd name="connsiteY4" fmla="*/ 193964 h 2116975"/>
                <a:gd name="connsiteX5" fmla="*/ 0 w 1313411"/>
                <a:gd name="connsiteY5" fmla="*/ 254924 h 2116975"/>
                <a:gd name="connsiteX6" fmla="*/ 0 w 1313411"/>
                <a:gd name="connsiteY6" fmla="*/ 299258 h 2116975"/>
                <a:gd name="connsiteX7" fmla="*/ 38793 w 1313411"/>
                <a:gd name="connsiteY7" fmla="*/ 387927 h 2116975"/>
                <a:gd name="connsiteX8" fmla="*/ 38793 w 1313411"/>
                <a:gd name="connsiteY8" fmla="*/ 426720 h 2116975"/>
                <a:gd name="connsiteX9" fmla="*/ 22167 w 1313411"/>
                <a:gd name="connsiteY9" fmla="*/ 576349 h 2116975"/>
                <a:gd name="connsiteX10" fmla="*/ 49876 w 1313411"/>
                <a:gd name="connsiteY10" fmla="*/ 670560 h 2116975"/>
                <a:gd name="connsiteX11" fmla="*/ 77585 w 1313411"/>
                <a:gd name="connsiteY11" fmla="*/ 703811 h 2116975"/>
                <a:gd name="connsiteX12" fmla="*/ 83127 w 1313411"/>
                <a:gd name="connsiteY12" fmla="*/ 742604 h 2116975"/>
                <a:gd name="connsiteX13" fmla="*/ 72043 w 1313411"/>
                <a:gd name="connsiteY13" fmla="*/ 814647 h 2116975"/>
                <a:gd name="connsiteX14" fmla="*/ 121920 w 1313411"/>
                <a:gd name="connsiteY14" fmla="*/ 825731 h 2116975"/>
                <a:gd name="connsiteX15" fmla="*/ 144087 w 1313411"/>
                <a:gd name="connsiteY15" fmla="*/ 825731 h 2116975"/>
                <a:gd name="connsiteX16" fmla="*/ 166254 w 1313411"/>
                <a:gd name="connsiteY16" fmla="*/ 792480 h 2116975"/>
                <a:gd name="connsiteX17" fmla="*/ 182880 w 1313411"/>
                <a:gd name="connsiteY17" fmla="*/ 781396 h 2116975"/>
                <a:gd name="connsiteX18" fmla="*/ 193963 w 1313411"/>
                <a:gd name="connsiteY18" fmla="*/ 825731 h 2116975"/>
                <a:gd name="connsiteX19" fmla="*/ 188422 w 1313411"/>
                <a:gd name="connsiteY19" fmla="*/ 875607 h 2116975"/>
                <a:gd name="connsiteX20" fmla="*/ 182880 w 1313411"/>
                <a:gd name="connsiteY20" fmla="*/ 892233 h 2116975"/>
                <a:gd name="connsiteX21" fmla="*/ 149629 w 1313411"/>
                <a:gd name="connsiteY21" fmla="*/ 886691 h 2116975"/>
                <a:gd name="connsiteX22" fmla="*/ 133003 w 1313411"/>
                <a:gd name="connsiteY22" fmla="*/ 942109 h 2116975"/>
                <a:gd name="connsiteX23" fmla="*/ 144087 w 1313411"/>
                <a:gd name="connsiteY23" fmla="*/ 997527 h 2116975"/>
                <a:gd name="connsiteX24" fmla="*/ 171796 w 1313411"/>
                <a:gd name="connsiteY24" fmla="*/ 1025236 h 2116975"/>
                <a:gd name="connsiteX25" fmla="*/ 205047 w 1313411"/>
                <a:gd name="connsiteY25" fmla="*/ 1064029 h 2116975"/>
                <a:gd name="connsiteX26" fmla="*/ 205047 w 1313411"/>
                <a:gd name="connsiteY26" fmla="*/ 1102822 h 2116975"/>
                <a:gd name="connsiteX27" fmla="*/ 182880 w 1313411"/>
                <a:gd name="connsiteY27" fmla="*/ 1119447 h 2116975"/>
                <a:gd name="connsiteX28" fmla="*/ 182880 w 1313411"/>
                <a:gd name="connsiteY28" fmla="*/ 1119447 h 2116975"/>
                <a:gd name="connsiteX29" fmla="*/ 238298 w 1313411"/>
                <a:gd name="connsiteY29" fmla="*/ 1230284 h 2116975"/>
                <a:gd name="connsiteX30" fmla="*/ 249382 w 1313411"/>
                <a:gd name="connsiteY30" fmla="*/ 1318953 h 2116975"/>
                <a:gd name="connsiteX31" fmla="*/ 282633 w 1313411"/>
                <a:gd name="connsiteY31" fmla="*/ 1341120 h 2116975"/>
                <a:gd name="connsiteX32" fmla="*/ 282633 w 1313411"/>
                <a:gd name="connsiteY32" fmla="*/ 1341120 h 2116975"/>
                <a:gd name="connsiteX33" fmla="*/ 304800 w 1313411"/>
                <a:gd name="connsiteY33" fmla="*/ 1390996 h 2116975"/>
                <a:gd name="connsiteX34" fmla="*/ 321425 w 1313411"/>
                <a:gd name="connsiteY34" fmla="*/ 1418705 h 2116975"/>
                <a:gd name="connsiteX35" fmla="*/ 326967 w 1313411"/>
                <a:gd name="connsiteY35" fmla="*/ 1463040 h 2116975"/>
                <a:gd name="connsiteX36" fmla="*/ 299258 w 1313411"/>
                <a:gd name="connsiteY36" fmla="*/ 1507375 h 2116975"/>
                <a:gd name="connsiteX37" fmla="*/ 315883 w 1313411"/>
                <a:gd name="connsiteY37" fmla="*/ 1546167 h 2116975"/>
                <a:gd name="connsiteX38" fmla="*/ 410094 w 1313411"/>
                <a:gd name="connsiteY38" fmla="*/ 1612669 h 2116975"/>
                <a:gd name="connsiteX39" fmla="*/ 459971 w 1313411"/>
                <a:gd name="connsiteY39" fmla="*/ 1623753 h 2116975"/>
                <a:gd name="connsiteX40" fmla="*/ 465513 w 1313411"/>
                <a:gd name="connsiteY40" fmla="*/ 1607127 h 2116975"/>
                <a:gd name="connsiteX41" fmla="*/ 465513 w 1313411"/>
                <a:gd name="connsiteY41" fmla="*/ 1607127 h 2116975"/>
                <a:gd name="connsiteX42" fmla="*/ 543098 w 1313411"/>
                <a:gd name="connsiteY42" fmla="*/ 1712422 h 2116975"/>
                <a:gd name="connsiteX43" fmla="*/ 604058 w 1313411"/>
                <a:gd name="connsiteY43" fmla="*/ 1734589 h 2116975"/>
                <a:gd name="connsiteX44" fmla="*/ 604058 w 1313411"/>
                <a:gd name="connsiteY44" fmla="*/ 1734589 h 2116975"/>
                <a:gd name="connsiteX45" fmla="*/ 642851 w 1313411"/>
                <a:gd name="connsiteY45" fmla="*/ 1795549 h 2116975"/>
                <a:gd name="connsiteX46" fmla="*/ 703811 w 1313411"/>
                <a:gd name="connsiteY46" fmla="*/ 1834342 h 2116975"/>
                <a:gd name="connsiteX47" fmla="*/ 775854 w 1313411"/>
                <a:gd name="connsiteY47" fmla="*/ 1923011 h 2116975"/>
                <a:gd name="connsiteX48" fmla="*/ 786938 w 1313411"/>
                <a:gd name="connsiteY48" fmla="*/ 2017222 h 2116975"/>
                <a:gd name="connsiteX49" fmla="*/ 803563 w 1313411"/>
                <a:gd name="connsiteY49" fmla="*/ 2050473 h 2116975"/>
                <a:gd name="connsiteX50" fmla="*/ 809105 w 1313411"/>
                <a:gd name="connsiteY50" fmla="*/ 2083724 h 2116975"/>
                <a:gd name="connsiteX51" fmla="*/ 1197033 w 1313411"/>
                <a:gd name="connsiteY51" fmla="*/ 2116975 h 2116975"/>
                <a:gd name="connsiteX52" fmla="*/ 1230283 w 1313411"/>
                <a:gd name="connsiteY52" fmla="*/ 2089265 h 2116975"/>
                <a:gd name="connsiteX53" fmla="*/ 1213658 w 1313411"/>
                <a:gd name="connsiteY53" fmla="*/ 2011680 h 2116975"/>
                <a:gd name="connsiteX54" fmla="*/ 1263534 w 1313411"/>
                <a:gd name="connsiteY54" fmla="*/ 1906385 h 2116975"/>
                <a:gd name="connsiteX55" fmla="*/ 1285702 w 1313411"/>
                <a:gd name="connsiteY55" fmla="*/ 1867593 h 2116975"/>
                <a:gd name="connsiteX56" fmla="*/ 1313411 w 1313411"/>
                <a:gd name="connsiteY56" fmla="*/ 1806633 h 2116975"/>
                <a:gd name="connsiteX57" fmla="*/ 1252451 w 1313411"/>
                <a:gd name="connsiteY57" fmla="*/ 1657004 h 2116975"/>
                <a:gd name="connsiteX58" fmla="*/ 576349 w 1313411"/>
                <a:gd name="connsiteY58" fmla="*/ 714895 h 2116975"/>
                <a:gd name="connsiteX59" fmla="*/ 696710 w 1313411"/>
                <a:gd name="connsiteY59" fmla="*/ 160669 h 2116975"/>
                <a:gd name="connsiteX60" fmla="*/ 99753 w 1313411"/>
                <a:gd name="connsiteY60" fmla="*/ 0 h 2116975"/>
                <a:gd name="connsiteX0" fmla="*/ 99753 w 1313411"/>
                <a:gd name="connsiteY0" fmla="*/ 0 h 2116975"/>
                <a:gd name="connsiteX1" fmla="*/ 99753 w 1313411"/>
                <a:gd name="connsiteY1" fmla="*/ 60960 h 2116975"/>
                <a:gd name="connsiteX2" fmla="*/ 94211 w 1313411"/>
                <a:gd name="connsiteY2" fmla="*/ 99753 h 2116975"/>
                <a:gd name="connsiteX3" fmla="*/ 72043 w 1313411"/>
                <a:gd name="connsiteY3" fmla="*/ 138545 h 2116975"/>
                <a:gd name="connsiteX4" fmla="*/ 83127 w 1313411"/>
                <a:gd name="connsiteY4" fmla="*/ 193964 h 2116975"/>
                <a:gd name="connsiteX5" fmla="*/ 0 w 1313411"/>
                <a:gd name="connsiteY5" fmla="*/ 254924 h 2116975"/>
                <a:gd name="connsiteX6" fmla="*/ 0 w 1313411"/>
                <a:gd name="connsiteY6" fmla="*/ 299258 h 2116975"/>
                <a:gd name="connsiteX7" fmla="*/ 38793 w 1313411"/>
                <a:gd name="connsiteY7" fmla="*/ 387927 h 2116975"/>
                <a:gd name="connsiteX8" fmla="*/ 38793 w 1313411"/>
                <a:gd name="connsiteY8" fmla="*/ 426720 h 2116975"/>
                <a:gd name="connsiteX9" fmla="*/ 22167 w 1313411"/>
                <a:gd name="connsiteY9" fmla="*/ 576349 h 2116975"/>
                <a:gd name="connsiteX10" fmla="*/ 49876 w 1313411"/>
                <a:gd name="connsiteY10" fmla="*/ 670560 h 2116975"/>
                <a:gd name="connsiteX11" fmla="*/ 77585 w 1313411"/>
                <a:gd name="connsiteY11" fmla="*/ 703811 h 2116975"/>
                <a:gd name="connsiteX12" fmla="*/ 83127 w 1313411"/>
                <a:gd name="connsiteY12" fmla="*/ 742604 h 2116975"/>
                <a:gd name="connsiteX13" fmla="*/ 72043 w 1313411"/>
                <a:gd name="connsiteY13" fmla="*/ 814647 h 2116975"/>
                <a:gd name="connsiteX14" fmla="*/ 121920 w 1313411"/>
                <a:gd name="connsiteY14" fmla="*/ 825731 h 2116975"/>
                <a:gd name="connsiteX15" fmla="*/ 144087 w 1313411"/>
                <a:gd name="connsiteY15" fmla="*/ 825731 h 2116975"/>
                <a:gd name="connsiteX16" fmla="*/ 166254 w 1313411"/>
                <a:gd name="connsiteY16" fmla="*/ 792480 h 2116975"/>
                <a:gd name="connsiteX17" fmla="*/ 182880 w 1313411"/>
                <a:gd name="connsiteY17" fmla="*/ 781396 h 2116975"/>
                <a:gd name="connsiteX18" fmla="*/ 193963 w 1313411"/>
                <a:gd name="connsiteY18" fmla="*/ 825731 h 2116975"/>
                <a:gd name="connsiteX19" fmla="*/ 188422 w 1313411"/>
                <a:gd name="connsiteY19" fmla="*/ 875607 h 2116975"/>
                <a:gd name="connsiteX20" fmla="*/ 182880 w 1313411"/>
                <a:gd name="connsiteY20" fmla="*/ 892233 h 2116975"/>
                <a:gd name="connsiteX21" fmla="*/ 149629 w 1313411"/>
                <a:gd name="connsiteY21" fmla="*/ 886691 h 2116975"/>
                <a:gd name="connsiteX22" fmla="*/ 133003 w 1313411"/>
                <a:gd name="connsiteY22" fmla="*/ 942109 h 2116975"/>
                <a:gd name="connsiteX23" fmla="*/ 144087 w 1313411"/>
                <a:gd name="connsiteY23" fmla="*/ 997527 h 2116975"/>
                <a:gd name="connsiteX24" fmla="*/ 171796 w 1313411"/>
                <a:gd name="connsiteY24" fmla="*/ 1025236 h 2116975"/>
                <a:gd name="connsiteX25" fmla="*/ 205047 w 1313411"/>
                <a:gd name="connsiteY25" fmla="*/ 1064029 h 2116975"/>
                <a:gd name="connsiteX26" fmla="*/ 205047 w 1313411"/>
                <a:gd name="connsiteY26" fmla="*/ 1102822 h 2116975"/>
                <a:gd name="connsiteX27" fmla="*/ 182880 w 1313411"/>
                <a:gd name="connsiteY27" fmla="*/ 1119447 h 2116975"/>
                <a:gd name="connsiteX28" fmla="*/ 182880 w 1313411"/>
                <a:gd name="connsiteY28" fmla="*/ 1119447 h 2116975"/>
                <a:gd name="connsiteX29" fmla="*/ 238298 w 1313411"/>
                <a:gd name="connsiteY29" fmla="*/ 1230284 h 2116975"/>
                <a:gd name="connsiteX30" fmla="*/ 249382 w 1313411"/>
                <a:gd name="connsiteY30" fmla="*/ 1318953 h 2116975"/>
                <a:gd name="connsiteX31" fmla="*/ 282633 w 1313411"/>
                <a:gd name="connsiteY31" fmla="*/ 1341120 h 2116975"/>
                <a:gd name="connsiteX32" fmla="*/ 282633 w 1313411"/>
                <a:gd name="connsiteY32" fmla="*/ 1341120 h 2116975"/>
                <a:gd name="connsiteX33" fmla="*/ 304800 w 1313411"/>
                <a:gd name="connsiteY33" fmla="*/ 1390996 h 2116975"/>
                <a:gd name="connsiteX34" fmla="*/ 321425 w 1313411"/>
                <a:gd name="connsiteY34" fmla="*/ 1418705 h 2116975"/>
                <a:gd name="connsiteX35" fmla="*/ 326967 w 1313411"/>
                <a:gd name="connsiteY35" fmla="*/ 1463040 h 2116975"/>
                <a:gd name="connsiteX36" fmla="*/ 299258 w 1313411"/>
                <a:gd name="connsiteY36" fmla="*/ 1507375 h 2116975"/>
                <a:gd name="connsiteX37" fmla="*/ 315883 w 1313411"/>
                <a:gd name="connsiteY37" fmla="*/ 1546167 h 2116975"/>
                <a:gd name="connsiteX38" fmla="*/ 410094 w 1313411"/>
                <a:gd name="connsiteY38" fmla="*/ 1612669 h 2116975"/>
                <a:gd name="connsiteX39" fmla="*/ 459971 w 1313411"/>
                <a:gd name="connsiteY39" fmla="*/ 1623753 h 2116975"/>
                <a:gd name="connsiteX40" fmla="*/ 465513 w 1313411"/>
                <a:gd name="connsiteY40" fmla="*/ 1607127 h 2116975"/>
                <a:gd name="connsiteX41" fmla="*/ 465513 w 1313411"/>
                <a:gd name="connsiteY41" fmla="*/ 1607127 h 2116975"/>
                <a:gd name="connsiteX42" fmla="*/ 543098 w 1313411"/>
                <a:gd name="connsiteY42" fmla="*/ 1712422 h 2116975"/>
                <a:gd name="connsiteX43" fmla="*/ 604058 w 1313411"/>
                <a:gd name="connsiteY43" fmla="*/ 1734589 h 2116975"/>
                <a:gd name="connsiteX44" fmla="*/ 604058 w 1313411"/>
                <a:gd name="connsiteY44" fmla="*/ 1734589 h 2116975"/>
                <a:gd name="connsiteX45" fmla="*/ 642851 w 1313411"/>
                <a:gd name="connsiteY45" fmla="*/ 1795549 h 2116975"/>
                <a:gd name="connsiteX46" fmla="*/ 703811 w 1313411"/>
                <a:gd name="connsiteY46" fmla="*/ 1834342 h 2116975"/>
                <a:gd name="connsiteX47" fmla="*/ 775854 w 1313411"/>
                <a:gd name="connsiteY47" fmla="*/ 1923011 h 2116975"/>
                <a:gd name="connsiteX48" fmla="*/ 786938 w 1313411"/>
                <a:gd name="connsiteY48" fmla="*/ 2017222 h 2116975"/>
                <a:gd name="connsiteX49" fmla="*/ 803563 w 1313411"/>
                <a:gd name="connsiteY49" fmla="*/ 2050473 h 2116975"/>
                <a:gd name="connsiteX50" fmla="*/ 809105 w 1313411"/>
                <a:gd name="connsiteY50" fmla="*/ 2083724 h 2116975"/>
                <a:gd name="connsiteX51" fmla="*/ 1197033 w 1313411"/>
                <a:gd name="connsiteY51" fmla="*/ 2116975 h 2116975"/>
                <a:gd name="connsiteX52" fmla="*/ 1230283 w 1313411"/>
                <a:gd name="connsiteY52" fmla="*/ 2089265 h 2116975"/>
                <a:gd name="connsiteX53" fmla="*/ 1213658 w 1313411"/>
                <a:gd name="connsiteY53" fmla="*/ 2011680 h 2116975"/>
                <a:gd name="connsiteX54" fmla="*/ 1263534 w 1313411"/>
                <a:gd name="connsiteY54" fmla="*/ 1906385 h 2116975"/>
                <a:gd name="connsiteX55" fmla="*/ 1285702 w 1313411"/>
                <a:gd name="connsiteY55" fmla="*/ 1867593 h 2116975"/>
                <a:gd name="connsiteX56" fmla="*/ 1313411 w 1313411"/>
                <a:gd name="connsiteY56" fmla="*/ 1806633 h 2116975"/>
                <a:gd name="connsiteX57" fmla="*/ 1252451 w 1313411"/>
                <a:gd name="connsiteY57" fmla="*/ 1657004 h 2116975"/>
                <a:gd name="connsiteX58" fmla="*/ 576349 w 1313411"/>
                <a:gd name="connsiteY58" fmla="*/ 714895 h 2116975"/>
                <a:gd name="connsiteX59" fmla="*/ 696710 w 1313411"/>
                <a:gd name="connsiteY59" fmla="*/ 160669 h 2116975"/>
                <a:gd name="connsiteX60" fmla="*/ 264016 w 1313411"/>
                <a:gd name="connsiteY60" fmla="*/ 45720 h 2116975"/>
                <a:gd name="connsiteX61" fmla="*/ 99753 w 1313411"/>
                <a:gd name="connsiteY61" fmla="*/ 0 h 2116975"/>
                <a:gd name="connsiteX0" fmla="*/ 99753 w 1313411"/>
                <a:gd name="connsiteY0" fmla="*/ 0 h 2116975"/>
                <a:gd name="connsiteX1" fmla="*/ 99753 w 1313411"/>
                <a:gd name="connsiteY1" fmla="*/ 60960 h 2116975"/>
                <a:gd name="connsiteX2" fmla="*/ 94211 w 1313411"/>
                <a:gd name="connsiteY2" fmla="*/ 99753 h 2116975"/>
                <a:gd name="connsiteX3" fmla="*/ 72043 w 1313411"/>
                <a:gd name="connsiteY3" fmla="*/ 138545 h 2116975"/>
                <a:gd name="connsiteX4" fmla="*/ 83127 w 1313411"/>
                <a:gd name="connsiteY4" fmla="*/ 193964 h 2116975"/>
                <a:gd name="connsiteX5" fmla="*/ 0 w 1313411"/>
                <a:gd name="connsiteY5" fmla="*/ 254924 h 2116975"/>
                <a:gd name="connsiteX6" fmla="*/ 0 w 1313411"/>
                <a:gd name="connsiteY6" fmla="*/ 299258 h 2116975"/>
                <a:gd name="connsiteX7" fmla="*/ 38793 w 1313411"/>
                <a:gd name="connsiteY7" fmla="*/ 387927 h 2116975"/>
                <a:gd name="connsiteX8" fmla="*/ 38793 w 1313411"/>
                <a:gd name="connsiteY8" fmla="*/ 426720 h 2116975"/>
                <a:gd name="connsiteX9" fmla="*/ 22167 w 1313411"/>
                <a:gd name="connsiteY9" fmla="*/ 576349 h 2116975"/>
                <a:gd name="connsiteX10" fmla="*/ 49876 w 1313411"/>
                <a:gd name="connsiteY10" fmla="*/ 670560 h 2116975"/>
                <a:gd name="connsiteX11" fmla="*/ 77585 w 1313411"/>
                <a:gd name="connsiteY11" fmla="*/ 703811 h 2116975"/>
                <a:gd name="connsiteX12" fmla="*/ 83127 w 1313411"/>
                <a:gd name="connsiteY12" fmla="*/ 742604 h 2116975"/>
                <a:gd name="connsiteX13" fmla="*/ 72043 w 1313411"/>
                <a:gd name="connsiteY13" fmla="*/ 814647 h 2116975"/>
                <a:gd name="connsiteX14" fmla="*/ 121920 w 1313411"/>
                <a:gd name="connsiteY14" fmla="*/ 825731 h 2116975"/>
                <a:gd name="connsiteX15" fmla="*/ 144087 w 1313411"/>
                <a:gd name="connsiteY15" fmla="*/ 825731 h 2116975"/>
                <a:gd name="connsiteX16" fmla="*/ 166254 w 1313411"/>
                <a:gd name="connsiteY16" fmla="*/ 792480 h 2116975"/>
                <a:gd name="connsiteX17" fmla="*/ 182880 w 1313411"/>
                <a:gd name="connsiteY17" fmla="*/ 781396 h 2116975"/>
                <a:gd name="connsiteX18" fmla="*/ 193963 w 1313411"/>
                <a:gd name="connsiteY18" fmla="*/ 825731 h 2116975"/>
                <a:gd name="connsiteX19" fmla="*/ 188422 w 1313411"/>
                <a:gd name="connsiteY19" fmla="*/ 875607 h 2116975"/>
                <a:gd name="connsiteX20" fmla="*/ 182880 w 1313411"/>
                <a:gd name="connsiteY20" fmla="*/ 892233 h 2116975"/>
                <a:gd name="connsiteX21" fmla="*/ 149629 w 1313411"/>
                <a:gd name="connsiteY21" fmla="*/ 886691 h 2116975"/>
                <a:gd name="connsiteX22" fmla="*/ 133003 w 1313411"/>
                <a:gd name="connsiteY22" fmla="*/ 942109 h 2116975"/>
                <a:gd name="connsiteX23" fmla="*/ 144087 w 1313411"/>
                <a:gd name="connsiteY23" fmla="*/ 997527 h 2116975"/>
                <a:gd name="connsiteX24" fmla="*/ 171796 w 1313411"/>
                <a:gd name="connsiteY24" fmla="*/ 1025236 h 2116975"/>
                <a:gd name="connsiteX25" fmla="*/ 205047 w 1313411"/>
                <a:gd name="connsiteY25" fmla="*/ 1064029 h 2116975"/>
                <a:gd name="connsiteX26" fmla="*/ 205047 w 1313411"/>
                <a:gd name="connsiteY26" fmla="*/ 1102822 h 2116975"/>
                <a:gd name="connsiteX27" fmla="*/ 182880 w 1313411"/>
                <a:gd name="connsiteY27" fmla="*/ 1119447 h 2116975"/>
                <a:gd name="connsiteX28" fmla="*/ 182880 w 1313411"/>
                <a:gd name="connsiteY28" fmla="*/ 1119447 h 2116975"/>
                <a:gd name="connsiteX29" fmla="*/ 238298 w 1313411"/>
                <a:gd name="connsiteY29" fmla="*/ 1230284 h 2116975"/>
                <a:gd name="connsiteX30" fmla="*/ 249382 w 1313411"/>
                <a:gd name="connsiteY30" fmla="*/ 1318953 h 2116975"/>
                <a:gd name="connsiteX31" fmla="*/ 282633 w 1313411"/>
                <a:gd name="connsiteY31" fmla="*/ 1341120 h 2116975"/>
                <a:gd name="connsiteX32" fmla="*/ 282633 w 1313411"/>
                <a:gd name="connsiteY32" fmla="*/ 1341120 h 2116975"/>
                <a:gd name="connsiteX33" fmla="*/ 304800 w 1313411"/>
                <a:gd name="connsiteY33" fmla="*/ 1390996 h 2116975"/>
                <a:gd name="connsiteX34" fmla="*/ 321425 w 1313411"/>
                <a:gd name="connsiteY34" fmla="*/ 1418705 h 2116975"/>
                <a:gd name="connsiteX35" fmla="*/ 326967 w 1313411"/>
                <a:gd name="connsiteY35" fmla="*/ 1463040 h 2116975"/>
                <a:gd name="connsiteX36" fmla="*/ 299258 w 1313411"/>
                <a:gd name="connsiteY36" fmla="*/ 1507375 h 2116975"/>
                <a:gd name="connsiteX37" fmla="*/ 315883 w 1313411"/>
                <a:gd name="connsiteY37" fmla="*/ 1546167 h 2116975"/>
                <a:gd name="connsiteX38" fmla="*/ 410094 w 1313411"/>
                <a:gd name="connsiteY38" fmla="*/ 1612669 h 2116975"/>
                <a:gd name="connsiteX39" fmla="*/ 459971 w 1313411"/>
                <a:gd name="connsiteY39" fmla="*/ 1623753 h 2116975"/>
                <a:gd name="connsiteX40" fmla="*/ 465513 w 1313411"/>
                <a:gd name="connsiteY40" fmla="*/ 1607127 h 2116975"/>
                <a:gd name="connsiteX41" fmla="*/ 465513 w 1313411"/>
                <a:gd name="connsiteY41" fmla="*/ 1607127 h 2116975"/>
                <a:gd name="connsiteX42" fmla="*/ 543098 w 1313411"/>
                <a:gd name="connsiteY42" fmla="*/ 1712422 h 2116975"/>
                <a:gd name="connsiteX43" fmla="*/ 604058 w 1313411"/>
                <a:gd name="connsiteY43" fmla="*/ 1734589 h 2116975"/>
                <a:gd name="connsiteX44" fmla="*/ 604058 w 1313411"/>
                <a:gd name="connsiteY44" fmla="*/ 1734589 h 2116975"/>
                <a:gd name="connsiteX45" fmla="*/ 642851 w 1313411"/>
                <a:gd name="connsiteY45" fmla="*/ 1795549 h 2116975"/>
                <a:gd name="connsiteX46" fmla="*/ 703811 w 1313411"/>
                <a:gd name="connsiteY46" fmla="*/ 1834342 h 2116975"/>
                <a:gd name="connsiteX47" fmla="*/ 775854 w 1313411"/>
                <a:gd name="connsiteY47" fmla="*/ 1923011 h 2116975"/>
                <a:gd name="connsiteX48" fmla="*/ 786938 w 1313411"/>
                <a:gd name="connsiteY48" fmla="*/ 2017222 h 2116975"/>
                <a:gd name="connsiteX49" fmla="*/ 803563 w 1313411"/>
                <a:gd name="connsiteY49" fmla="*/ 2050473 h 2116975"/>
                <a:gd name="connsiteX50" fmla="*/ 809105 w 1313411"/>
                <a:gd name="connsiteY50" fmla="*/ 2083724 h 2116975"/>
                <a:gd name="connsiteX51" fmla="*/ 1197033 w 1313411"/>
                <a:gd name="connsiteY51" fmla="*/ 2116975 h 2116975"/>
                <a:gd name="connsiteX52" fmla="*/ 1230283 w 1313411"/>
                <a:gd name="connsiteY52" fmla="*/ 2089265 h 2116975"/>
                <a:gd name="connsiteX53" fmla="*/ 1213658 w 1313411"/>
                <a:gd name="connsiteY53" fmla="*/ 2011680 h 2116975"/>
                <a:gd name="connsiteX54" fmla="*/ 1263534 w 1313411"/>
                <a:gd name="connsiteY54" fmla="*/ 1906385 h 2116975"/>
                <a:gd name="connsiteX55" fmla="*/ 1285702 w 1313411"/>
                <a:gd name="connsiteY55" fmla="*/ 1867593 h 2116975"/>
                <a:gd name="connsiteX56" fmla="*/ 1313411 w 1313411"/>
                <a:gd name="connsiteY56" fmla="*/ 1806633 h 2116975"/>
                <a:gd name="connsiteX57" fmla="*/ 1252451 w 1313411"/>
                <a:gd name="connsiteY57" fmla="*/ 1657004 h 2116975"/>
                <a:gd name="connsiteX58" fmla="*/ 576349 w 1313411"/>
                <a:gd name="connsiteY58" fmla="*/ 714895 h 2116975"/>
                <a:gd name="connsiteX59" fmla="*/ 696710 w 1313411"/>
                <a:gd name="connsiteY59" fmla="*/ 160669 h 2116975"/>
                <a:gd name="connsiteX60" fmla="*/ 256872 w 1313411"/>
                <a:gd name="connsiteY60" fmla="*/ 36195 h 2116975"/>
                <a:gd name="connsiteX61" fmla="*/ 99753 w 1313411"/>
                <a:gd name="connsiteY61" fmla="*/ 0 h 2116975"/>
                <a:gd name="connsiteX0" fmla="*/ 106896 w 1313411"/>
                <a:gd name="connsiteY0" fmla="*/ 0 h 2124119"/>
                <a:gd name="connsiteX1" fmla="*/ 99753 w 1313411"/>
                <a:gd name="connsiteY1" fmla="*/ 68104 h 2124119"/>
                <a:gd name="connsiteX2" fmla="*/ 94211 w 1313411"/>
                <a:gd name="connsiteY2" fmla="*/ 106897 h 2124119"/>
                <a:gd name="connsiteX3" fmla="*/ 72043 w 1313411"/>
                <a:gd name="connsiteY3" fmla="*/ 145689 h 2124119"/>
                <a:gd name="connsiteX4" fmla="*/ 83127 w 1313411"/>
                <a:gd name="connsiteY4" fmla="*/ 201108 h 2124119"/>
                <a:gd name="connsiteX5" fmla="*/ 0 w 1313411"/>
                <a:gd name="connsiteY5" fmla="*/ 262068 h 2124119"/>
                <a:gd name="connsiteX6" fmla="*/ 0 w 1313411"/>
                <a:gd name="connsiteY6" fmla="*/ 306402 h 2124119"/>
                <a:gd name="connsiteX7" fmla="*/ 38793 w 1313411"/>
                <a:gd name="connsiteY7" fmla="*/ 395071 h 2124119"/>
                <a:gd name="connsiteX8" fmla="*/ 38793 w 1313411"/>
                <a:gd name="connsiteY8" fmla="*/ 433864 h 2124119"/>
                <a:gd name="connsiteX9" fmla="*/ 22167 w 1313411"/>
                <a:gd name="connsiteY9" fmla="*/ 583493 h 2124119"/>
                <a:gd name="connsiteX10" fmla="*/ 49876 w 1313411"/>
                <a:gd name="connsiteY10" fmla="*/ 677704 h 2124119"/>
                <a:gd name="connsiteX11" fmla="*/ 77585 w 1313411"/>
                <a:gd name="connsiteY11" fmla="*/ 710955 h 2124119"/>
                <a:gd name="connsiteX12" fmla="*/ 83127 w 1313411"/>
                <a:gd name="connsiteY12" fmla="*/ 749748 h 2124119"/>
                <a:gd name="connsiteX13" fmla="*/ 72043 w 1313411"/>
                <a:gd name="connsiteY13" fmla="*/ 821791 h 2124119"/>
                <a:gd name="connsiteX14" fmla="*/ 121920 w 1313411"/>
                <a:gd name="connsiteY14" fmla="*/ 832875 h 2124119"/>
                <a:gd name="connsiteX15" fmla="*/ 144087 w 1313411"/>
                <a:gd name="connsiteY15" fmla="*/ 832875 h 2124119"/>
                <a:gd name="connsiteX16" fmla="*/ 166254 w 1313411"/>
                <a:gd name="connsiteY16" fmla="*/ 799624 h 2124119"/>
                <a:gd name="connsiteX17" fmla="*/ 182880 w 1313411"/>
                <a:gd name="connsiteY17" fmla="*/ 788540 h 2124119"/>
                <a:gd name="connsiteX18" fmla="*/ 193963 w 1313411"/>
                <a:gd name="connsiteY18" fmla="*/ 832875 h 2124119"/>
                <a:gd name="connsiteX19" fmla="*/ 188422 w 1313411"/>
                <a:gd name="connsiteY19" fmla="*/ 882751 h 2124119"/>
                <a:gd name="connsiteX20" fmla="*/ 182880 w 1313411"/>
                <a:gd name="connsiteY20" fmla="*/ 899377 h 2124119"/>
                <a:gd name="connsiteX21" fmla="*/ 149629 w 1313411"/>
                <a:gd name="connsiteY21" fmla="*/ 893835 h 2124119"/>
                <a:gd name="connsiteX22" fmla="*/ 133003 w 1313411"/>
                <a:gd name="connsiteY22" fmla="*/ 949253 h 2124119"/>
                <a:gd name="connsiteX23" fmla="*/ 144087 w 1313411"/>
                <a:gd name="connsiteY23" fmla="*/ 1004671 h 2124119"/>
                <a:gd name="connsiteX24" fmla="*/ 171796 w 1313411"/>
                <a:gd name="connsiteY24" fmla="*/ 1032380 h 2124119"/>
                <a:gd name="connsiteX25" fmla="*/ 205047 w 1313411"/>
                <a:gd name="connsiteY25" fmla="*/ 1071173 h 2124119"/>
                <a:gd name="connsiteX26" fmla="*/ 205047 w 1313411"/>
                <a:gd name="connsiteY26" fmla="*/ 1109966 h 2124119"/>
                <a:gd name="connsiteX27" fmla="*/ 182880 w 1313411"/>
                <a:gd name="connsiteY27" fmla="*/ 1126591 h 2124119"/>
                <a:gd name="connsiteX28" fmla="*/ 182880 w 1313411"/>
                <a:gd name="connsiteY28" fmla="*/ 1126591 h 2124119"/>
                <a:gd name="connsiteX29" fmla="*/ 238298 w 1313411"/>
                <a:gd name="connsiteY29" fmla="*/ 1237428 h 2124119"/>
                <a:gd name="connsiteX30" fmla="*/ 249382 w 1313411"/>
                <a:gd name="connsiteY30" fmla="*/ 1326097 h 2124119"/>
                <a:gd name="connsiteX31" fmla="*/ 282633 w 1313411"/>
                <a:gd name="connsiteY31" fmla="*/ 1348264 h 2124119"/>
                <a:gd name="connsiteX32" fmla="*/ 282633 w 1313411"/>
                <a:gd name="connsiteY32" fmla="*/ 1348264 h 2124119"/>
                <a:gd name="connsiteX33" fmla="*/ 304800 w 1313411"/>
                <a:gd name="connsiteY33" fmla="*/ 1398140 h 2124119"/>
                <a:gd name="connsiteX34" fmla="*/ 321425 w 1313411"/>
                <a:gd name="connsiteY34" fmla="*/ 1425849 h 2124119"/>
                <a:gd name="connsiteX35" fmla="*/ 326967 w 1313411"/>
                <a:gd name="connsiteY35" fmla="*/ 1470184 h 2124119"/>
                <a:gd name="connsiteX36" fmla="*/ 299258 w 1313411"/>
                <a:gd name="connsiteY36" fmla="*/ 1514519 h 2124119"/>
                <a:gd name="connsiteX37" fmla="*/ 315883 w 1313411"/>
                <a:gd name="connsiteY37" fmla="*/ 1553311 h 2124119"/>
                <a:gd name="connsiteX38" fmla="*/ 410094 w 1313411"/>
                <a:gd name="connsiteY38" fmla="*/ 1619813 h 2124119"/>
                <a:gd name="connsiteX39" fmla="*/ 459971 w 1313411"/>
                <a:gd name="connsiteY39" fmla="*/ 1630897 h 2124119"/>
                <a:gd name="connsiteX40" fmla="*/ 465513 w 1313411"/>
                <a:gd name="connsiteY40" fmla="*/ 1614271 h 2124119"/>
                <a:gd name="connsiteX41" fmla="*/ 465513 w 1313411"/>
                <a:gd name="connsiteY41" fmla="*/ 1614271 h 2124119"/>
                <a:gd name="connsiteX42" fmla="*/ 543098 w 1313411"/>
                <a:gd name="connsiteY42" fmla="*/ 1719566 h 2124119"/>
                <a:gd name="connsiteX43" fmla="*/ 604058 w 1313411"/>
                <a:gd name="connsiteY43" fmla="*/ 1741733 h 2124119"/>
                <a:gd name="connsiteX44" fmla="*/ 604058 w 1313411"/>
                <a:gd name="connsiteY44" fmla="*/ 1741733 h 2124119"/>
                <a:gd name="connsiteX45" fmla="*/ 642851 w 1313411"/>
                <a:gd name="connsiteY45" fmla="*/ 1802693 h 2124119"/>
                <a:gd name="connsiteX46" fmla="*/ 703811 w 1313411"/>
                <a:gd name="connsiteY46" fmla="*/ 1841486 h 2124119"/>
                <a:gd name="connsiteX47" fmla="*/ 775854 w 1313411"/>
                <a:gd name="connsiteY47" fmla="*/ 1930155 h 2124119"/>
                <a:gd name="connsiteX48" fmla="*/ 786938 w 1313411"/>
                <a:gd name="connsiteY48" fmla="*/ 2024366 h 2124119"/>
                <a:gd name="connsiteX49" fmla="*/ 803563 w 1313411"/>
                <a:gd name="connsiteY49" fmla="*/ 2057617 h 2124119"/>
                <a:gd name="connsiteX50" fmla="*/ 809105 w 1313411"/>
                <a:gd name="connsiteY50" fmla="*/ 2090868 h 2124119"/>
                <a:gd name="connsiteX51" fmla="*/ 1197033 w 1313411"/>
                <a:gd name="connsiteY51" fmla="*/ 2124119 h 2124119"/>
                <a:gd name="connsiteX52" fmla="*/ 1230283 w 1313411"/>
                <a:gd name="connsiteY52" fmla="*/ 2096409 h 2124119"/>
                <a:gd name="connsiteX53" fmla="*/ 1213658 w 1313411"/>
                <a:gd name="connsiteY53" fmla="*/ 2018824 h 2124119"/>
                <a:gd name="connsiteX54" fmla="*/ 1263534 w 1313411"/>
                <a:gd name="connsiteY54" fmla="*/ 1913529 h 2124119"/>
                <a:gd name="connsiteX55" fmla="*/ 1285702 w 1313411"/>
                <a:gd name="connsiteY55" fmla="*/ 1874737 h 2124119"/>
                <a:gd name="connsiteX56" fmla="*/ 1313411 w 1313411"/>
                <a:gd name="connsiteY56" fmla="*/ 1813777 h 2124119"/>
                <a:gd name="connsiteX57" fmla="*/ 1252451 w 1313411"/>
                <a:gd name="connsiteY57" fmla="*/ 1664148 h 2124119"/>
                <a:gd name="connsiteX58" fmla="*/ 576349 w 1313411"/>
                <a:gd name="connsiteY58" fmla="*/ 722039 h 2124119"/>
                <a:gd name="connsiteX59" fmla="*/ 696710 w 1313411"/>
                <a:gd name="connsiteY59" fmla="*/ 167813 h 2124119"/>
                <a:gd name="connsiteX60" fmla="*/ 256872 w 1313411"/>
                <a:gd name="connsiteY60" fmla="*/ 43339 h 2124119"/>
                <a:gd name="connsiteX61" fmla="*/ 106896 w 1313411"/>
                <a:gd name="connsiteY61" fmla="*/ 0 h 2124119"/>
                <a:gd name="connsiteX0" fmla="*/ 106896 w 1313411"/>
                <a:gd name="connsiteY0" fmla="*/ 0 h 2124119"/>
                <a:gd name="connsiteX1" fmla="*/ 102091 w 1313411"/>
                <a:gd name="connsiteY1" fmla="*/ 29052 h 2124119"/>
                <a:gd name="connsiteX2" fmla="*/ 99753 w 1313411"/>
                <a:gd name="connsiteY2" fmla="*/ 68104 h 2124119"/>
                <a:gd name="connsiteX3" fmla="*/ 94211 w 1313411"/>
                <a:gd name="connsiteY3" fmla="*/ 106897 h 2124119"/>
                <a:gd name="connsiteX4" fmla="*/ 72043 w 1313411"/>
                <a:gd name="connsiteY4" fmla="*/ 145689 h 2124119"/>
                <a:gd name="connsiteX5" fmla="*/ 83127 w 1313411"/>
                <a:gd name="connsiteY5" fmla="*/ 201108 h 2124119"/>
                <a:gd name="connsiteX6" fmla="*/ 0 w 1313411"/>
                <a:gd name="connsiteY6" fmla="*/ 262068 h 2124119"/>
                <a:gd name="connsiteX7" fmla="*/ 0 w 1313411"/>
                <a:gd name="connsiteY7" fmla="*/ 306402 h 2124119"/>
                <a:gd name="connsiteX8" fmla="*/ 38793 w 1313411"/>
                <a:gd name="connsiteY8" fmla="*/ 395071 h 2124119"/>
                <a:gd name="connsiteX9" fmla="*/ 38793 w 1313411"/>
                <a:gd name="connsiteY9" fmla="*/ 433864 h 2124119"/>
                <a:gd name="connsiteX10" fmla="*/ 22167 w 1313411"/>
                <a:gd name="connsiteY10" fmla="*/ 583493 h 2124119"/>
                <a:gd name="connsiteX11" fmla="*/ 49876 w 1313411"/>
                <a:gd name="connsiteY11" fmla="*/ 677704 h 2124119"/>
                <a:gd name="connsiteX12" fmla="*/ 77585 w 1313411"/>
                <a:gd name="connsiteY12" fmla="*/ 710955 h 2124119"/>
                <a:gd name="connsiteX13" fmla="*/ 83127 w 1313411"/>
                <a:gd name="connsiteY13" fmla="*/ 749748 h 2124119"/>
                <a:gd name="connsiteX14" fmla="*/ 72043 w 1313411"/>
                <a:gd name="connsiteY14" fmla="*/ 821791 h 2124119"/>
                <a:gd name="connsiteX15" fmla="*/ 121920 w 1313411"/>
                <a:gd name="connsiteY15" fmla="*/ 832875 h 2124119"/>
                <a:gd name="connsiteX16" fmla="*/ 144087 w 1313411"/>
                <a:gd name="connsiteY16" fmla="*/ 832875 h 2124119"/>
                <a:gd name="connsiteX17" fmla="*/ 166254 w 1313411"/>
                <a:gd name="connsiteY17" fmla="*/ 799624 h 2124119"/>
                <a:gd name="connsiteX18" fmla="*/ 182880 w 1313411"/>
                <a:gd name="connsiteY18" fmla="*/ 788540 h 2124119"/>
                <a:gd name="connsiteX19" fmla="*/ 193963 w 1313411"/>
                <a:gd name="connsiteY19" fmla="*/ 832875 h 2124119"/>
                <a:gd name="connsiteX20" fmla="*/ 188422 w 1313411"/>
                <a:gd name="connsiteY20" fmla="*/ 882751 h 2124119"/>
                <a:gd name="connsiteX21" fmla="*/ 182880 w 1313411"/>
                <a:gd name="connsiteY21" fmla="*/ 899377 h 2124119"/>
                <a:gd name="connsiteX22" fmla="*/ 149629 w 1313411"/>
                <a:gd name="connsiteY22" fmla="*/ 893835 h 2124119"/>
                <a:gd name="connsiteX23" fmla="*/ 133003 w 1313411"/>
                <a:gd name="connsiteY23" fmla="*/ 949253 h 2124119"/>
                <a:gd name="connsiteX24" fmla="*/ 144087 w 1313411"/>
                <a:gd name="connsiteY24" fmla="*/ 1004671 h 2124119"/>
                <a:gd name="connsiteX25" fmla="*/ 171796 w 1313411"/>
                <a:gd name="connsiteY25" fmla="*/ 1032380 h 2124119"/>
                <a:gd name="connsiteX26" fmla="*/ 205047 w 1313411"/>
                <a:gd name="connsiteY26" fmla="*/ 1071173 h 2124119"/>
                <a:gd name="connsiteX27" fmla="*/ 205047 w 1313411"/>
                <a:gd name="connsiteY27" fmla="*/ 1109966 h 2124119"/>
                <a:gd name="connsiteX28" fmla="*/ 182880 w 1313411"/>
                <a:gd name="connsiteY28" fmla="*/ 1126591 h 2124119"/>
                <a:gd name="connsiteX29" fmla="*/ 182880 w 1313411"/>
                <a:gd name="connsiteY29" fmla="*/ 1126591 h 2124119"/>
                <a:gd name="connsiteX30" fmla="*/ 238298 w 1313411"/>
                <a:gd name="connsiteY30" fmla="*/ 1237428 h 2124119"/>
                <a:gd name="connsiteX31" fmla="*/ 249382 w 1313411"/>
                <a:gd name="connsiteY31" fmla="*/ 1326097 h 2124119"/>
                <a:gd name="connsiteX32" fmla="*/ 282633 w 1313411"/>
                <a:gd name="connsiteY32" fmla="*/ 1348264 h 2124119"/>
                <a:gd name="connsiteX33" fmla="*/ 282633 w 1313411"/>
                <a:gd name="connsiteY33" fmla="*/ 1348264 h 2124119"/>
                <a:gd name="connsiteX34" fmla="*/ 304800 w 1313411"/>
                <a:gd name="connsiteY34" fmla="*/ 1398140 h 2124119"/>
                <a:gd name="connsiteX35" fmla="*/ 321425 w 1313411"/>
                <a:gd name="connsiteY35" fmla="*/ 1425849 h 2124119"/>
                <a:gd name="connsiteX36" fmla="*/ 326967 w 1313411"/>
                <a:gd name="connsiteY36" fmla="*/ 1470184 h 2124119"/>
                <a:gd name="connsiteX37" fmla="*/ 299258 w 1313411"/>
                <a:gd name="connsiteY37" fmla="*/ 1514519 h 2124119"/>
                <a:gd name="connsiteX38" fmla="*/ 315883 w 1313411"/>
                <a:gd name="connsiteY38" fmla="*/ 1553311 h 2124119"/>
                <a:gd name="connsiteX39" fmla="*/ 410094 w 1313411"/>
                <a:gd name="connsiteY39" fmla="*/ 1619813 h 2124119"/>
                <a:gd name="connsiteX40" fmla="*/ 459971 w 1313411"/>
                <a:gd name="connsiteY40" fmla="*/ 1630897 h 2124119"/>
                <a:gd name="connsiteX41" fmla="*/ 465513 w 1313411"/>
                <a:gd name="connsiteY41" fmla="*/ 1614271 h 2124119"/>
                <a:gd name="connsiteX42" fmla="*/ 465513 w 1313411"/>
                <a:gd name="connsiteY42" fmla="*/ 1614271 h 2124119"/>
                <a:gd name="connsiteX43" fmla="*/ 543098 w 1313411"/>
                <a:gd name="connsiteY43" fmla="*/ 1719566 h 2124119"/>
                <a:gd name="connsiteX44" fmla="*/ 604058 w 1313411"/>
                <a:gd name="connsiteY44" fmla="*/ 1741733 h 2124119"/>
                <a:gd name="connsiteX45" fmla="*/ 604058 w 1313411"/>
                <a:gd name="connsiteY45" fmla="*/ 1741733 h 2124119"/>
                <a:gd name="connsiteX46" fmla="*/ 642851 w 1313411"/>
                <a:gd name="connsiteY46" fmla="*/ 1802693 h 2124119"/>
                <a:gd name="connsiteX47" fmla="*/ 703811 w 1313411"/>
                <a:gd name="connsiteY47" fmla="*/ 1841486 h 2124119"/>
                <a:gd name="connsiteX48" fmla="*/ 775854 w 1313411"/>
                <a:gd name="connsiteY48" fmla="*/ 1930155 h 2124119"/>
                <a:gd name="connsiteX49" fmla="*/ 786938 w 1313411"/>
                <a:gd name="connsiteY49" fmla="*/ 2024366 h 2124119"/>
                <a:gd name="connsiteX50" fmla="*/ 803563 w 1313411"/>
                <a:gd name="connsiteY50" fmla="*/ 2057617 h 2124119"/>
                <a:gd name="connsiteX51" fmla="*/ 809105 w 1313411"/>
                <a:gd name="connsiteY51" fmla="*/ 2090868 h 2124119"/>
                <a:gd name="connsiteX52" fmla="*/ 1197033 w 1313411"/>
                <a:gd name="connsiteY52" fmla="*/ 2124119 h 2124119"/>
                <a:gd name="connsiteX53" fmla="*/ 1230283 w 1313411"/>
                <a:gd name="connsiteY53" fmla="*/ 2096409 h 2124119"/>
                <a:gd name="connsiteX54" fmla="*/ 1213658 w 1313411"/>
                <a:gd name="connsiteY54" fmla="*/ 2018824 h 2124119"/>
                <a:gd name="connsiteX55" fmla="*/ 1263534 w 1313411"/>
                <a:gd name="connsiteY55" fmla="*/ 1913529 h 2124119"/>
                <a:gd name="connsiteX56" fmla="*/ 1285702 w 1313411"/>
                <a:gd name="connsiteY56" fmla="*/ 1874737 h 2124119"/>
                <a:gd name="connsiteX57" fmla="*/ 1313411 w 1313411"/>
                <a:gd name="connsiteY57" fmla="*/ 1813777 h 2124119"/>
                <a:gd name="connsiteX58" fmla="*/ 1252451 w 1313411"/>
                <a:gd name="connsiteY58" fmla="*/ 1664148 h 2124119"/>
                <a:gd name="connsiteX59" fmla="*/ 576349 w 1313411"/>
                <a:gd name="connsiteY59" fmla="*/ 722039 h 2124119"/>
                <a:gd name="connsiteX60" fmla="*/ 696710 w 1313411"/>
                <a:gd name="connsiteY60" fmla="*/ 167813 h 2124119"/>
                <a:gd name="connsiteX61" fmla="*/ 256872 w 1313411"/>
                <a:gd name="connsiteY61" fmla="*/ 43339 h 2124119"/>
                <a:gd name="connsiteX62" fmla="*/ 106896 w 1313411"/>
                <a:gd name="connsiteY62" fmla="*/ 0 h 2124119"/>
                <a:gd name="connsiteX0" fmla="*/ 106896 w 1313411"/>
                <a:gd name="connsiteY0" fmla="*/ 0 h 2124119"/>
                <a:gd name="connsiteX1" fmla="*/ 83041 w 1313411"/>
                <a:gd name="connsiteY1" fmla="*/ 21908 h 2124119"/>
                <a:gd name="connsiteX2" fmla="*/ 99753 w 1313411"/>
                <a:gd name="connsiteY2" fmla="*/ 68104 h 2124119"/>
                <a:gd name="connsiteX3" fmla="*/ 94211 w 1313411"/>
                <a:gd name="connsiteY3" fmla="*/ 106897 h 2124119"/>
                <a:gd name="connsiteX4" fmla="*/ 72043 w 1313411"/>
                <a:gd name="connsiteY4" fmla="*/ 145689 h 2124119"/>
                <a:gd name="connsiteX5" fmla="*/ 83127 w 1313411"/>
                <a:gd name="connsiteY5" fmla="*/ 201108 h 2124119"/>
                <a:gd name="connsiteX6" fmla="*/ 0 w 1313411"/>
                <a:gd name="connsiteY6" fmla="*/ 262068 h 2124119"/>
                <a:gd name="connsiteX7" fmla="*/ 0 w 1313411"/>
                <a:gd name="connsiteY7" fmla="*/ 306402 h 2124119"/>
                <a:gd name="connsiteX8" fmla="*/ 38793 w 1313411"/>
                <a:gd name="connsiteY8" fmla="*/ 395071 h 2124119"/>
                <a:gd name="connsiteX9" fmla="*/ 38793 w 1313411"/>
                <a:gd name="connsiteY9" fmla="*/ 433864 h 2124119"/>
                <a:gd name="connsiteX10" fmla="*/ 22167 w 1313411"/>
                <a:gd name="connsiteY10" fmla="*/ 583493 h 2124119"/>
                <a:gd name="connsiteX11" fmla="*/ 49876 w 1313411"/>
                <a:gd name="connsiteY11" fmla="*/ 677704 h 2124119"/>
                <a:gd name="connsiteX12" fmla="*/ 77585 w 1313411"/>
                <a:gd name="connsiteY12" fmla="*/ 710955 h 2124119"/>
                <a:gd name="connsiteX13" fmla="*/ 83127 w 1313411"/>
                <a:gd name="connsiteY13" fmla="*/ 749748 h 2124119"/>
                <a:gd name="connsiteX14" fmla="*/ 72043 w 1313411"/>
                <a:gd name="connsiteY14" fmla="*/ 821791 h 2124119"/>
                <a:gd name="connsiteX15" fmla="*/ 121920 w 1313411"/>
                <a:gd name="connsiteY15" fmla="*/ 832875 h 2124119"/>
                <a:gd name="connsiteX16" fmla="*/ 144087 w 1313411"/>
                <a:gd name="connsiteY16" fmla="*/ 832875 h 2124119"/>
                <a:gd name="connsiteX17" fmla="*/ 166254 w 1313411"/>
                <a:gd name="connsiteY17" fmla="*/ 799624 h 2124119"/>
                <a:gd name="connsiteX18" fmla="*/ 182880 w 1313411"/>
                <a:gd name="connsiteY18" fmla="*/ 788540 h 2124119"/>
                <a:gd name="connsiteX19" fmla="*/ 193963 w 1313411"/>
                <a:gd name="connsiteY19" fmla="*/ 832875 h 2124119"/>
                <a:gd name="connsiteX20" fmla="*/ 188422 w 1313411"/>
                <a:gd name="connsiteY20" fmla="*/ 882751 h 2124119"/>
                <a:gd name="connsiteX21" fmla="*/ 182880 w 1313411"/>
                <a:gd name="connsiteY21" fmla="*/ 899377 h 2124119"/>
                <a:gd name="connsiteX22" fmla="*/ 149629 w 1313411"/>
                <a:gd name="connsiteY22" fmla="*/ 893835 h 2124119"/>
                <a:gd name="connsiteX23" fmla="*/ 133003 w 1313411"/>
                <a:gd name="connsiteY23" fmla="*/ 949253 h 2124119"/>
                <a:gd name="connsiteX24" fmla="*/ 144087 w 1313411"/>
                <a:gd name="connsiteY24" fmla="*/ 1004671 h 2124119"/>
                <a:gd name="connsiteX25" fmla="*/ 171796 w 1313411"/>
                <a:gd name="connsiteY25" fmla="*/ 1032380 h 2124119"/>
                <a:gd name="connsiteX26" fmla="*/ 205047 w 1313411"/>
                <a:gd name="connsiteY26" fmla="*/ 1071173 h 2124119"/>
                <a:gd name="connsiteX27" fmla="*/ 205047 w 1313411"/>
                <a:gd name="connsiteY27" fmla="*/ 1109966 h 2124119"/>
                <a:gd name="connsiteX28" fmla="*/ 182880 w 1313411"/>
                <a:gd name="connsiteY28" fmla="*/ 1126591 h 2124119"/>
                <a:gd name="connsiteX29" fmla="*/ 182880 w 1313411"/>
                <a:gd name="connsiteY29" fmla="*/ 1126591 h 2124119"/>
                <a:gd name="connsiteX30" fmla="*/ 238298 w 1313411"/>
                <a:gd name="connsiteY30" fmla="*/ 1237428 h 2124119"/>
                <a:gd name="connsiteX31" fmla="*/ 249382 w 1313411"/>
                <a:gd name="connsiteY31" fmla="*/ 1326097 h 2124119"/>
                <a:gd name="connsiteX32" fmla="*/ 282633 w 1313411"/>
                <a:gd name="connsiteY32" fmla="*/ 1348264 h 2124119"/>
                <a:gd name="connsiteX33" fmla="*/ 282633 w 1313411"/>
                <a:gd name="connsiteY33" fmla="*/ 1348264 h 2124119"/>
                <a:gd name="connsiteX34" fmla="*/ 304800 w 1313411"/>
                <a:gd name="connsiteY34" fmla="*/ 1398140 h 2124119"/>
                <a:gd name="connsiteX35" fmla="*/ 321425 w 1313411"/>
                <a:gd name="connsiteY35" fmla="*/ 1425849 h 2124119"/>
                <a:gd name="connsiteX36" fmla="*/ 326967 w 1313411"/>
                <a:gd name="connsiteY36" fmla="*/ 1470184 h 2124119"/>
                <a:gd name="connsiteX37" fmla="*/ 299258 w 1313411"/>
                <a:gd name="connsiteY37" fmla="*/ 1514519 h 2124119"/>
                <a:gd name="connsiteX38" fmla="*/ 315883 w 1313411"/>
                <a:gd name="connsiteY38" fmla="*/ 1553311 h 2124119"/>
                <a:gd name="connsiteX39" fmla="*/ 410094 w 1313411"/>
                <a:gd name="connsiteY39" fmla="*/ 1619813 h 2124119"/>
                <a:gd name="connsiteX40" fmla="*/ 459971 w 1313411"/>
                <a:gd name="connsiteY40" fmla="*/ 1630897 h 2124119"/>
                <a:gd name="connsiteX41" fmla="*/ 465513 w 1313411"/>
                <a:gd name="connsiteY41" fmla="*/ 1614271 h 2124119"/>
                <a:gd name="connsiteX42" fmla="*/ 465513 w 1313411"/>
                <a:gd name="connsiteY42" fmla="*/ 1614271 h 2124119"/>
                <a:gd name="connsiteX43" fmla="*/ 543098 w 1313411"/>
                <a:gd name="connsiteY43" fmla="*/ 1719566 h 2124119"/>
                <a:gd name="connsiteX44" fmla="*/ 604058 w 1313411"/>
                <a:gd name="connsiteY44" fmla="*/ 1741733 h 2124119"/>
                <a:gd name="connsiteX45" fmla="*/ 604058 w 1313411"/>
                <a:gd name="connsiteY45" fmla="*/ 1741733 h 2124119"/>
                <a:gd name="connsiteX46" fmla="*/ 642851 w 1313411"/>
                <a:gd name="connsiteY46" fmla="*/ 1802693 h 2124119"/>
                <a:gd name="connsiteX47" fmla="*/ 703811 w 1313411"/>
                <a:gd name="connsiteY47" fmla="*/ 1841486 h 2124119"/>
                <a:gd name="connsiteX48" fmla="*/ 775854 w 1313411"/>
                <a:gd name="connsiteY48" fmla="*/ 1930155 h 2124119"/>
                <a:gd name="connsiteX49" fmla="*/ 786938 w 1313411"/>
                <a:gd name="connsiteY49" fmla="*/ 2024366 h 2124119"/>
                <a:gd name="connsiteX50" fmla="*/ 803563 w 1313411"/>
                <a:gd name="connsiteY50" fmla="*/ 2057617 h 2124119"/>
                <a:gd name="connsiteX51" fmla="*/ 809105 w 1313411"/>
                <a:gd name="connsiteY51" fmla="*/ 2090868 h 2124119"/>
                <a:gd name="connsiteX52" fmla="*/ 1197033 w 1313411"/>
                <a:gd name="connsiteY52" fmla="*/ 2124119 h 2124119"/>
                <a:gd name="connsiteX53" fmla="*/ 1230283 w 1313411"/>
                <a:gd name="connsiteY53" fmla="*/ 2096409 h 2124119"/>
                <a:gd name="connsiteX54" fmla="*/ 1213658 w 1313411"/>
                <a:gd name="connsiteY54" fmla="*/ 2018824 h 2124119"/>
                <a:gd name="connsiteX55" fmla="*/ 1263534 w 1313411"/>
                <a:gd name="connsiteY55" fmla="*/ 1913529 h 2124119"/>
                <a:gd name="connsiteX56" fmla="*/ 1285702 w 1313411"/>
                <a:gd name="connsiteY56" fmla="*/ 1874737 h 2124119"/>
                <a:gd name="connsiteX57" fmla="*/ 1313411 w 1313411"/>
                <a:gd name="connsiteY57" fmla="*/ 1813777 h 2124119"/>
                <a:gd name="connsiteX58" fmla="*/ 1252451 w 1313411"/>
                <a:gd name="connsiteY58" fmla="*/ 1664148 h 2124119"/>
                <a:gd name="connsiteX59" fmla="*/ 576349 w 1313411"/>
                <a:gd name="connsiteY59" fmla="*/ 722039 h 2124119"/>
                <a:gd name="connsiteX60" fmla="*/ 696710 w 1313411"/>
                <a:gd name="connsiteY60" fmla="*/ 167813 h 2124119"/>
                <a:gd name="connsiteX61" fmla="*/ 256872 w 1313411"/>
                <a:gd name="connsiteY61" fmla="*/ 43339 h 2124119"/>
                <a:gd name="connsiteX62" fmla="*/ 106896 w 1313411"/>
                <a:gd name="connsiteY62" fmla="*/ 0 h 2124119"/>
                <a:gd name="connsiteX0" fmla="*/ 106896 w 1333018"/>
                <a:gd name="connsiteY0" fmla="*/ 0 h 2124119"/>
                <a:gd name="connsiteX1" fmla="*/ 83041 w 1333018"/>
                <a:gd name="connsiteY1" fmla="*/ 21908 h 2124119"/>
                <a:gd name="connsiteX2" fmla="*/ 99753 w 1333018"/>
                <a:gd name="connsiteY2" fmla="*/ 68104 h 2124119"/>
                <a:gd name="connsiteX3" fmla="*/ 94211 w 1333018"/>
                <a:gd name="connsiteY3" fmla="*/ 106897 h 2124119"/>
                <a:gd name="connsiteX4" fmla="*/ 72043 w 1333018"/>
                <a:gd name="connsiteY4" fmla="*/ 145689 h 2124119"/>
                <a:gd name="connsiteX5" fmla="*/ 83127 w 1333018"/>
                <a:gd name="connsiteY5" fmla="*/ 201108 h 2124119"/>
                <a:gd name="connsiteX6" fmla="*/ 0 w 1333018"/>
                <a:gd name="connsiteY6" fmla="*/ 262068 h 2124119"/>
                <a:gd name="connsiteX7" fmla="*/ 0 w 1333018"/>
                <a:gd name="connsiteY7" fmla="*/ 306402 h 2124119"/>
                <a:gd name="connsiteX8" fmla="*/ 38793 w 1333018"/>
                <a:gd name="connsiteY8" fmla="*/ 395071 h 2124119"/>
                <a:gd name="connsiteX9" fmla="*/ 38793 w 1333018"/>
                <a:gd name="connsiteY9" fmla="*/ 433864 h 2124119"/>
                <a:gd name="connsiteX10" fmla="*/ 22167 w 1333018"/>
                <a:gd name="connsiteY10" fmla="*/ 583493 h 2124119"/>
                <a:gd name="connsiteX11" fmla="*/ 49876 w 1333018"/>
                <a:gd name="connsiteY11" fmla="*/ 677704 h 2124119"/>
                <a:gd name="connsiteX12" fmla="*/ 77585 w 1333018"/>
                <a:gd name="connsiteY12" fmla="*/ 710955 h 2124119"/>
                <a:gd name="connsiteX13" fmla="*/ 83127 w 1333018"/>
                <a:gd name="connsiteY13" fmla="*/ 749748 h 2124119"/>
                <a:gd name="connsiteX14" fmla="*/ 72043 w 1333018"/>
                <a:gd name="connsiteY14" fmla="*/ 821791 h 2124119"/>
                <a:gd name="connsiteX15" fmla="*/ 121920 w 1333018"/>
                <a:gd name="connsiteY15" fmla="*/ 832875 h 2124119"/>
                <a:gd name="connsiteX16" fmla="*/ 144087 w 1333018"/>
                <a:gd name="connsiteY16" fmla="*/ 832875 h 2124119"/>
                <a:gd name="connsiteX17" fmla="*/ 166254 w 1333018"/>
                <a:gd name="connsiteY17" fmla="*/ 799624 h 2124119"/>
                <a:gd name="connsiteX18" fmla="*/ 182880 w 1333018"/>
                <a:gd name="connsiteY18" fmla="*/ 788540 h 2124119"/>
                <a:gd name="connsiteX19" fmla="*/ 193963 w 1333018"/>
                <a:gd name="connsiteY19" fmla="*/ 832875 h 2124119"/>
                <a:gd name="connsiteX20" fmla="*/ 188422 w 1333018"/>
                <a:gd name="connsiteY20" fmla="*/ 882751 h 2124119"/>
                <a:gd name="connsiteX21" fmla="*/ 182880 w 1333018"/>
                <a:gd name="connsiteY21" fmla="*/ 899377 h 2124119"/>
                <a:gd name="connsiteX22" fmla="*/ 149629 w 1333018"/>
                <a:gd name="connsiteY22" fmla="*/ 893835 h 2124119"/>
                <a:gd name="connsiteX23" fmla="*/ 133003 w 1333018"/>
                <a:gd name="connsiteY23" fmla="*/ 949253 h 2124119"/>
                <a:gd name="connsiteX24" fmla="*/ 144087 w 1333018"/>
                <a:gd name="connsiteY24" fmla="*/ 1004671 h 2124119"/>
                <a:gd name="connsiteX25" fmla="*/ 171796 w 1333018"/>
                <a:gd name="connsiteY25" fmla="*/ 1032380 h 2124119"/>
                <a:gd name="connsiteX26" fmla="*/ 205047 w 1333018"/>
                <a:gd name="connsiteY26" fmla="*/ 1071173 h 2124119"/>
                <a:gd name="connsiteX27" fmla="*/ 205047 w 1333018"/>
                <a:gd name="connsiteY27" fmla="*/ 1109966 h 2124119"/>
                <a:gd name="connsiteX28" fmla="*/ 182880 w 1333018"/>
                <a:gd name="connsiteY28" fmla="*/ 1126591 h 2124119"/>
                <a:gd name="connsiteX29" fmla="*/ 182880 w 1333018"/>
                <a:gd name="connsiteY29" fmla="*/ 1126591 h 2124119"/>
                <a:gd name="connsiteX30" fmla="*/ 238298 w 1333018"/>
                <a:gd name="connsiteY30" fmla="*/ 1237428 h 2124119"/>
                <a:gd name="connsiteX31" fmla="*/ 249382 w 1333018"/>
                <a:gd name="connsiteY31" fmla="*/ 1326097 h 2124119"/>
                <a:gd name="connsiteX32" fmla="*/ 282633 w 1333018"/>
                <a:gd name="connsiteY32" fmla="*/ 1348264 h 2124119"/>
                <a:gd name="connsiteX33" fmla="*/ 282633 w 1333018"/>
                <a:gd name="connsiteY33" fmla="*/ 1348264 h 2124119"/>
                <a:gd name="connsiteX34" fmla="*/ 304800 w 1333018"/>
                <a:gd name="connsiteY34" fmla="*/ 1398140 h 2124119"/>
                <a:gd name="connsiteX35" fmla="*/ 321425 w 1333018"/>
                <a:gd name="connsiteY35" fmla="*/ 1425849 h 2124119"/>
                <a:gd name="connsiteX36" fmla="*/ 326967 w 1333018"/>
                <a:gd name="connsiteY36" fmla="*/ 1470184 h 2124119"/>
                <a:gd name="connsiteX37" fmla="*/ 299258 w 1333018"/>
                <a:gd name="connsiteY37" fmla="*/ 1514519 h 2124119"/>
                <a:gd name="connsiteX38" fmla="*/ 315883 w 1333018"/>
                <a:gd name="connsiteY38" fmla="*/ 1553311 h 2124119"/>
                <a:gd name="connsiteX39" fmla="*/ 410094 w 1333018"/>
                <a:gd name="connsiteY39" fmla="*/ 1619813 h 2124119"/>
                <a:gd name="connsiteX40" fmla="*/ 459971 w 1333018"/>
                <a:gd name="connsiteY40" fmla="*/ 1630897 h 2124119"/>
                <a:gd name="connsiteX41" fmla="*/ 465513 w 1333018"/>
                <a:gd name="connsiteY41" fmla="*/ 1614271 h 2124119"/>
                <a:gd name="connsiteX42" fmla="*/ 465513 w 1333018"/>
                <a:gd name="connsiteY42" fmla="*/ 1614271 h 2124119"/>
                <a:gd name="connsiteX43" fmla="*/ 543098 w 1333018"/>
                <a:gd name="connsiteY43" fmla="*/ 1719566 h 2124119"/>
                <a:gd name="connsiteX44" fmla="*/ 604058 w 1333018"/>
                <a:gd name="connsiteY44" fmla="*/ 1741733 h 2124119"/>
                <a:gd name="connsiteX45" fmla="*/ 604058 w 1333018"/>
                <a:gd name="connsiteY45" fmla="*/ 1741733 h 2124119"/>
                <a:gd name="connsiteX46" fmla="*/ 642851 w 1333018"/>
                <a:gd name="connsiteY46" fmla="*/ 1802693 h 2124119"/>
                <a:gd name="connsiteX47" fmla="*/ 703811 w 1333018"/>
                <a:gd name="connsiteY47" fmla="*/ 1841486 h 2124119"/>
                <a:gd name="connsiteX48" fmla="*/ 775854 w 1333018"/>
                <a:gd name="connsiteY48" fmla="*/ 1930155 h 2124119"/>
                <a:gd name="connsiteX49" fmla="*/ 786938 w 1333018"/>
                <a:gd name="connsiteY49" fmla="*/ 2024366 h 2124119"/>
                <a:gd name="connsiteX50" fmla="*/ 803563 w 1333018"/>
                <a:gd name="connsiteY50" fmla="*/ 2057617 h 2124119"/>
                <a:gd name="connsiteX51" fmla="*/ 809105 w 1333018"/>
                <a:gd name="connsiteY51" fmla="*/ 2090868 h 2124119"/>
                <a:gd name="connsiteX52" fmla="*/ 1197033 w 1333018"/>
                <a:gd name="connsiteY52" fmla="*/ 2124119 h 2124119"/>
                <a:gd name="connsiteX53" fmla="*/ 1230283 w 1333018"/>
                <a:gd name="connsiteY53" fmla="*/ 2096409 h 2124119"/>
                <a:gd name="connsiteX54" fmla="*/ 1213658 w 1333018"/>
                <a:gd name="connsiteY54" fmla="*/ 2018824 h 2124119"/>
                <a:gd name="connsiteX55" fmla="*/ 1263534 w 1333018"/>
                <a:gd name="connsiteY55" fmla="*/ 1913529 h 2124119"/>
                <a:gd name="connsiteX56" fmla="*/ 1285702 w 1333018"/>
                <a:gd name="connsiteY56" fmla="*/ 1874737 h 2124119"/>
                <a:gd name="connsiteX57" fmla="*/ 1333018 w 1333018"/>
                <a:gd name="connsiteY57" fmla="*/ 1835246 h 2124119"/>
                <a:gd name="connsiteX58" fmla="*/ 1252451 w 1333018"/>
                <a:gd name="connsiteY58" fmla="*/ 1664148 h 2124119"/>
                <a:gd name="connsiteX59" fmla="*/ 576349 w 1333018"/>
                <a:gd name="connsiteY59" fmla="*/ 722039 h 2124119"/>
                <a:gd name="connsiteX60" fmla="*/ 696710 w 1333018"/>
                <a:gd name="connsiteY60" fmla="*/ 167813 h 2124119"/>
                <a:gd name="connsiteX61" fmla="*/ 256872 w 1333018"/>
                <a:gd name="connsiteY61" fmla="*/ 43339 h 2124119"/>
                <a:gd name="connsiteX62" fmla="*/ 106896 w 1333018"/>
                <a:gd name="connsiteY62" fmla="*/ 0 h 2124119"/>
                <a:gd name="connsiteX0" fmla="*/ 106896 w 1333018"/>
                <a:gd name="connsiteY0" fmla="*/ 0 h 2124119"/>
                <a:gd name="connsiteX1" fmla="*/ 83041 w 1333018"/>
                <a:gd name="connsiteY1" fmla="*/ 21908 h 2124119"/>
                <a:gd name="connsiteX2" fmla="*/ 99753 w 1333018"/>
                <a:gd name="connsiteY2" fmla="*/ 68104 h 2124119"/>
                <a:gd name="connsiteX3" fmla="*/ 94211 w 1333018"/>
                <a:gd name="connsiteY3" fmla="*/ 106897 h 2124119"/>
                <a:gd name="connsiteX4" fmla="*/ 72043 w 1333018"/>
                <a:gd name="connsiteY4" fmla="*/ 145689 h 2124119"/>
                <a:gd name="connsiteX5" fmla="*/ 83127 w 1333018"/>
                <a:gd name="connsiteY5" fmla="*/ 201108 h 2124119"/>
                <a:gd name="connsiteX6" fmla="*/ 0 w 1333018"/>
                <a:gd name="connsiteY6" fmla="*/ 262068 h 2124119"/>
                <a:gd name="connsiteX7" fmla="*/ 0 w 1333018"/>
                <a:gd name="connsiteY7" fmla="*/ 306402 h 2124119"/>
                <a:gd name="connsiteX8" fmla="*/ 38793 w 1333018"/>
                <a:gd name="connsiteY8" fmla="*/ 395071 h 2124119"/>
                <a:gd name="connsiteX9" fmla="*/ 38793 w 1333018"/>
                <a:gd name="connsiteY9" fmla="*/ 433864 h 2124119"/>
                <a:gd name="connsiteX10" fmla="*/ 22167 w 1333018"/>
                <a:gd name="connsiteY10" fmla="*/ 583493 h 2124119"/>
                <a:gd name="connsiteX11" fmla="*/ 49876 w 1333018"/>
                <a:gd name="connsiteY11" fmla="*/ 677704 h 2124119"/>
                <a:gd name="connsiteX12" fmla="*/ 77585 w 1333018"/>
                <a:gd name="connsiteY12" fmla="*/ 710955 h 2124119"/>
                <a:gd name="connsiteX13" fmla="*/ 83127 w 1333018"/>
                <a:gd name="connsiteY13" fmla="*/ 749748 h 2124119"/>
                <a:gd name="connsiteX14" fmla="*/ 72043 w 1333018"/>
                <a:gd name="connsiteY14" fmla="*/ 821791 h 2124119"/>
                <a:gd name="connsiteX15" fmla="*/ 121920 w 1333018"/>
                <a:gd name="connsiteY15" fmla="*/ 832875 h 2124119"/>
                <a:gd name="connsiteX16" fmla="*/ 144087 w 1333018"/>
                <a:gd name="connsiteY16" fmla="*/ 832875 h 2124119"/>
                <a:gd name="connsiteX17" fmla="*/ 166254 w 1333018"/>
                <a:gd name="connsiteY17" fmla="*/ 799624 h 2124119"/>
                <a:gd name="connsiteX18" fmla="*/ 182880 w 1333018"/>
                <a:gd name="connsiteY18" fmla="*/ 788540 h 2124119"/>
                <a:gd name="connsiteX19" fmla="*/ 193963 w 1333018"/>
                <a:gd name="connsiteY19" fmla="*/ 832875 h 2124119"/>
                <a:gd name="connsiteX20" fmla="*/ 188422 w 1333018"/>
                <a:gd name="connsiteY20" fmla="*/ 882751 h 2124119"/>
                <a:gd name="connsiteX21" fmla="*/ 182880 w 1333018"/>
                <a:gd name="connsiteY21" fmla="*/ 899377 h 2124119"/>
                <a:gd name="connsiteX22" fmla="*/ 149629 w 1333018"/>
                <a:gd name="connsiteY22" fmla="*/ 893835 h 2124119"/>
                <a:gd name="connsiteX23" fmla="*/ 133003 w 1333018"/>
                <a:gd name="connsiteY23" fmla="*/ 949253 h 2124119"/>
                <a:gd name="connsiteX24" fmla="*/ 144087 w 1333018"/>
                <a:gd name="connsiteY24" fmla="*/ 1004671 h 2124119"/>
                <a:gd name="connsiteX25" fmla="*/ 171796 w 1333018"/>
                <a:gd name="connsiteY25" fmla="*/ 1032380 h 2124119"/>
                <a:gd name="connsiteX26" fmla="*/ 205047 w 1333018"/>
                <a:gd name="connsiteY26" fmla="*/ 1071173 h 2124119"/>
                <a:gd name="connsiteX27" fmla="*/ 205047 w 1333018"/>
                <a:gd name="connsiteY27" fmla="*/ 1109966 h 2124119"/>
                <a:gd name="connsiteX28" fmla="*/ 182880 w 1333018"/>
                <a:gd name="connsiteY28" fmla="*/ 1126591 h 2124119"/>
                <a:gd name="connsiteX29" fmla="*/ 182880 w 1333018"/>
                <a:gd name="connsiteY29" fmla="*/ 1126591 h 2124119"/>
                <a:gd name="connsiteX30" fmla="*/ 238298 w 1333018"/>
                <a:gd name="connsiteY30" fmla="*/ 1237428 h 2124119"/>
                <a:gd name="connsiteX31" fmla="*/ 249382 w 1333018"/>
                <a:gd name="connsiteY31" fmla="*/ 1326097 h 2124119"/>
                <a:gd name="connsiteX32" fmla="*/ 282633 w 1333018"/>
                <a:gd name="connsiteY32" fmla="*/ 1348264 h 2124119"/>
                <a:gd name="connsiteX33" fmla="*/ 282633 w 1333018"/>
                <a:gd name="connsiteY33" fmla="*/ 1348264 h 2124119"/>
                <a:gd name="connsiteX34" fmla="*/ 304800 w 1333018"/>
                <a:gd name="connsiteY34" fmla="*/ 1398140 h 2124119"/>
                <a:gd name="connsiteX35" fmla="*/ 321425 w 1333018"/>
                <a:gd name="connsiteY35" fmla="*/ 1425849 h 2124119"/>
                <a:gd name="connsiteX36" fmla="*/ 326967 w 1333018"/>
                <a:gd name="connsiteY36" fmla="*/ 1470184 h 2124119"/>
                <a:gd name="connsiteX37" fmla="*/ 299258 w 1333018"/>
                <a:gd name="connsiteY37" fmla="*/ 1514519 h 2124119"/>
                <a:gd name="connsiteX38" fmla="*/ 315883 w 1333018"/>
                <a:gd name="connsiteY38" fmla="*/ 1553311 h 2124119"/>
                <a:gd name="connsiteX39" fmla="*/ 410094 w 1333018"/>
                <a:gd name="connsiteY39" fmla="*/ 1619813 h 2124119"/>
                <a:gd name="connsiteX40" fmla="*/ 459971 w 1333018"/>
                <a:gd name="connsiteY40" fmla="*/ 1630897 h 2124119"/>
                <a:gd name="connsiteX41" fmla="*/ 465513 w 1333018"/>
                <a:gd name="connsiteY41" fmla="*/ 1614271 h 2124119"/>
                <a:gd name="connsiteX42" fmla="*/ 465513 w 1333018"/>
                <a:gd name="connsiteY42" fmla="*/ 1614271 h 2124119"/>
                <a:gd name="connsiteX43" fmla="*/ 543098 w 1333018"/>
                <a:gd name="connsiteY43" fmla="*/ 1719566 h 2124119"/>
                <a:gd name="connsiteX44" fmla="*/ 604058 w 1333018"/>
                <a:gd name="connsiteY44" fmla="*/ 1741733 h 2124119"/>
                <a:gd name="connsiteX45" fmla="*/ 604058 w 1333018"/>
                <a:gd name="connsiteY45" fmla="*/ 1741733 h 2124119"/>
                <a:gd name="connsiteX46" fmla="*/ 642851 w 1333018"/>
                <a:gd name="connsiteY46" fmla="*/ 1802693 h 2124119"/>
                <a:gd name="connsiteX47" fmla="*/ 703811 w 1333018"/>
                <a:gd name="connsiteY47" fmla="*/ 1841486 h 2124119"/>
                <a:gd name="connsiteX48" fmla="*/ 775854 w 1333018"/>
                <a:gd name="connsiteY48" fmla="*/ 1930155 h 2124119"/>
                <a:gd name="connsiteX49" fmla="*/ 786938 w 1333018"/>
                <a:gd name="connsiteY49" fmla="*/ 2024366 h 2124119"/>
                <a:gd name="connsiteX50" fmla="*/ 803563 w 1333018"/>
                <a:gd name="connsiteY50" fmla="*/ 2057617 h 2124119"/>
                <a:gd name="connsiteX51" fmla="*/ 809105 w 1333018"/>
                <a:gd name="connsiteY51" fmla="*/ 2090868 h 2124119"/>
                <a:gd name="connsiteX52" fmla="*/ 1197033 w 1333018"/>
                <a:gd name="connsiteY52" fmla="*/ 2124119 h 2124119"/>
                <a:gd name="connsiteX53" fmla="*/ 1230283 w 1333018"/>
                <a:gd name="connsiteY53" fmla="*/ 2096409 h 2124119"/>
                <a:gd name="connsiteX54" fmla="*/ 1213658 w 1333018"/>
                <a:gd name="connsiteY54" fmla="*/ 2018824 h 2124119"/>
                <a:gd name="connsiteX55" fmla="*/ 1263534 w 1333018"/>
                <a:gd name="connsiteY55" fmla="*/ 1913529 h 2124119"/>
                <a:gd name="connsiteX56" fmla="*/ 1285702 w 1333018"/>
                <a:gd name="connsiteY56" fmla="*/ 1874737 h 2124119"/>
                <a:gd name="connsiteX57" fmla="*/ 1333018 w 1333018"/>
                <a:gd name="connsiteY57" fmla="*/ 1835246 h 2124119"/>
                <a:gd name="connsiteX58" fmla="*/ 1262504 w 1333018"/>
                <a:gd name="connsiteY58" fmla="*/ 1661801 h 2124119"/>
                <a:gd name="connsiteX59" fmla="*/ 576349 w 1333018"/>
                <a:gd name="connsiteY59" fmla="*/ 722039 h 2124119"/>
                <a:gd name="connsiteX60" fmla="*/ 696710 w 1333018"/>
                <a:gd name="connsiteY60" fmla="*/ 167813 h 2124119"/>
                <a:gd name="connsiteX61" fmla="*/ 256872 w 1333018"/>
                <a:gd name="connsiteY61" fmla="*/ 43339 h 2124119"/>
                <a:gd name="connsiteX62" fmla="*/ 106896 w 1333018"/>
                <a:gd name="connsiteY62" fmla="*/ 0 h 2124119"/>
                <a:gd name="connsiteX0" fmla="*/ 106896 w 1333018"/>
                <a:gd name="connsiteY0" fmla="*/ 0 h 2124119"/>
                <a:gd name="connsiteX1" fmla="*/ 83041 w 1333018"/>
                <a:gd name="connsiteY1" fmla="*/ 21908 h 2124119"/>
                <a:gd name="connsiteX2" fmla="*/ 99753 w 1333018"/>
                <a:gd name="connsiteY2" fmla="*/ 68104 h 2124119"/>
                <a:gd name="connsiteX3" fmla="*/ 94211 w 1333018"/>
                <a:gd name="connsiteY3" fmla="*/ 106897 h 2124119"/>
                <a:gd name="connsiteX4" fmla="*/ 72043 w 1333018"/>
                <a:gd name="connsiteY4" fmla="*/ 145689 h 2124119"/>
                <a:gd name="connsiteX5" fmla="*/ 83127 w 1333018"/>
                <a:gd name="connsiteY5" fmla="*/ 201108 h 2124119"/>
                <a:gd name="connsiteX6" fmla="*/ 0 w 1333018"/>
                <a:gd name="connsiteY6" fmla="*/ 262068 h 2124119"/>
                <a:gd name="connsiteX7" fmla="*/ 0 w 1333018"/>
                <a:gd name="connsiteY7" fmla="*/ 306402 h 2124119"/>
                <a:gd name="connsiteX8" fmla="*/ 38793 w 1333018"/>
                <a:gd name="connsiteY8" fmla="*/ 395071 h 2124119"/>
                <a:gd name="connsiteX9" fmla="*/ 38793 w 1333018"/>
                <a:gd name="connsiteY9" fmla="*/ 433864 h 2124119"/>
                <a:gd name="connsiteX10" fmla="*/ 22167 w 1333018"/>
                <a:gd name="connsiteY10" fmla="*/ 583493 h 2124119"/>
                <a:gd name="connsiteX11" fmla="*/ 49876 w 1333018"/>
                <a:gd name="connsiteY11" fmla="*/ 677704 h 2124119"/>
                <a:gd name="connsiteX12" fmla="*/ 77585 w 1333018"/>
                <a:gd name="connsiteY12" fmla="*/ 710955 h 2124119"/>
                <a:gd name="connsiteX13" fmla="*/ 83127 w 1333018"/>
                <a:gd name="connsiteY13" fmla="*/ 749748 h 2124119"/>
                <a:gd name="connsiteX14" fmla="*/ 72043 w 1333018"/>
                <a:gd name="connsiteY14" fmla="*/ 821791 h 2124119"/>
                <a:gd name="connsiteX15" fmla="*/ 121920 w 1333018"/>
                <a:gd name="connsiteY15" fmla="*/ 832875 h 2124119"/>
                <a:gd name="connsiteX16" fmla="*/ 144087 w 1333018"/>
                <a:gd name="connsiteY16" fmla="*/ 832875 h 2124119"/>
                <a:gd name="connsiteX17" fmla="*/ 166254 w 1333018"/>
                <a:gd name="connsiteY17" fmla="*/ 799624 h 2124119"/>
                <a:gd name="connsiteX18" fmla="*/ 182880 w 1333018"/>
                <a:gd name="connsiteY18" fmla="*/ 788540 h 2124119"/>
                <a:gd name="connsiteX19" fmla="*/ 193963 w 1333018"/>
                <a:gd name="connsiteY19" fmla="*/ 832875 h 2124119"/>
                <a:gd name="connsiteX20" fmla="*/ 188422 w 1333018"/>
                <a:gd name="connsiteY20" fmla="*/ 882751 h 2124119"/>
                <a:gd name="connsiteX21" fmla="*/ 182880 w 1333018"/>
                <a:gd name="connsiteY21" fmla="*/ 899377 h 2124119"/>
                <a:gd name="connsiteX22" fmla="*/ 149629 w 1333018"/>
                <a:gd name="connsiteY22" fmla="*/ 893835 h 2124119"/>
                <a:gd name="connsiteX23" fmla="*/ 133003 w 1333018"/>
                <a:gd name="connsiteY23" fmla="*/ 949253 h 2124119"/>
                <a:gd name="connsiteX24" fmla="*/ 144087 w 1333018"/>
                <a:gd name="connsiteY24" fmla="*/ 1004671 h 2124119"/>
                <a:gd name="connsiteX25" fmla="*/ 171796 w 1333018"/>
                <a:gd name="connsiteY25" fmla="*/ 1032380 h 2124119"/>
                <a:gd name="connsiteX26" fmla="*/ 205047 w 1333018"/>
                <a:gd name="connsiteY26" fmla="*/ 1071173 h 2124119"/>
                <a:gd name="connsiteX27" fmla="*/ 205047 w 1333018"/>
                <a:gd name="connsiteY27" fmla="*/ 1109966 h 2124119"/>
                <a:gd name="connsiteX28" fmla="*/ 182880 w 1333018"/>
                <a:gd name="connsiteY28" fmla="*/ 1126591 h 2124119"/>
                <a:gd name="connsiteX29" fmla="*/ 182880 w 1333018"/>
                <a:gd name="connsiteY29" fmla="*/ 1126591 h 2124119"/>
                <a:gd name="connsiteX30" fmla="*/ 238298 w 1333018"/>
                <a:gd name="connsiteY30" fmla="*/ 1237428 h 2124119"/>
                <a:gd name="connsiteX31" fmla="*/ 249382 w 1333018"/>
                <a:gd name="connsiteY31" fmla="*/ 1326097 h 2124119"/>
                <a:gd name="connsiteX32" fmla="*/ 282633 w 1333018"/>
                <a:gd name="connsiteY32" fmla="*/ 1348264 h 2124119"/>
                <a:gd name="connsiteX33" fmla="*/ 282633 w 1333018"/>
                <a:gd name="connsiteY33" fmla="*/ 1348264 h 2124119"/>
                <a:gd name="connsiteX34" fmla="*/ 304800 w 1333018"/>
                <a:gd name="connsiteY34" fmla="*/ 1398140 h 2124119"/>
                <a:gd name="connsiteX35" fmla="*/ 321425 w 1333018"/>
                <a:gd name="connsiteY35" fmla="*/ 1425849 h 2124119"/>
                <a:gd name="connsiteX36" fmla="*/ 326967 w 1333018"/>
                <a:gd name="connsiteY36" fmla="*/ 1470184 h 2124119"/>
                <a:gd name="connsiteX37" fmla="*/ 299258 w 1333018"/>
                <a:gd name="connsiteY37" fmla="*/ 1514519 h 2124119"/>
                <a:gd name="connsiteX38" fmla="*/ 315883 w 1333018"/>
                <a:gd name="connsiteY38" fmla="*/ 1553311 h 2124119"/>
                <a:gd name="connsiteX39" fmla="*/ 410094 w 1333018"/>
                <a:gd name="connsiteY39" fmla="*/ 1619813 h 2124119"/>
                <a:gd name="connsiteX40" fmla="*/ 459971 w 1333018"/>
                <a:gd name="connsiteY40" fmla="*/ 1630897 h 2124119"/>
                <a:gd name="connsiteX41" fmla="*/ 465513 w 1333018"/>
                <a:gd name="connsiteY41" fmla="*/ 1614271 h 2124119"/>
                <a:gd name="connsiteX42" fmla="*/ 465513 w 1333018"/>
                <a:gd name="connsiteY42" fmla="*/ 1614271 h 2124119"/>
                <a:gd name="connsiteX43" fmla="*/ 543098 w 1333018"/>
                <a:gd name="connsiteY43" fmla="*/ 1719566 h 2124119"/>
                <a:gd name="connsiteX44" fmla="*/ 604058 w 1333018"/>
                <a:gd name="connsiteY44" fmla="*/ 1741733 h 2124119"/>
                <a:gd name="connsiteX45" fmla="*/ 604058 w 1333018"/>
                <a:gd name="connsiteY45" fmla="*/ 1741733 h 2124119"/>
                <a:gd name="connsiteX46" fmla="*/ 642851 w 1333018"/>
                <a:gd name="connsiteY46" fmla="*/ 1802693 h 2124119"/>
                <a:gd name="connsiteX47" fmla="*/ 703811 w 1333018"/>
                <a:gd name="connsiteY47" fmla="*/ 1841486 h 2124119"/>
                <a:gd name="connsiteX48" fmla="*/ 775854 w 1333018"/>
                <a:gd name="connsiteY48" fmla="*/ 1930155 h 2124119"/>
                <a:gd name="connsiteX49" fmla="*/ 786938 w 1333018"/>
                <a:gd name="connsiteY49" fmla="*/ 2024366 h 2124119"/>
                <a:gd name="connsiteX50" fmla="*/ 803563 w 1333018"/>
                <a:gd name="connsiteY50" fmla="*/ 2057617 h 2124119"/>
                <a:gd name="connsiteX51" fmla="*/ 809105 w 1333018"/>
                <a:gd name="connsiteY51" fmla="*/ 2090868 h 2124119"/>
                <a:gd name="connsiteX52" fmla="*/ 1197033 w 1333018"/>
                <a:gd name="connsiteY52" fmla="*/ 2124119 h 2124119"/>
                <a:gd name="connsiteX53" fmla="*/ 1230283 w 1333018"/>
                <a:gd name="connsiteY53" fmla="*/ 2096409 h 2124119"/>
                <a:gd name="connsiteX54" fmla="*/ 1213658 w 1333018"/>
                <a:gd name="connsiteY54" fmla="*/ 2018824 h 2124119"/>
                <a:gd name="connsiteX55" fmla="*/ 1264062 w 1333018"/>
                <a:gd name="connsiteY55" fmla="*/ 1946907 h 2124119"/>
                <a:gd name="connsiteX56" fmla="*/ 1285702 w 1333018"/>
                <a:gd name="connsiteY56" fmla="*/ 1874737 h 2124119"/>
                <a:gd name="connsiteX57" fmla="*/ 1333018 w 1333018"/>
                <a:gd name="connsiteY57" fmla="*/ 1835246 h 2124119"/>
                <a:gd name="connsiteX58" fmla="*/ 1262504 w 1333018"/>
                <a:gd name="connsiteY58" fmla="*/ 1661801 h 2124119"/>
                <a:gd name="connsiteX59" fmla="*/ 576349 w 1333018"/>
                <a:gd name="connsiteY59" fmla="*/ 722039 h 2124119"/>
                <a:gd name="connsiteX60" fmla="*/ 696710 w 1333018"/>
                <a:gd name="connsiteY60" fmla="*/ 167813 h 2124119"/>
                <a:gd name="connsiteX61" fmla="*/ 256872 w 1333018"/>
                <a:gd name="connsiteY61" fmla="*/ 43339 h 2124119"/>
                <a:gd name="connsiteX62" fmla="*/ 106896 w 1333018"/>
                <a:gd name="connsiteY62" fmla="*/ 0 h 2124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333018" h="2124119">
                  <a:moveTo>
                    <a:pt x="106896" y="0"/>
                  </a:moveTo>
                  <a:lnTo>
                    <a:pt x="83041" y="21908"/>
                  </a:lnTo>
                  <a:lnTo>
                    <a:pt x="99753" y="68104"/>
                  </a:lnTo>
                  <a:lnTo>
                    <a:pt x="94211" y="106897"/>
                  </a:lnTo>
                  <a:lnTo>
                    <a:pt x="72043" y="145689"/>
                  </a:lnTo>
                  <a:lnTo>
                    <a:pt x="83127" y="201108"/>
                  </a:lnTo>
                  <a:lnTo>
                    <a:pt x="0" y="262068"/>
                  </a:lnTo>
                  <a:lnTo>
                    <a:pt x="0" y="306402"/>
                  </a:lnTo>
                  <a:lnTo>
                    <a:pt x="38793" y="395071"/>
                  </a:lnTo>
                  <a:lnTo>
                    <a:pt x="38793" y="433864"/>
                  </a:lnTo>
                  <a:lnTo>
                    <a:pt x="22167" y="583493"/>
                  </a:lnTo>
                  <a:lnTo>
                    <a:pt x="49876" y="677704"/>
                  </a:lnTo>
                  <a:lnTo>
                    <a:pt x="77585" y="710955"/>
                  </a:lnTo>
                  <a:lnTo>
                    <a:pt x="83127" y="749748"/>
                  </a:lnTo>
                  <a:lnTo>
                    <a:pt x="72043" y="821791"/>
                  </a:lnTo>
                  <a:lnTo>
                    <a:pt x="121920" y="832875"/>
                  </a:lnTo>
                  <a:lnTo>
                    <a:pt x="144087" y="832875"/>
                  </a:lnTo>
                  <a:lnTo>
                    <a:pt x="166254" y="799624"/>
                  </a:lnTo>
                  <a:lnTo>
                    <a:pt x="182880" y="788540"/>
                  </a:lnTo>
                  <a:lnTo>
                    <a:pt x="193963" y="832875"/>
                  </a:lnTo>
                  <a:lnTo>
                    <a:pt x="188422" y="882751"/>
                  </a:lnTo>
                  <a:lnTo>
                    <a:pt x="182880" y="899377"/>
                  </a:lnTo>
                  <a:lnTo>
                    <a:pt x="149629" y="893835"/>
                  </a:lnTo>
                  <a:lnTo>
                    <a:pt x="133003" y="949253"/>
                  </a:lnTo>
                  <a:lnTo>
                    <a:pt x="144087" y="1004671"/>
                  </a:lnTo>
                  <a:lnTo>
                    <a:pt x="171796" y="1032380"/>
                  </a:lnTo>
                  <a:lnTo>
                    <a:pt x="205047" y="1071173"/>
                  </a:lnTo>
                  <a:lnTo>
                    <a:pt x="205047" y="1109966"/>
                  </a:lnTo>
                  <a:lnTo>
                    <a:pt x="182880" y="1126591"/>
                  </a:lnTo>
                  <a:lnTo>
                    <a:pt x="182880" y="1126591"/>
                  </a:lnTo>
                  <a:lnTo>
                    <a:pt x="238298" y="1237428"/>
                  </a:lnTo>
                  <a:lnTo>
                    <a:pt x="249382" y="1326097"/>
                  </a:lnTo>
                  <a:lnTo>
                    <a:pt x="282633" y="1348264"/>
                  </a:lnTo>
                  <a:lnTo>
                    <a:pt x="282633" y="1348264"/>
                  </a:lnTo>
                  <a:lnTo>
                    <a:pt x="304800" y="1398140"/>
                  </a:lnTo>
                  <a:lnTo>
                    <a:pt x="321425" y="1425849"/>
                  </a:lnTo>
                  <a:lnTo>
                    <a:pt x="326967" y="1470184"/>
                  </a:lnTo>
                  <a:lnTo>
                    <a:pt x="299258" y="1514519"/>
                  </a:lnTo>
                  <a:lnTo>
                    <a:pt x="315883" y="1553311"/>
                  </a:lnTo>
                  <a:lnTo>
                    <a:pt x="410094" y="1619813"/>
                  </a:lnTo>
                  <a:lnTo>
                    <a:pt x="459971" y="1630897"/>
                  </a:lnTo>
                  <a:lnTo>
                    <a:pt x="465513" y="1614271"/>
                  </a:lnTo>
                  <a:lnTo>
                    <a:pt x="465513" y="1614271"/>
                  </a:lnTo>
                  <a:lnTo>
                    <a:pt x="543098" y="1719566"/>
                  </a:lnTo>
                  <a:lnTo>
                    <a:pt x="604058" y="1741733"/>
                  </a:lnTo>
                  <a:lnTo>
                    <a:pt x="604058" y="1741733"/>
                  </a:lnTo>
                  <a:lnTo>
                    <a:pt x="642851" y="1802693"/>
                  </a:lnTo>
                  <a:lnTo>
                    <a:pt x="703811" y="1841486"/>
                  </a:lnTo>
                  <a:lnTo>
                    <a:pt x="775854" y="1930155"/>
                  </a:lnTo>
                  <a:lnTo>
                    <a:pt x="786938" y="2024366"/>
                  </a:lnTo>
                  <a:lnTo>
                    <a:pt x="803563" y="2057617"/>
                  </a:lnTo>
                  <a:lnTo>
                    <a:pt x="809105" y="2090868"/>
                  </a:lnTo>
                  <a:lnTo>
                    <a:pt x="1197033" y="2124119"/>
                  </a:lnTo>
                  <a:lnTo>
                    <a:pt x="1230283" y="2096409"/>
                  </a:lnTo>
                  <a:lnTo>
                    <a:pt x="1213658" y="2018824"/>
                  </a:lnTo>
                  <a:lnTo>
                    <a:pt x="1264062" y="1946907"/>
                  </a:lnTo>
                  <a:lnTo>
                    <a:pt x="1285702" y="1874737"/>
                  </a:lnTo>
                  <a:lnTo>
                    <a:pt x="1333018" y="1835246"/>
                  </a:lnTo>
                  <a:lnTo>
                    <a:pt x="1262504" y="1661801"/>
                  </a:lnTo>
                  <a:lnTo>
                    <a:pt x="576349" y="722039"/>
                  </a:lnTo>
                  <a:lnTo>
                    <a:pt x="696710" y="167813"/>
                  </a:lnTo>
                  <a:lnTo>
                    <a:pt x="256872" y="43339"/>
                  </a:lnTo>
                  <a:lnTo>
                    <a:pt x="10689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0" name="Freeform 119"/>
            <p:cNvSpPr/>
            <p:nvPr/>
          </p:nvSpPr>
          <p:spPr>
            <a:xfrm>
              <a:off x="3373273" y="3941208"/>
              <a:ext cx="556010" cy="458141"/>
            </a:xfrm>
            <a:custGeom>
              <a:avLst/>
              <a:gdLst>
                <a:gd name="connsiteX0" fmla="*/ 0 w 883066"/>
                <a:gd name="connsiteY0" fmla="*/ 62670 h 774819"/>
                <a:gd name="connsiteX1" fmla="*/ 14243 w 883066"/>
                <a:gd name="connsiteY1" fmla="*/ 188008 h 774819"/>
                <a:gd name="connsiteX2" fmla="*/ 17092 w 883066"/>
                <a:gd name="connsiteY2" fmla="*/ 253526 h 774819"/>
                <a:gd name="connsiteX3" fmla="*/ 39881 w 883066"/>
                <a:gd name="connsiteY3" fmla="*/ 313346 h 774819"/>
                <a:gd name="connsiteX4" fmla="*/ 76912 w 883066"/>
                <a:gd name="connsiteY4" fmla="*/ 361772 h 774819"/>
                <a:gd name="connsiteX5" fmla="*/ 108247 w 883066"/>
                <a:gd name="connsiteY5" fmla="*/ 450079 h 774819"/>
                <a:gd name="connsiteX6" fmla="*/ 79761 w 883066"/>
                <a:gd name="connsiteY6" fmla="*/ 526991 h 774819"/>
                <a:gd name="connsiteX7" fmla="*/ 82610 w 883066"/>
                <a:gd name="connsiteY7" fmla="*/ 561174 h 774819"/>
                <a:gd name="connsiteX8" fmla="*/ 102550 w 883066"/>
                <a:gd name="connsiteY8" fmla="*/ 615298 h 774819"/>
                <a:gd name="connsiteX9" fmla="*/ 94004 w 883066"/>
                <a:gd name="connsiteY9" fmla="*/ 697907 h 774819"/>
                <a:gd name="connsiteX10" fmla="*/ 136733 w 883066"/>
                <a:gd name="connsiteY10" fmla="*/ 686513 h 774819"/>
                <a:gd name="connsiteX11" fmla="*/ 182311 w 883066"/>
                <a:gd name="connsiteY11" fmla="*/ 669421 h 774819"/>
                <a:gd name="connsiteX12" fmla="*/ 236434 w 883066"/>
                <a:gd name="connsiteY12" fmla="*/ 677967 h 774819"/>
                <a:gd name="connsiteX13" fmla="*/ 296254 w 883066"/>
                <a:gd name="connsiteY13" fmla="*/ 703604 h 774819"/>
                <a:gd name="connsiteX14" fmla="*/ 358924 w 883066"/>
                <a:gd name="connsiteY14" fmla="*/ 703604 h 774819"/>
                <a:gd name="connsiteX15" fmla="*/ 361772 w 883066"/>
                <a:gd name="connsiteY15" fmla="*/ 660875 h 774819"/>
                <a:gd name="connsiteX16" fmla="*/ 387410 w 883066"/>
                <a:gd name="connsiteY16" fmla="*/ 646632 h 774819"/>
                <a:gd name="connsiteX17" fmla="*/ 424441 w 883066"/>
                <a:gd name="connsiteY17" fmla="*/ 649481 h 774819"/>
                <a:gd name="connsiteX18" fmla="*/ 447230 w 883066"/>
                <a:gd name="connsiteY18" fmla="*/ 658027 h 774819"/>
                <a:gd name="connsiteX19" fmla="*/ 492808 w 883066"/>
                <a:gd name="connsiteY19" fmla="*/ 692210 h 774819"/>
                <a:gd name="connsiteX20" fmla="*/ 501354 w 883066"/>
                <a:gd name="connsiteY20" fmla="*/ 649481 h 774819"/>
                <a:gd name="connsiteX21" fmla="*/ 467170 w 883066"/>
                <a:gd name="connsiteY21" fmla="*/ 612449 h 774819"/>
                <a:gd name="connsiteX22" fmla="*/ 458625 w 883066"/>
                <a:gd name="connsiteY22" fmla="*/ 595357 h 774819"/>
                <a:gd name="connsiteX23" fmla="*/ 472868 w 883066"/>
                <a:gd name="connsiteY23" fmla="*/ 589660 h 774819"/>
                <a:gd name="connsiteX24" fmla="*/ 492808 w 883066"/>
                <a:gd name="connsiteY24" fmla="*/ 592509 h 774819"/>
                <a:gd name="connsiteX25" fmla="*/ 535537 w 883066"/>
                <a:gd name="connsiteY25" fmla="*/ 643784 h 774819"/>
                <a:gd name="connsiteX26" fmla="*/ 524142 w 883066"/>
                <a:gd name="connsiteY26" fmla="*/ 675118 h 774819"/>
                <a:gd name="connsiteX27" fmla="*/ 529840 w 883066"/>
                <a:gd name="connsiteY27" fmla="*/ 746333 h 774819"/>
                <a:gd name="connsiteX28" fmla="*/ 589660 w 883066"/>
                <a:gd name="connsiteY28" fmla="*/ 774819 h 774819"/>
                <a:gd name="connsiteX29" fmla="*/ 620995 w 883066"/>
                <a:gd name="connsiteY29" fmla="*/ 732090 h 774819"/>
                <a:gd name="connsiteX30" fmla="*/ 683664 w 883066"/>
                <a:gd name="connsiteY30" fmla="*/ 746333 h 774819"/>
                <a:gd name="connsiteX31" fmla="*/ 709301 w 883066"/>
                <a:gd name="connsiteY31" fmla="*/ 717847 h 774819"/>
                <a:gd name="connsiteX32" fmla="*/ 700755 w 883066"/>
                <a:gd name="connsiteY32" fmla="*/ 663724 h 774819"/>
                <a:gd name="connsiteX33" fmla="*/ 680815 w 883066"/>
                <a:gd name="connsiteY33" fmla="*/ 640935 h 774819"/>
                <a:gd name="connsiteX34" fmla="*/ 683664 w 883066"/>
                <a:gd name="connsiteY34" fmla="*/ 618146 h 774819"/>
                <a:gd name="connsiteX35" fmla="*/ 734939 w 883066"/>
                <a:gd name="connsiteY35" fmla="*/ 646632 h 774819"/>
                <a:gd name="connsiteX36" fmla="*/ 757727 w 883066"/>
                <a:gd name="connsiteY36" fmla="*/ 683664 h 774819"/>
                <a:gd name="connsiteX37" fmla="*/ 803305 w 883066"/>
                <a:gd name="connsiteY37" fmla="*/ 695058 h 774819"/>
                <a:gd name="connsiteX38" fmla="*/ 848883 w 883066"/>
                <a:gd name="connsiteY38" fmla="*/ 734939 h 774819"/>
                <a:gd name="connsiteX39" fmla="*/ 883066 w 883066"/>
                <a:gd name="connsiteY39" fmla="*/ 714999 h 774819"/>
                <a:gd name="connsiteX40" fmla="*/ 883066 w 883066"/>
                <a:gd name="connsiteY40" fmla="*/ 689361 h 774819"/>
                <a:gd name="connsiteX41" fmla="*/ 846034 w 883066"/>
                <a:gd name="connsiteY41" fmla="*/ 646632 h 774819"/>
                <a:gd name="connsiteX42" fmla="*/ 817548 w 883066"/>
                <a:gd name="connsiteY42" fmla="*/ 632389 h 774819"/>
                <a:gd name="connsiteX43" fmla="*/ 791911 w 883066"/>
                <a:gd name="connsiteY43" fmla="*/ 609600 h 774819"/>
                <a:gd name="connsiteX44" fmla="*/ 803305 w 883066"/>
                <a:gd name="connsiteY44" fmla="*/ 586812 h 774819"/>
                <a:gd name="connsiteX45" fmla="*/ 817548 w 883066"/>
                <a:gd name="connsiteY45" fmla="*/ 583963 h 774819"/>
                <a:gd name="connsiteX46" fmla="*/ 837488 w 883066"/>
                <a:gd name="connsiteY46" fmla="*/ 583963 h 774819"/>
                <a:gd name="connsiteX47" fmla="*/ 848883 w 883066"/>
                <a:gd name="connsiteY47" fmla="*/ 555477 h 774819"/>
                <a:gd name="connsiteX48" fmla="*/ 846034 w 883066"/>
                <a:gd name="connsiteY48" fmla="*/ 541234 h 774819"/>
                <a:gd name="connsiteX49" fmla="*/ 806154 w 883066"/>
                <a:gd name="connsiteY49" fmla="*/ 529840 h 774819"/>
                <a:gd name="connsiteX50" fmla="*/ 771970 w 883066"/>
                <a:gd name="connsiteY50" fmla="*/ 555477 h 774819"/>
                <a:gd name="connsiteX51" fmla="*/ 752030 w 883066"/>
                <a:gd name="connsiteY51" fmla="*/ 544083 h 774819"/>
                <a:gd name="connsiteX52" fmla="*/ 740636 w 883066"/>
                <a:gd name="connsiteY52" fmla="*/ 515597 h 774819"/>
                <a:gd name="connsiteX53" fmla="*/ 709301 w 883066"/>
                <a:gd name="connsiteY53" fmla="*/ 518445 h 774819"/>
                <a:gd name="connsiteX54" fmla="*/ 712150 w 883066"/>
                <a:gd name="connsiteY54" fmla="*/ 546931 h 774819"/>
                <a:gd name="connsiteX55" fmla="*/ 675118 w 883066"/>
                <a:gd name="connsiteY55" fmla="*/ 566872 h 774819"/>
                <a:gd name="connsiteX56" fmla="*/ 655178 w 883066"/>
                <a:gd name="connsiteY56" fmla="*/ 566872 h 774819"/>
                <a:gd name="connsiteX57" fmla="*/ 632389 w 883066"/>
                <a:gd name="connsiteY57" fmla="*/ 558326 h 774819"/>
                <a:gd name="connsiteX58" fmla="*/ 635238 w 883066"/>
                <a:gd name="connsiteY58" fmla="*/ 529840 h 774819"/>
                <a:gd name="connsiteX59" fmla="*/ 603903 w 883066"/>
                <a:gd name="connsiteY59" fmla="*/ 498505 h 774819"/>
                <a:gd name="connsiteX60" fmla="*/ 620995 w 883066"/>
                <a:gd name="connsiteY60" fmla="*/ 487111 h 774819"/>
                <a:gd name="connsiteX61" fmla="*/ 660875 w 883066"/>
                <a:gd name="connsiteY61" fmla="*/ 492808 h 774819"/>
                <a:gd name="connsiteX62" fmla="*/ 683664 w 883066"/>
                <a:gd name="connsiteY62" fmla="*/ 472868 h 774819"/>
                <a:gd name="connsiteX63" fmla="*/ 729241 w 883066"/>
                <a:gd name="connsiteY63" fmla="*/ 487111 h 774819"/>
                <a:gd name="connsiteX64" fmla="*/ 729241 w 883066"/>
                <a:gd name="connsiteY64" fmla="*/ 487111 h 774819"/>
                <a:gd name="connsiteX65" fmla="*/ 766273 w 883066"/>
                <a:gd name="connsiteY65" fmla="*/ 495657 h 774819"/>
                <a:gd name="connsiteX66" fmla="*/ 766273 w 883066"/>
                <a:gd name="connsiteY66" fmla="*/ 455776 h 774819"/>
                <a:gd name="connsiteX67" fmla="*/ 734939 w 883066"/>
                <a:gd name="connsiteY67" fmla="*/ 444382 h 774819"/>
                <a:gd name="connsiteX68" fmla="*/ 734939 w 883066"/>
                <a:gd name="connsiteY68" fmla="*/ 378864 h 774819"/>
                <a:gd name="connsiteX69" fmla="*/ 723544 w 883066"/>
                <a:gd name="connsiteY69" fmla="*/ 356075 h 774819"/>
                <a:gd name="connsiteX70" fmla="*/ 438684 w 883066"/>
                <a:gd name="connsiteY70" fmla="*/ 381713 h 774819"/>
                <a:gd name="connsiteX71" fmla="*/ 444382 w 883066"/>
                <a:gd name="connsiteY71" fmla="*/ 273466 h 774819"/>
                <a:gd name="connsiteX72" fmla="*/ 492808 w 883066"/>
                <a:gd name="connsiteY72" fmla="*/ 202251 h 774819"/>
                <a:gd name="connsiteX73" fmla="*/ 481413 w 883066"/>
                <a:gd name="connsiteY73" fmla="*/ 150976 h 774819"/>
                <a:gd name="connsiteX74" fmla="*/ 495656 w 883066"/>
                <a:gd name="connsiteY74" fmla="*/ 119642 h 774819"/>
                <a:gd name="connsiteX75" fmla="*/ 475716 w 883066"/>
                <a:gd name="connsiteY75" fmla="*/ 0 h 774819"/>
                <a:gd name="connsiteX76" fmla="*/ 0 w 883066"/>
                <a:gd name="connsiteY76" fmla="*/ 62670 h 774819"/>
                <a:gd name="connsiteX0" fmla="*/ 0 w 883066"/>
                <a:gd name="connsiteY0" fmla="*/ 62670 h 774819"/>
                <a:gd name="connsiteX1" fmla="*/ 14243 w 883066"/>
                <a:gd name="connsiteY1" fmla="*/ 188008 h 774819"/>
                <a:gd name="connsiteX2" fmla="*/ 17092 w 883066"/>
                <a:gd name="connsiteY2" fmla="*/ 253526 h 774819"/>
                <a:gd name="connsiteX3" fmla="*/ 39881 w 883066"/>
                <a:gd name="connsiteY3" fmla="*/ 313346 h 774819"/>
                <a:gd name="connsiteX4" fmla="*/ 76912 w 883066"/>
                <a:gd name="connsiteY4" fmla="*/ 361772 h 774819"/>
                <a:gd name="connsiteX5" fmla="*/ 108247 w 883066"/>
                <a:gd name="connsiteY5" fmla="*/ 450079 h 774819"/>
                <a:gd name="connsiteX6" fmla="*/ 79761 w 883066"/>
                <a:gd name="connsiteY6" fmla="*/ 526991 h 774819"/>
                <a:gd name="connsiteX7" fmla="*/ 82610 w 883066"/>
                <a:gd name="connsiteY7" fmla="*/ 561174 h 774819"/>
                <a:gd name="connsiteX8" fmla="*/ 102550 w 883066"/>
                <a:gd name="connsiteY8" fmla="*/ 615298 h 774819"/>
                <a:gd name="connsiteX9" fmla="*/ 94004 w 883066"/>
                <a:gd name="connsiteY9" fmla="*/ 697907 h 774819"/>
                <a:gd name="connsiteX10" fmla="*/ 84178 w 883066"/>
                <a:gd name="connsiteY10" fmla="*/ 697179 h 774819"/>
                <a:gd name="connsiteX11" fmla="*/ 136733 w 883066"/>
                <a:gd name="connsiteY11" fmla="*/ 686513 h 774819"/>
                <a:gd name="connsiteX12" fmla="*/ 182311 w 883066"/>
                <a:gd name="connsiteY12" fmla="*/ 669421 h 774819"/>
                <a:gd name="connsiteX13" fmla="*/ 236434 w 883066"/>
                <a:gd name="connsiteY13" fmla="*/ 677967 h 774819"/>
                <a:gd name="connsiteX14" fmla="*/ 296254 w 883066"/>
                <a:gd name="connsiteY14" fmla="*/ 703604 h 774819"/>
                <a:gd name="connsiteX15" fmla="*/ 358924 w 883066"/>
                <a:gd name="connsiteY15" fmla="*/ 703604 h 774819"/>
                <a:gd name="connsiteX16" fmla="*/ 361772 w 883066"/>
                <a:gd name="connsiteY16" fmla="*/ 660875 h 774819"/>
                <a:gd name="connsiteX17" fmla="*/ 387410 w 883066"/>
                <a:gd name="connsiteY17" fmla="*/ 646632 h 774819"/>
                <a:gd name="connsiteX18" fmla="*/ 424441 w 883066"/>
                <a:gd name="connsiteY18" fmla="*/ 649481 h 774819"/>
                <a:gd name="connsiteX19" fmla="*/ 447230 w 883066"/>
                <a:gd name="connsiteY19" fmla="*/ 658027 h 774819"/>
                <a:gd name="connsiteX20" fmla="*/ 492808 w 883066"/>
                <a:gd name="connsiteY20" fmla="*/ 692210 h 774819"/>
                <a:gd name="connsiteX21" fmla="*/ 501354 w 883066"/>
                <a:gd name="connsiteY21" fmla="*/ 649481 h 774819"/>
                <a:gd name="connsiteX22" fmla="*/ 467170 w 883066"/>
                <a:gd name="connsiteY22" fmla="*/ 612449 h 774819"/>
                <a:gd name="connsiteX23" fmla="*/ 458625 w 883066"/>
                <a:gd name="connsiteY23" fmla="*/ 595357 h 774819"/>
                <a:gd name="connsiteX24" fmla="*/ 472868 w 883066"/>
                <a:gd name="connsiteY24" fmla="*/ 589660 h 774819"/>
                <a:gd name="connsiteX25" fmla="*/ 492808 w 883066"/>
                <a:gd name="connsiteY25" fmla="*/ 592509 h 774819"/>
                <a:gd name="connsiteX26" fmla="*/ 535537 w 883066"/>
                <a:gd name="connsiteY26" fmla="*/ 643784 h 774819"/>
                <a:gd name="connsiteX27" fmla="*/ 524142 w 883066"/>
                <a:gd name="connsiteY27" fmla="*/ 675118 h 774819"/>
                <a:gd name="connsiteX28" fmla="*/ 529840 w 883066"/>
                <a:gd name="connsiteY28" fmla="*/ 746333 h 774819"/>
                <a:gd name="connsiteX29" fmla="*/ 589660 w 883066"/>
                <a:gd name="connsiteY29" fmla="*/ 774819 h 774819"/>
                <a:gd name="connsiteX30" fmla="*/ 620995 w 883066"/>
                <a:gd name="connsiteY30" fmla="*/ 732090 h 774819"/>
                <a:gd name="connsiteX31" fmla="*/ 683664 w 883066"/>
                <a:gd name="connsiteY31" fmla="*/ 746333 h 774819"/>
                <a:gd name="connsiteX32" fmla="*/ 709301 w 883066"/>
                <a:gd name="connsiteY32" fmla="*/ 717847 h 774819"/>
                <a:gd name="connsiteX33" fmla="*/ 700755 w 883066"/>
                <a:gd name="connsiteY33" fmla="*/ 663724 h 774819"/>
                <a:gd name="connsiteX34" fmla="*/ 680815 w 883066"/>
                <a:gd name="connsiteY34" fmla="*/ 640935 h 774819"/>
                <a:gd name="connsiteX35" fmla="*/ 683664 w 883066"/>
                <a:gd name="connsiteY35" fmla="*/ 618146 h 774819"/>
                <a:gd name="connsiteX36" fmla="*/ 734939 w 883066"/>
                <a:gd name="connsiteY36" fmla="*/ 646632 h 774819"/>
                <a:gd name="connsiteX37" fmla="*/ 757727 w 883066"/>
                <a:gd name="connsiteY37" fmla="*/ 683664 h 774819"/>
                <a:gd name="connsiteX38" fmla="*/ 803305 w 883066"/>
                <a:gd name="connsiteY38" fmla="*/ 695058 h 774819"/>
                <a:gd name="connsiteX39" fmla="*/ 848883 w 883066"/>
                <a:gd name="connsiteY39" fmla="*/ 734939 h 774819"/>
                <a:gd name="connsiteX40" fmla="*/ 883066 w 883066"/>
                <a:gd name="connsiteY40" fmla="*/ 714999 h 774819"/>
                <a:gd name="connsiteX41" fmla="*/ 883066 w 883066"/>
                <a:gd name="connsiteY41" fmla="*/ 689361 h 774819"/>
                <a:gd name="connsiteX42" fmla="*/ 846034 w 883066"/>
                <a:gd name="connsiteY42" fmla="*/ 646632 h 774819"/>
                <a:gd name="connsiteX43" fmla="*/ 817548 w 883066"/>
                <a:gd name="connsiteY43" fmla="*/ 632389 h 774819"/>
                <a:gd name="connsiteX44" fmla="*/ 791911 w 883066"/>
                <a:gd name="connsiteY44" fmla="*/ 609600 h 774819"/>
                <a:gd name="connsiteX45" fmla="*/ 803305 w 883066"/>
                <a:gd name="connsiteY45" fmla="*/ 586812 h 774819"/>
                <a:gd name="connsiteX46" fmla="*/ 817548 w 883066"/>
                <a:gd name="connsiteY46" fmla="*/ 583963 h 774819"/>
                <a:gd name="connsiteX47" fmla="*/ 837488 w 883066"/>
                <a:gd name="connsiteY47" fmla="*/ 583963 h 774819"/>
                <a:gd name="connsiteX48" fmla="*/ 848883 w 883066"/>
                <a:gd name="connsiteY48" fmla="*/ 555477 h 774819"/>
                <a:gd name="connsiteX49" fmla="*/ 846034 w 883066"/>
                <a:gd name="connsiteY49" fmla="*/ 541234 h 774819"/>
                <a:gd name="connsiteX50" fmla="*/ 806154 w 883066"/>
                <a:gd name="connsiteY50" fmla="*/ 529840 h 774819"/>
                <a:gd name="connsiteX51" fmla="*/ 771970 w 883066"/>
                <a:gd name="connsiteY51" fmla="*/ 555477 h 774819"/>
                <a:gd name="connsiteX52" fmla="*/ 752030 w 883066"/>
                <a:gd name="connsiteY52" fmla="*/ 544083 h 774819"/>
                <a:gd name="connsiteX53" fmla="*/ 740636 w 883066"/>
                <a:gd name="connsiteY53" fmla="*/ 515597 h 774819"/>
                <a:gd name="connsiteX54" fmla="*/ 709301 w 883066"/>
                <a:gd name="connsiteY54" fmla="*/ 518445 h 774819"/>
                <a:gd name="connsiteX55" fmla="*/ 712150 w 883066"/>
                <a:gd name="connsiteY55" fmla="*/ 546931 h 774819"/>
                <a:gd name="connsiteX56" fmla="*/ 675118 w 883066"/>
                <a:gd name="connsiteY56" fmla="*/ 566872 h 774819"/>
                <a:gd name="connsiteX57" fmla="*/ 655178 w 883066"/>
                <a:gd name="connsiteY57" fmla="*/ 566872 h 774819"/>
                <a:gd name="connsiteX58" fmla="*/ 632389 w 883066"/>
                <a:gd name="connsiteY58" fmla="*/ 558326 h 774819"/>
                <a:gd name="connsiteX59" fmla="*/ 635238 w 883066"/>
                <a:gd name="connsiteY59" fmla="*/ 529840 h 774819"/>
                <a:gd name="connsiteX60" fmla="*/ 603903 w 883066"/>
                <a:gd name="connsiteY60" fmla="*/ 498505 h 774819"/>
                <a:gd name="connsiteX61" fmla="*/ 620995 w 883066"/>
                <a:gd name="connsiteY61" fmla="*/ 487111 h 774819"/>
                <a:gd name="connsiteX62" fmla="*/ 660875 w 883066"/>
                <a:gd name="connsiteY62" fmla="*/ 492808 h 774819"/>
                <a:gd name="connsiteX63" fmla="*/ 683664 w 883066"/>
                <a:gd name="connsiteY63" fmla="*/ 472868 h 774819"/>
                <a:gd name="connsiteX64" fmla="*/ 729241 w 883066"/>
                <a:gd name="connsiteY64" fmla="*/ 487111 h 774819"/>
                <a:gd name="connsiteX65" fmla="*/ 729241 w 883066"/>
                <a:gd name="connsiteY65" fmla="*/ 487111 h 774819"/>
                <a:gd name="connsiteX66" fmla="*/ 766273 w 883066"/>
                <a:gd name="connsiteY66" fmla="*/ 495657 h 774819"/>
                <a:gd name="connsiteX67" fmla="*/ 766273 w 883066"/>
                <a:gd name="connsiteY67" fmla="*/ 455776 h 774819"/>
                <a:gd name="connsiteX68" fmla="*/ 734939 w 883066"/>
                <a:gd name="connsiteY68" fmla="*/ 444382 h 774819"/>
                <a:gd name="connsiteX69" fmla="*/ 734939 w 883066"/>
                <a:gd name="connsiteY69" fmla="*/ 378864 h 774819"/>
                <a:gd name="connsiteX70" fmla="*/ 723544 w 883066"/>
                <a:gd name="connsiteY70" fmla="*/ 356075 h 774819"/>
                <a:gd name="connsiteX71" fmla="*/ 438684 w 883066"/>
                <a:gd name="connsiteY71" fmla="*/ 381713 h 774819"/>
                <a:gd name="connsiteX72" fmla="*/ 444382 w 883066"/>
                <a:gd name="connsiteY72" fmla="*/ 273466 h 774819"/>
                <a:gd name="connsiteX73" fmla="*/ 492808 w 883066"/>
                <a:gd name="connsiteY73" fmla="*/ 202251 h 774819"/>
                <a:gd name="connsiteX74" fmla="*/ 481413 w 883066"/>
                <a:gd name="connsiteY74" fmla="*/ 150976 h 774819"/>
                <a:gd name="connsiteX75" fmla="*/ 495656 w 883066"/>
                <a:gd name="connsiteY75" fmla="*/ 119642 h 774819"/>
                <a:gd name="connsiteX76" fmla="*/ 475716 w 883066"/>
                <a:gd name="connsiteY76" fmla="*/ 0 h 774819"/>
                <a:gd name="connsiteX77" fmla="*/ 0 w 883066"/>
                <a:gd name="connsiteY77" fmla="*/ 62670 h 774819"/>
                <a:gd name="connsiteX0" fmla="*/ 0 w 883066"/>
                <a:gd name="connsiteY0" fmla="*/ 62670 h 774819"/>
                <a:gd name="connsiteX1" fmla="*/ 14243 w 883066"/>
                <a:gd name="connsiteY1" fmla="*/ 188008 h 774819"/>
                <a:gd name="connsiteX2" fmla="*/ 17092 w 883066"/>
                <a:gd name="connsiteY2" fmla="*/ 253526 h 774819"/>
                <a:gd name="connsiteX3" fmla="*/ 39881 w 883066"/>
                <a:gd name="connsiteY3" fmla="*/ 313346 h 774819"/>
                <a:gd name="connsiteX4" fmla="*/ 76912 w 883066"/>
                <a:gd name="connsiteY4" fmla="*/ 361772 h 774819"/>
                <a:gd name="connsiteX5" fmla="*/ 108247 w 883066"/>
                <a:gd name="connsiteY5" fmla="*/ 450079 h 774819"/>
                <a:gd name="connsiteX6" fmla="*/ 79761 w 883066"/>
                <a:gd name="connsiteY6" fmla="*/ 526991 h 774819"/>
                <a:gd name="connsiteX7" fmla="*/ 82610 w 883066"/>
                <a:gd name="connsiteY7" fmla="*/ 561174 h 774819"/>
                <a:gd name="connsiteX8" fmla="*/ 83491 w 883066"/>
                <a:gd name="connsiteY8" fmla="*/ 615298 h 774819"/>
                <a:gd name="connsiteX9" fmla="*/ 94004 w 883066"/>
                <a:gd name="connsiteY9" fmla="*/ 697907 h 774819"/>
                <a:gd name="connsiteX10" fmla="*/ 84178 w 883066"/>
                <a:gd name="connsiteY10" fmla="*/ 697179 h 774819"/>
                <a:gd name="connsiteX11" fmla="*/ 136733 w 883066"/>
                <a:gd name="connsiteY11" fmla="*/ 686513 h 774819"/>
                <a:gd name="connsiteX12" fmla="*/ 182311 w 883066"/>
                <a:gd name="connsiteY12" fmla="*/ 669421 h 774819"/>
                <a:gd name="connsiteX13" fmla="*/ 236434 w 883066"/>
                <a:gd name="connsiteY13" fmla="*/ 677967 h 774819"/>
                <a:gd name="connsiteX14" fmla="*/ 296254 w 883066"/>
                <a:gd name="connsiteY14" fmla="*/ 703604 h 774819"/>
                <a:gd name="connsiteX15" fmla="*/ 358924 w 883066"/>
                <a:gd name="connsiteY15" fmla="*/ 703604 h 774819"/>
                <a:gd name="connsiteX16" fmla="*/ 361772 w 883066"/>
                <a:gd name="connsiteY16" fmla="*/ 660875 h 774819"/>
                <a:gd name="connsiteX17" fmla="*/ 387410 w 883066"/>
                <a:gd name="connsiteY17" fmla="*/ 646632 h 774819"/>
                <a:gd name="connsiteX18" fmla="*/ 424441 w 883066"/>
                <a:gd name="connsiteY18" fmla="*/ 649481 h 774819"/>
                <a:gd name="connsiteX19" fmla="*/ 447230 w 883066"/>
                <a:gd name="connsiteY19" fmla="*/ 658027 h 774819"/>
                <a:gd name="connsiteX20" fmla="*/ 492808 w 883066"/>
                <a:gd name="connsiteY20" fmla="*/ 692210 h 774819"/>
                <a:gd name="connsiteX21" fmla="*/ 501354 w 883066"/>
                <a:gd name="connsiteY21" fmla="*/ 649481 h 774819"/>
                <a:gd name="connsiteX22" fmla="*/ 467170 w 883066"/>
                <a:gd name="connsiteY22" fmla="*/ 612449 h 774819"/>
                <a:gd name="connsiteX23" fmla="*/ 458625 w 883066"/>
                <a:gd name="connsiteY23" fmla="*/ 595357 h 774819"/>
                <a:gd name="connsiteX24" fmla="*/ 472868 w 883066"/>
                <a:gd name="connsiteY24" fmla="*/ 589660 h 774819"/>
                <a:gd name="connsiteX25" fmla="*/ 492808 w 883066"/>
                <a:gd name="connsiteY25" fmla="*/ 592509 h 774819"/>
                <a:gd name="connsiteX26" fmla="*/ 535537 w 883066"/>
                <a:gd name="connsiteY26" fmla="*/ 643784 h 774819"/>
                <a:gd name="connsiteX27" fmla="*/ 524142 w 883066"/>
                <a:gd name="connsiteY27" fmla="*/ 675118 h 774819"/>
                <a:gd name="connsiteX28" fmla="*/ 529840 w 883066"/>
                <a:gd name="connsiteY28" fmla="*/ 746333 h 774819"/>
                <a:gd name="connsiteX29" fmla="*/ 589660 w 883066"/>
                <a:gd name="connsiteY29" fmla="*/ 774819 h 774819"/>
                <a:gd name="connsiteX30" fmla="*/ 620995 w 883066"/>
                <a:gd name="connsiteY30" fmla="*/ 732090 h 774819"/>
                <a:gd name="connsiteX31" fmla="*/ 683664 w 883066"/>
                <a:gd name="connsiteY31" fmla="*/ 746333 h 774819"/>
                <a:gd name="connsiteX32" fmla="*/ 709301 w 883066"/>
                <a:gd name="connsiteY32" fmla="*/ 717847 h 774819"/>
                <a:gd name="connsiteX33" fmla="*/ 700755 w 883066"/>
                <a:gd name="connsiteY33" fmla="*/ 663724 h 774819"/>
                <a:gd name="connsiteX34" fmla="*/ 680815 w 883066"/>
                <a:gd name="connsiteY34" fmla="*/ 640935 h 774819"/>
                <a:gd name="connsiteX35" fmla="*/ 683664 w 883066"/>
                <a:gd name="connsiteY35" fmla="*/ 618146 h 774819"/>
                <a:gd name="connsiteX36" fmla="*/ 734939 w 883066"/>
                <a:gd name="connsiteY36" fmla="*/ 646632 h 774819"/>
                <a:gd name="connsiteX37" fmla="*/ 757727 w 883066"/>
                <a:gd name="connsiteY37" fmla="*/ 683664 h 774819"/>
                <a:gd name="connsiteX38" fmla="*/ 803305 w 883066"/>
                <a:gd name="connsiteY38" fmla="*/ 695058 h 774819"/>
                <a:gd name="connsiteX39" fmla="*/ 848883 w 883066"/>
                <a:gd name="connsiteY39" fmla="*/ 734939 h 774819"/>
                <a:gd name="connsiteX40" fmla="*/ 883066 w 883066"/>
                <a:gd name="connsiteY40" fmla="*/ 714999 h 774819"/>
                <a:gd name="connsiteX41" fmla="*/ 883066 w 883066"/>
                <a:gd name="connsiteY41" fmla="*/ 689361 h 774819"/>
                <a:gd name="connsiteX42" fmla="*/ 846034 w 883066"/>
                <a:gd name="connsiteY42" fmla="*/ 646632 h 774819"/>
                <a:gd name="connsiteX43" fmla="*/ 817548 w 883066"/>
                <a:gd name="connsiteY43" fmla="*/ 632389 h 774819"/>
                <a:gd name="connsiteX44" fmla="*/ 791911 w 883066"/>
                <a:gd name="connsiteY44" fmla="*/ 609600 h 774819"/>
                <a:gd name="connsiteX45" fmla="*/ 803305 w 883066"/>
                <a:gd name="connsiteY45" fmla="*/ 586812 h 774819"/>
                <a:gd name="connsiteX46" fmla="*/ 817548 w 883066"/>
                <a:gd name="connsiteY46" fmla="*/ 583963 h 774819"/>
                <a:gd name="connsiteX47" fmla="*/ 837488 w 883066"/>
                <a:gd name="connsiteY47" fmla="*/ 583963 h 774819"/>
                <a:gd name="connsiteX48" fmla="*/ 848883 w 883066"/>
                <a:gd name="connsiteY48" fmla="*/ 555477 h 774819"/>
                <a:gd name="connsiteX49" fmla="*/ 846034 w 883066"/>
                <a:gd name="connsiteY49" fmla="*/ 541234 h 774819"/>
                <a:gd name="connsiteX50" fmla="*/ 806154 w 883066"/>
                <a:gd name="connsiteY50" fmla="*/ 529840 h 774819"/>
                <a:gd name="connsiteX51" fmla="*/ 771970 w 883066"/>
                <a:gd name="connsiteY51" fmla="*/ 555477 h 774819"/>
                <a:gd name="connsiteX52" fmla="*/ 752030 w 883066"/>
                <a:gd name="connsiteY52" fmla="*/ 544083 h 774819"/>
                <a:gd name="connsiteX53" fmla="*/ 740636 w 883066"/>
                <a:gd name="connsiteY53" fmla="*/ 515597 h 774819"/>
                <a:gd name="connsiteX54" fmla="*/ 709301 w 883066"/>
                <a:gd name="connsiteY54" fmla="*/ 518445 h 774819"/>
                <a:gd name="connsiteX55" fmla="*/ 712150 w 883066"/>
                <a:gd name="connsiteY55" fmla="*/ 546931 h 774819"/>
                <a:gd name="connsiteX56" fmla="*/ 675118 w 883066"/>
                <a:gd name="connsiteY56" fmla="*/ 566872 h 774819"/>
                <a:gd name="connsiteX57" fmla="*/ 655178 w 883066"/>
                <a:gd name="connsiteY57" fmla="*/ 566872 h 774819"/>
                <a:gd name="connsiteX58" fmla="*/ 632389 w 883066"/>
                <a:gd name="connsiteY58" fmla="*/ 558326 h 774819"/>
                <a:gd name="connsiteX59" fmla="*/ 635238 w 883066"/>
                <a:gd name="connsiteY59" fmla="*/ 529840 h 774819"/>
                <a:gd name="connsiteX60" fmla="*/ 603903 w 883066"/>
                <a:gd name="connsiteY60" fmla="*/ 498505 h 774819"/>
                <a:gd name="connsiteX61" fmla="*/ 620995 w 883066"/>
                <a:gd name="connsiteY61" fmla="*/ 487111 h 774819"/>
                <a:gd name="connsiteX62" fmla="*/ 660875 w 883066"/>
                <a:gd name="connsiteY62" fmla="*/ 492808 h 774819"/>
                <a:gd name="connsiteX63" fmla="*/ 683664 w 883066"/>
                <a:gd name="connsiteY63" fmla="*/ 472868 h 774819"/>
                <a:gd name="connsiteX64" fmla="*/ 729241 w 883066"/>
                <a:gd name="connsiteY64" fmla="*/ 487111 h 774819"/>
                <a:gd name="connsiteX65" fmla="*/ 729241 w 883066"/>
                <a:gd name="connsiteY65" fmla="*/ 487111 h 774819"/>
                <a:gd name="connsiteX66" fmla="*/ 766273 w 883066"/>
                <a:gd name="connsiteY66" fmla="*/ 495657 h 774819"/>
                <a:gd name="connsiteX67" fmla="*/ 766273 w 883066"/>
                <a:gd name="connsiteY67" fmla="*/ 455776 h 774819"/>
                <a:gd name="connsiteX68" fmla="*/ 734939 w 883066"/>
                <a:gd name="connsiteY68" fmla="*/ 444382 h 774819"/>
                <a:gd name="connsiteX69" fmla="*/ 734939 w 883066"/>
                <a:gd name="connsiteY69" fmla="*/ 378864 h 774819"/>
                <a:gd name="connsiteX70" fmla="*/ 723544 w 883066"/>
                <a:gd name="connsiteY70" fmla="*/ 356075 h 774819"/>
                <a:gd name="connsiteX71" fmla="*/ 438684 w 883066"/>
                <a:gd name="connsiteY71" fmla="*/ 381713 h 774819"/>
                <a:gd name="connsiteX72" fmla="*/ 444382 w 883066"/>
                <a:gd name="connsiteY72" fmla="*/ 273466 h 774819"/>
                <a:gd name="connsiteX73" fmla="*/ 492808 w 883066"/>
                <a:gd name="connsiteY73" fmla="*/ 202251 h 774819"/>
                <a:gd name="connsiteX74" fmla="*/ 481413 w 883066"/>
                <a:gd name="connsiteY74" fmla="*/ 150976 h 774819"/>
                <a:gd name="connsiteX75" fmla="*/ 495656 w 883066"/>
                <a:gd name="connsiteY75" fmla="*/ 119642 h 774819"/>
                <a:gd name="connsiteX76" fmla="*/ 475716 w 883066"/>
                <a:gd name="connsiteY76" fmla="*/ 0 h 774819"/>
                <a:gd name="connsiteX77" fmla="*/ 0 w 883066"/>
                <a:gd name="connsiteY77" fmla="*/ 62670 h 774819"/>
                <a:gd name="connsiteX0" fmla="*/ 0 w 883066"/>
                <a:gd name="connsiteY0" fmla="*/ 62670 h 774819"/>
                <a:gd name="connsiteX1" fmla="*/ 14243 w 883066"/>
                <a:gd name="connsiteY1" fmla="*/ 188008 h 774819"/>
                <a:gd name="connsiteX2" fmla="*/ 17092 w 883066"/>
                <a:gd name="connsiteY2" fmla="*/ 253526 h 774819"/>
                <a:gd name="connsiteX3" fmla="*/ 39881 w 883066"/>
                <a:gd name="connsiteY3" fmla="*/ 313346 h 774819"/>
                <a:gd name="connsiteX4" fmla="*/ 76912 w 883066"/>
                <a:gd name="connsiteY4" fmla="*/ 361772 h 774819"/>
                <a:gd name="connsiteX5" fmla="*/ 108247 w 883066"/>
                <a:gd name="connsiteY5" fmla="*/ 450079 h 774819"/>
                <a:gd name="connsiteX6" fmla="*/ 79761 w 883066"/>
                <a:gd name="connsiteY6" fmla="*/ 526991 h 774819"/>
                <a:gd name="connsiteX7" fmla="*/ 82610 w 883066"/>
                <a:gd name="connsiteY7" fmla="*/ 561174 h 774819"/>
                <a:gd name="connsiteX8" fmla="*/ 83491 w 883066"/>
                <a:gd name="connsiteY8" fmla="*/ 615298 h 774819"/>
                <a:gd name="connsiteX9" fmla="*/ 84178 w 883066"/>
                <a:gd name="connsiteY9" fmla="*/ 697179 h 774819"/>
                <a:gd name="connsiteX10" fmla="*/ 136733 w 883066"/>
                <a:gd name="connsiteY10" fmla="*/ 686513 h 774819"/>
                <a:gd name="connsiteX11" fmla="*/ 182311 w 883066"/>
                <a:gd name="connsiteY11" fmla="*/ 669421 h 774819"/>
                <a:gd name="connsiteX12" fmla="*/ 236434 w 883066"/>
                <a:gd name="connsiteY12" fmla="*/ 677967 h 774819"/>
                <a:gd name="connsiteX13" fmla="*/ 296254 w 883066"/>
                <a:gd name="connsiteY13" fmla="*/ 703604 h 774819"/>
                <a:gd name="connsiteX14" fmla="*/ 358924 w 883066"/>
                <a:gd name="connsiteY14" fmla="*/ 703604 h 774819"/>
                <a:gd name="connsiteX15" fmla="*/ 361772 w 883066"/>
                <a:gd name="connsiteY15" fmla="*/ 660875 h 774819"/>
                <a:gd name="connsiteX16" fmla="*/ 387410 w 883066"/>
                <a:gd name="connsiteY16" fmla="*/ 646632 h 774819"/>
                <a:gd name="connsiteX17" fmla="*/ 424441 w 883066"/>
                <a:gd name="connsiteY17" fmla="*/ 649481 h 774819"/>
                <a:gd name="connsiteX18" fmla="*/ 447230 w 883066"/>
                <a:gd name="connsiteY18" fmla="*/ 658027 h 774819"/>
                <a:gd name="connsiteX19" fmla="*/ 492808 w 883066"/>
                <a:gd name="connsiteY19" fmla="*/ 692210 h 774819"/>
                <a:gd name="connsiteX20" fmla="*/ 501354 w 883066"/>
                <a:gd name="connsiteY20" fmla="*/ 649481 h 774819"/>
                <a:gd name="connsiteX21" fmla="*/ 467170 w 883066"/>
                <a:gd name="connsiteY21" fmla="*/ 612449 h 774819"/>
                <a:gd name="connsiteX22" fmla="*/ 458625 w 883066"/>
                <a:gd name="connsiteY22" fmla="*/ 595357 h 774819"/>
                <a:gd name="connsiteX23" fmla="*/ 472868 w 883066"/>
                <a:gd name="connsiteY23" fmla="*/ 589660 h 774819"/>
                <a:gd name="connsiteX24" fmla="*/ 492808 w 883066"/>
                <a:gd name="connsiteY24" fmla="*/ 592509 h 774819"/>
                <a:gd name="connsiteX25" fmla="*/ 535537 w 883066"/>
                <a:gd name="connsiteY25" fmla="*/ 643784 h 774819"/>
                <a:gd name="connsiteX26" fmla="*/ 524142 w 883066"/>
                <a:gd name="connsiteY26" fmla="*/ 675118 h 774819"/>
                <a:gd name="connsiteX27" fmla="*/ 529840 w 883066"/>
                <a:gd name="connsiteY27" fmla="*/ 746333 h 774819"/>
                <a:gd name="connsiteX28" fmla="*/ 589660 w 883066"/>
                <a:gd name="connsiteY28" fmla="*/ 774819 h 774819"/>
                <a:gd name="connsiteX29" fmla="*/ 620995 w 883066"/>
                <a:gd name="connsiteY29" fmla="*/ 732090 h 774819"/>
                <a:gd name="connsiteX30" fmla="*/ 683664 w 883066"/>
                <a:gd name="connsiteY30" fmla="*/ 746333 h 774819"/>
                <a:gd name="connsiteX31" fmla="*/ 709301 w 883066"/>
                <a:gd name="connsiteY31" fmla="*/ 717847 h 774819"/>
                <a:gd name="connsiteX32" fmla="*/ 700755 w 883066"/>
                <a:gd name="connsiteY32" fmla="*/ 663724 h 774819"/>
                <a:gd name="connsiteX33" fmla="*/ 680815 w 883066"/>
                <a:gd name="connsiteY33" fmla="*/ 640935 h 774819"/>
                <a:gd name="connsiteX34" fmla="*/ 683664 w 883066"/>
                <a:gd name="connsiteY34" fmla="*/ 618146 h 774819"/>
                <a:gd name="connsiteX35" fmla="*/ 734939 w 883066"/>
                <a:gd name="connsiteY35" fmla="*/ 646632 h 774819"/>
                <a:gd name="connsiteX36" fmla="*/ 757727 w 883066"/>
                <a:gd name="connsiteY36" fmla="*/ 683664 h 774819"/>
                <a:gd name="connsiteX37" fmla="*/ 803305 w 883066"/>
                <a:gd name="connsiteY37" fmla="*/ 695058 h 774819"/>
                <a:gd name="connsiteX38" fmla="*/ 848883 w 883066"/>
                <a:gd name="connsiteY38" fmla="*/ 734939 h 774819"/>
                <a:gd name="connsiteX39" fmla="*/ 883066 w 883066"/>
                <a:gd name="connsiteY39" fmla="*/ 714999 h 774819"/>
                <a:gd name="connsiteX40" fmla="*/ 883066 w 883066"/>
                <a:gd name="connsiteY40" fmla="*/ 689361 h 774819"/>
                <a:gd name="connsiteX41" fmla="*/ 846034 w 883066"/>
                <a:gd name="connsiteY41" fmla="*/ 646632 h 774819"/>
                <a:gd name="connsiteX42" fmla="*/ 817548 w 883066"/>
                <a:gd name="connsiteY42" fmla="*/ 632389 h 774819"/>
                <a:gd name="connsiteX43" fmla="*/ 791911 w 883066"/>
                <a:gd name="connsiteY43" fmla="*/ 609600 h 774819"/>
                <a:gd name="connsiteX44" fmla="*/ 803305 w 883066"/>
                <a:gd name="connsiteY44" fmla="*/ 586812 h 774819"/>
                <a:gd name="connsiteX45" fmla="*/ 817548 w 883066"/>
                <a:gd name="connsiteY45" fmla="*/ 583963 h 774819"/>
                <a:gd name="connsiteX46" fmla="*/ 837488 w 883066"/>
                <a:gd name="connsiteY46" fmla="*/ 583963 h 774819"/>
                <a:gd name="connsiteX47" fmla="*/ 848883 w 883066"/>
                <a:gd name="connsiteY47" fmla="*/ 555477 h 774819"/>
                <a:gd name="connsiteX48" fmla="*/ 846034 w 883066"/>
                <a:gd name="connsiteY48" fmla="*/ 541234 h 774819"/>
                <a:gd name="connsiteX49" fmla="*/ 806154 w 883066"/>
                <a:gd name="connsiteY49" fmla="*/ 529840 h 774819"/>
                <a:gd name="connsiteX50" fmla="*/ 771970 w 883066"/>
                <a:gd name="connsiteY50" fmla="*/ 555477 h 774819"/>
                <a:gd name="connsiteX51" fmla="*/ 752030 w 883066"/>
                <a:gd name="connsiteY51" fmla="*/ 544083 h 774819"/>
                <a:gd name="connsiteX52" fmla="*/ 740636 w 883066"/>
                <a:gd name="connsiteY52" fmla="*/ 515597 h 774819"/>
                <a:gd name="connsiteX53" fmla="*/ 709301 w 883066"/>
                <a:gd name="connsiteY53" fmla="*/ 518445 h 774819"/>
                <a:gd name="connsiteX54" fmla="*/ 712150 w 883066"/>
                <a:gd name="connsiteY54" fmla="*/ 546931 h 774819"/>
                <a:gd name="connsiteX55" fmla="*/ 675118 w 883066"/>
                <a:gd name="connsiteY55" fmla="*/ 566872 h 774819"/>
                <a:gd name="connsiteX56" fmla="*/ 655178 w 883066"/>
                <a:gd name="connsiteY56" fmla="*/ 566872 h 774819"/>
                <a:gd name="connsiteX57" fmla="*/ 632389 w 883066"/>
                <a:gd name="connsiteY57" fmla="*/ 558326 h 774819"/>
                <a:gd name="connsiteX58" fmla="*/ 635238 w 883066"/>
                <a:gd name="connsiteY58" fmla="*/ 529840 h 774819"/>
                <a:gd name="connsiteX59" fmla="*/ 603903 w 883066"/>
                <a:gd name="connsiteY59" fmla="*/ 498505 h 774819"/>
                <a:gd name="connsiteX60" fmla="*/ 620995 w 883066"/>
                <a:gd name="connsiteY60" fmla="*/ 487111 h 774819"/>
                <a:gd name="connsiteX61" fmla="*/ 660875 w 883066"/>
                <a:gd name="connsiteY61" fmla="*/ 492808 h 774819"/>
                <a:gd name="connsiteX62" fmla="*/ 683664 w 883066"/>
                <a:gd name="connsiteY62" fmla="*/ 472868 h 774819"/>
                <a:gd name="connsiteX63" fmla="*/ 729241 w 883066"/>
                <a:gd name="connsiteY63" fmla="*/ 487111 h 774819"/>
                <a:gd name="connsiteX64" fmla="*/ 729241 w 883066"/>
                <a:gd name="connsiteY64" fmla="*/ 487111 h 774819"/>
                <a:gd name="connsiteX65" fmla="*/ 766273 w 883066"/>
                <a:gd name="connsiteY65" fmla="*/ 495657 h 774819"/>
                <a:gd name="connsiteX66" fmla="*/ 766273 w 883066"/>
                <a:gd name="connsiteY66" fmla="*/ 455776 h 774819"/>
                <a:gd name="connsiteX67" fmla="*/ 734939 w 883066"/>
                <a:gd name="connsiteY67" fmla="*/ 444382 h 774819"/>
                <a:gd name="connsiteX68" fmla="*/ 734939 w 883066"/>
                <a:gd name="connsiteY68" fmla="*/ 378864 h 774819"/>
                <a:gd name="connsiteX69" fmla="*/ 723544 w 883066"/>
                <a:gd name="connsiteY69" fmla="*/ 356075 h 774819"/>
                <a:gd name="connsiteX70" fmla="*/ 438684 w 883066"/>
                <a:gd name="connsiteY70" fmla="*/ 381713 h 774819"/>
                <a:gd name="connsiteX71" fmla="*/ 444382 w 883066"/>
                <a:gd name="connsiteY71" fmla="*/ 273466 h 774819"/>
                <a:gd name="connsiteX72" fmla="*/ 492808 w 883066"/>
                <a:gd name="connsiteY72" fmla="*/ 202251 h 774819"/>
                <a:gd name="connsiteX73" fmla="*/ 481413 w 883066"/>
                <a:gd name="connsiteY73" fmla="*/ 150976 h 774819"/>
                <a:gd name="connsiteX74" fmla="*/ 495656 w 883066"/>
                <a:gd name="connsiteY74" fmla="*/ 119642 h 774819"/>
                <a:gd name="connsiteX75" fmla="*/ 475716 w 883066"/>
                <a:gd name="connsiteY75" fmla="*/ 0 h 774819"/>
                <a:gd name="connsiteX76" fmla="*/ 0 w 883066"/>
                <a:gd name="connsiteY76" fmla="*/ 62670 h 77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883066" h="774819">
                  <a:moveTo>
                    <a:pt x="0" y="62670"/>
                  </a:moveTo>
                  <a:lnTo>
                    <a:pt x="14243" y="188008"/>
                  </a:lnTo>
                  <a:lnTo>
                    <a:pt x="17092" y="253526"/>
                  </a:lnTo>
                  <a:lnTo>
                    <a:pt x="39881" y="313346"/>
                  </a:lnTo>
                  <a:lnTo>
                    <a:pt x="76912" y="361772"/>
                  </a:lnTo>
                  <a:lnTo>
                    <a:pt x="108247" y="450079"/>
                  </a:lnTo>
                  <a:lnTo>
                    <a:pt x="79761" y="526991"/>
                  </a:lnTo>
                  <a:lnTo>
                    <a:pt x="82610" y="561174"/>
                  </a:lnTo>
                  <a:cubicBezTo>
                    <a:pt x="82904" y="579215"/>
                    <a:pt x="83197" y="597257"/>
                    <a:pt x="83491" y="615298"/>
                  </a:cubicBezTo>
                  <a:lnTo>
                    <a:pt x="84178" y="697179"/>
                  </a:lnTo>
                  <a:lnTo>
                    <a:pt x="136733" y="686513"/>
                  </a:lnTo>
                  <a:lnTo>
                    <a:pt x="182311" y="669421"/>
                  </a:lnTo>
                  <a:lnTo>
                    <a:pt x="236434" y="677967"/>
                  </a:lnTo>
                  <a:lnTo>
                    <a:pt x="296254" y="703604"/>
                  </a:lnTo>
                  <a:lnTo>
                    <a:pt x="358924" y="703604"/>
                  </a:lnTo>
                  <a:lnTo>
                    <a:pt x="361772" y="660875"/>
                  </a:lnTo>
                  <a:lnTo>
                    <a:pt x="387410" y="646632"/>
                  </a:lnTo>
                  <a:lnTo>
                    <a:pt x="424441" y="649481"/>
                  </a:lnTo>
                  <a:lnTo>
                    <a:pt x="447230" y="658027"/>
                  </a:lnTo>
                  <a:lnTo>
                    <a:pt x="492808" y="692210"/>
                  </a:lnTo>
                  <a:lnTo>
                    <a:pt x="501354" y="649481"/>
                  </a:lnTo>
                  <a:lnTo>
                    <a:pt x="467170" y="612449"/>
                  </a:lnTo>
                  <a:lnTo>
                    <a:pt x="458625" y="595357"/>
                  </a:lnTo>
                  <a:lnTo>
                    <a:pt x="472868" y="589660"/>
                  </a:lnTo>
                  <a:lnTo>
                    <a:pt x="492808" y="592509"/>
                  </a:lnTo>
                  <a:lnTo>
                    <a:pt x="535537" y="643784"/>
                  </a:lnTo>
                  <a:lnTo>
                    <a:pt x="524142" y="675118"/>
                  </a:lnTo>
                  <a:lnTo>
                    <a:pt x="529840" y="746333"/>
                  </a:lnTo>
                  <a:lnTo>
                    <a:pt x="589660" y="774819"/>
                  </a:lnTo>
                  <a:lnTo>
                    <a:pt x="620995" y="732090"/>
                  </a:lnTo>
                  <a:lnTo>
                    <a:pt x="683664" y="746333"/>
                  </a:lnTo>
                  <a:lnTo>
                    <a:pt x="709301" y="717847"/>
                  </a:lnTo>
                  <a:lnTo>
                    <a:pt x="700755" y="663724"/>
                  </a:lnTo>
                  <a:lnTo>
                    <a:pt x="680815" y="640935"/>
                  </a:lnTo>
                  <a:lnTo>
                    <a:pt x="683664" y="618146"/>
                  </a:lnTo>
                  <a:lnTo>
                    <a:pt x="734939" y="646632"/>
                  </a:lnTo>
                  <a:lnTo>
                    <a:pt x="757727" y="683664"/>
                  </a:lnTo>
                  <a:lnTo>
                    <a:pt x="803305" y="695058"/>
                  </a:lnTo>
                  <a:lnTo>
                    <a:pt x="848883" y="734939"/>
                  </a:lnTo>
                  <a:lnTo>
                    <a:pt x="883066" y="714999"/>
                  </a:lnTo>
                  <a:lnTo>
                    <a:pt x="883066" y="689361"/>
                  </a:lnTo>
                  <a:lnTo>
                    <a:pt x="846034" y="646632"/>
                  </a:lnTo>
                  <a:lnTo>
                    <a:pt x="817548" y="632389"/>
                  </a:lnTo>
                  <a:lnTo>
                    <a:pt x="791911" y="609600"/>
                  </a:lnTo>
                  <a:lnTo>
                    <a:pt x="803305" y="586812"/>
                  </a:lnTo>
                  <a:lnTo>
                    <a:pt x="817548" y="583963"/>
                  </a:lnTo>
                  <a:lnTo>
                    <a:pt x="837488" y="583963"/>
                  </a:lnTo>
                  <a:lnTo>
                    <a:pt x="848883" y="555477"/>
                  </a:lnTo>
                  <a:lnTo>
                    <a:pt x="846034" y="541234"/>
                  </a:lnTo>
                  <a:lnTo>
                    <a:pt x="806154" y="529840"/>
                  </a:lnTo>
                  <a:lnTo>
                    <a:pt x="771970" y="555477"/>
                  </a:lnTo>
                  <a:lnTo>
                    <a:pt x="752030" y="544083"/>
                  </a:lnTo>
                  <a:lnTo>
                    <a:pt x="740636" y="515597"/>
                  </a:lnTo>
                  <a:lnTo>
                    <a:pt x="709301" y="518445"/>
                  </a:lnTo>
                  <a:lnTo>
                    <a:pt x="712150" y="546931"/>
                  </a:lnTo>
                  <a:lnTo>
                    <a:pt x="675118" y="566872"/>
                  </a:lnTo>
                  <a:lnTo>
                    <a:pt x="655178" y="566872"/>
                  </a:lnTo>
                  <a:lnTo>
                    <a:pt x="632389" y="558326"/>
                  </a:lnTo>
                  <a:lnTo>
                    <a:pt x="635238" y="529840"/>
                  </a:lnTo>
                  <a:lnTo>
                    <a:pt x="603903" y="498505"/>
                  </a:lnTo>
                  <a:lnTo>
                    <a:pt x="620995" y="487111"/>
                  </a:lnTo>
                  <a:lnTo>
                    <a:pt x="660875" y="492808"/>
                  </a:lnTo>
                  <a:lnTo>
                    <a:pt x="683664" y="472868"/>
                  </a:lnTo>
                  <a:lnTo>
                    <a:pt x="729241" y="487111"/>
                  </a:lnTo>
                  <a:lnTo>
                    <a:pt x="729241" y="487111"/>
                  </a:lnTo>
                  <a:lnTo>
                    <a:pt x="766273" y="495657"/>
                  </a:lnTo>
                  <a:lnTo>
                    <a:pt x="766273" y="455776"/>
                  </a:lnTo>
                  <a:lnTo>
                    <a:pt x="734939" y="444382"/>
                  </a:lnTo>
                  <a:lnTo>
                    <a:pt x="734939" y="378864"/>
                  </a:lnTo>
                  <a:lnTo>
                    <a:pt x="723544" y="356075"/>
                  </a:lnTo>
                  <a:lnTo>
                    <a:pt x="438684" y="381713"/>
                  </a:lnTo>
                  <a:lnTo>
                    <a:pt x="444382" y="273466"/>
                  </a:lnTo>
                  <a:lnTo>
                    <a:pt x="492808" y="202251"/>
                  </a:lnTo>
                  <a:lnTo>
                    <a:pt x="481413" y="150976"/>
                  </a:lnTo>
                  <a:lnTo>
                    <a:pt x="495656" y="119642"/>
                  </a:lnTo>
                  <a:lnTo>
                    <a:pt x="475716" y="0"/>
                  </a:lnTo>
                  <a:lnTo>
                    <a:pt x="0" y="6267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1" name="Freeform 120"/>
            <p:cNvSpPr/>
            <p:nvPr/>
          </p:nvSpPr>
          <p:spPr>
            <a:xfrm>
              <a:off x="4054285" y="4017096"/>
              <a:ext cx="869015" cy="633340"/>
            </a:xfrm>
            <a:custGeom>
              <a:avLst/>
              <a:gdLst>
                <a:gd name="connsiteX0" fmla="*/ 0 w 1379716"/>
                <a:gd name="connsiteY0" fmla="*/ 183962 h 1074014"/>
                <a:gd name="connsiteX1" fmla="*/ 27054 w 1379716"/>
                <a:gd name="connsiteY1" fmla="*/ 302996 h 1074014"/>
                <a:gd name="connsiteX2" fmla="*/ 48696 w 1379716"/>
                <a:gd name="connsiteY2" fmla="*/ 294880 h 1074014"/>
                <a:gd name="connsiteX3" fmla="*/ 64928 w 1379716"/>
                <a:gd name="connsiteY3" fmla="*/ 278648 h 1074014"/>
                <a:gd name="connsiteX4" fmla="*/ 70339 w 1379716"/>
                <a:gd name="connsiteY4" fmla="*/ 246185 h 1074014"/>
                <a:gd name="connsiteX5" fmla="*/ 105508 w 1379716"/>
                <a:gd name="connsiteY5" fmla="*/ 246185 h 1074014"/>
                <a:gd name="connsiteX6" fmla="*/ 135267 w 1379716"/>
                <a:gd name="connsiteY6" fmla="*/ 265122 h 1074014"/>
                <a:gd name="connsiteX7" fmla="*/ 208310 w 1379716"/>
                <a:gd name="connsiteY7" fmla="*/ 238069 h 1074014"/>
                <a:gd name="connsiteX8" fmla="*/ 257006 w 1379716"/>
                <a:gd name="connsiteY8" fmla="*/ 257006 h 1074014"/>
                <a:gd name="connsiteX9" fmla="*/ 281354 w 1379716"/>
                <a:gd name="connsiteY9" fmla="*/ 257006 h 1074014"/>
                <a:gd name="connsiteX10" fmla="*/ 327345 w 1379716"/>
                <a:gd name="connsiteY10" fmla="*/ 243479 h 1074014"/>
                <a:gd name="connsiteX11" fmla="*/ 348987 w 1379716"/>
                <a:gd name="connsiteY11" fmla="*/ 267827 h 1074014"/>
                <a:gd name="connsiteX12" fmla="*/ 351693 w 1379716"/>
                <a:gd name="connsiteY12" fmla="*/ 292175 h 1074014"/>
                <a:gd name="connsiteX13" fmla="*/ 373335 w 1379716"/>
                <a:gd name="connsiteY13" fmla="*/ 297586 h 1074014"/>
                <a:gd name="connsiteX14" fmla="*/ 416621 w 1379716"/>
                <a:gd name="connsiteY14" fmla="*/ 338166 h 1074014"/>
                <a:gd name="connsiteX15" fmla="*/ 435558 w 1379716"/>
                <a:gd name="connsiteY15" fmla="*/ 319228 h 1074014"/>
                <a:gd name="connsiteX16" fmla="*/ 478843 w 1379716"/>
                <a:gd name="connsiteY16" fmla="*/ 321934 h 1074014"/>
                <a:gd name="connsiteX17" fmla="*/ 541065 w 1379716"/>
                <a:gd name="connsiteY17" fmla="*/ 278648 h 1074014"/>
                <a:gd name="connsiteX18" fmla="*/ 554592 w 1379716"/>
                <a:gd name="connsiteY18" fmla="*/ 246185 h 1074014"/>
                <a:gd name="connsiteX19" fmla="*/ 578940 w 1379716"/>
                <a:gd name="connsiteY19" fmla="*/ 227247 h 1074014"/>
                <a:gd name="connsiteX20" fmla="*/ 646573 w 1379716"/>
                <a:gd name="connsiteY20" fmla="*/ 238069 h 1074014"/>
                <a:gd name="connsiteX21" fmla="*/ 692564 w 1379716"/>
                <a:gd name="connsiteY21" fmla="*/ 265122 h 1074014"/>
                <a:gd name="connsiteX22" fmla="*/ 711501 w 1379716"/>
                <a:gd name="connsiteY22" fmla="*/ 324639 h 1074014"/>
                <a:gd name="connsiteX23" fmla="*/ 825125 w 1379716"/>
                <a:gd name="connsiteY23" fmla="*/ 376040 h 1074014"/>
                <a:gd name="connsiteX24" fmla="*/ 854883 w 1379716"/>
                <a:gd name="connsiteY24" fmla="*/ 435557 h 1074014"/>
                <a:gd name="connsiteX25" fmla="*/ 862999 w 1379716"/>
                <a:gd name="connsiteY25" fmla="*/ 568118 h 1074014"/>
                <a:gd name="connsiteX26" fmla="*/ 887347 w 1379716"/>
                <a:gd name="connsiteY26" fmla="*/ 611403 h 1074014"/>
                <a:gd name="connsiteX27" fmla="*/ 906284 w 1379716"/>
                <a:gd name="connsiteY27" fmla="*/ 592466 h 1074014"/>
                <a:gd name="connsiteX28" fmla="*/ 933338 w 1379716"/>
                <a:gd name="connsiteY28" fmla="*/ 624930 h 1074014"/>
                <a:gd name="connsiteX29" fmla="*/ 919811 w 1379716"/>
                <a:gd name="connsiteY29" fmla="*/ 662805 h 1074014"/>
                <a:gd name="connsiteX30" fmla="*/ 919811 w 1379716"/>
                <a:gd name="connsiteY30" fmla="*/ 684447 h 1074014"/>
                <a:gd name="connsiteX31" fmla="*/ 1009087 w 1379716"/>
                <a:gd name="connsiteY31" fmla="*/ 773723 h 1074014"/>
                <a:gd name="connsiteX32" fmla="*/ 1022613 w 1379716"/>
                <a:gd name="connsiteY32" fmla="*/ 754786 h 1074014"/>
                <a:gd name="connsiteX33" fmla="*/ 1030729 w 1379716"/>
                <a:gd name="connsiteY33" fmla="*/ 754786 h 1074014"/>
                <a:gd name="connsiteX34" fmla="*/ 1038845 w 1379716"/>
                <a:gd name="connsiteY34" fmla="*/ 787250 h 1074014"/>
                <a:gd name="connsiteX35" fmla="*/ 1068604 w 1379716"/>
                <a:gd name="connsiteY35" fmla="*/ 819714 h 1074014"/>
                <a:gd name="connsiteX36" fmla="*/ 1068604 w 1379716"/>
                <a:gd name="connsiteY36" fmla="*/ 844061 h 1074014"/>
                <a:gd name="connsiteX37" fmla="*/ 1106478 w 1379716"/>
                <a:gd name="connsiteY37" fmla="*/ 881936 h 1074014"/>
                <a:gd name="connsiteX38" fmla="*/ 1120005 w 1379716"/>
                <a:gd name="connsiteY38" fmla="*/ 922516 h 1074014"/>
                <a:gd name="connsiteX39" fmla="*/ 1152469 w 1379716"/>
                <a:gd name="connsiteY39" fmla="*/ 944158 h 1074014"/>
                <a:gd name="connsiteX40" fmla="*/ 1176817 w 1379716"/>
                <a:gd name="connsiteY40" fmla="*/ 941453 h 1074014"/>
                <a:gd name="connsiteX41" fmla="*/ 1211986 w 1379716"/>
                <a:gd name="connsiteY41" fmla="*/ 998265 h 1074014"/>
                <a:gd name="connsiteX42" fmla="*/ 1241745 w 1379716"/>
                <a:gd name="connsiteY42" fmla="*/ 1014497 h 1074014"/>
                <a:gd name="connsiteX43" fmla="*/ 1260682 w 1379716"/>
                <a:gd name="connsiteY43" fmla="*/ 1030729 h 1074014"/>
                <a:gd name="connsiteX44" fmla="*/ 1266093 w 1379716"/>
                <a:gd name="connsiteY44" fmla="*/ 1038845 h 1074014"/>
                <a:gd name="connsiteX45" fmla="*/ 1252566 w 1379716"/>
                <a:gd name="connsiteY45" fmla="*/ 1046961 h 1074014"/>
                <a:gd name="connsiteX46" fmla="*/ 1247155 w 1379716"/>
                <a:gd name="connsiteY46" fmla="*/ 1055077 h 1074014"/>
                <a:gd name="connsiteX47" fmla="*/ 1268798 w 1379716"/>
                <a:gd name="connsiteY47" fmla="*/ 1074014 h 1074014"/>
                <a:gd name="connsiteX48" fmla="*/ 1282325 w 1379716"/>
                <a:gd name="connsiteY48" fmla="*/ 1068603 h 1074014"/>
                <a:gd name="connsiteX49" fmla="*/ 1298557 w 1379716"/>
                <a:gd name="connsiteY49" fmla="*/ 1052371 h 1074014"/>
                <a:gd name="connsiteX50" fmla="*/ 1314789 w 1379716"/>
                <a:gd name="connsiteY50" fmla="*/ 1033434 h 1074014"/>
                <a:gd name="connsiteX51" fmla="*/ 1341842 w 1379716"/>
                <a:gd name="connsiteY51" fmla="*/ 1038845 h 1074014"/>
                <a:gd name="connsiteX52" fmla="*/ 1349958 w 1379716"/>
                <a:gd name="connsiteY52" fmla="*/ 1014497 h 1074014"/>
                <a:gd name="connsiteX53" fmla="*/ 1363484 w 1379716"/>
                <a:gd name="connsiteY53" fmla="*/ 979328 h 1074014"/>
                <a:gd name="connsiteX54" fmla="*/ 1355368 w 1379716"/>
                <a:gd name="connsiteY54" fmla="*/ 949569 h 1074014"/>
                <a:gd name="connsiteX55" fmla="*/ 1360779 w 1379716"/>
                <a:gd name="connsiteY55" fmla="*/ 925221 h 1074014"/>
                <a:gd name="connsiteX56" fmla="*/ 1368895 w 1379716"/>
                <a:gd name="connsiteY56" fmla="*/ 890052 h 1074014"/>
                <a:gd name="connsiteX57" fmla="*/ 1379716 w 1379716"/>
                <a:gd name="connsiteY57" fmla="*/ 830535 h 1074014"/>
                <a:gd name="connsiteX58" fmla="*/ 1377011 w 1379716"/>
                <a:gd name="connsiteY58" fmla="*/ 752080 h 1074014"/>
                <a:gd name="connsiteX59" fmla="*/ 1352663 w 1379716"/>
                <a:gd name="connsiteY59" fmla="*/ 673626 h 1074014"/>
                <a:gd name="connsiteX60" fmla="*/ 1325610 w 1379716"/>
                <a:gd name="connsiteY60" fmla="*/ 614109 h 1074014"/>
                <a:gd name="connsiteX61" fmla="*/ 1328315 w 1379716"/>
                <a:gd name="connsiteY61" fmla="*/ 603287 h 1074014"/>
                <a:gd name="connsiteX62" fmla="*/ 1306673 w 1379716"/>
                <a:gd name="connsiteY62" fmla="*/ 560002 h 1074014"/>
                <a:gd name="connsiteX63" fmla="*/ 1266093 w 1379716"/>
                <a:gd name="connsiteY63" fmla="*/ 508601 h 1074014"/>
                <a:gd name="connsiteX64" fmla="*/ 1195754 w 1379716"/>
                <a:gd name="connsiteY64" fmla="*/ 403093 h 1074014"/>
                <a:gd name="connsiteX65" fmla="*/ 1184933 w 1379716"/>
                <a:gd name="connsiteY65" fmla="*/ 378745 h 1074014"/>
                <a:gd name="connsiteX66" fmla="*/ 1203870 w 1379716"/>
                <a:gd name="connsiteY66" fmla="*/ 373335 h 1074014"/>
                <a:gd name="connsiteX67" fmla="*/ 1230923 w 1379716"/>
                <a:gd name="connsiteY67" fmla="*/ 392272 h 1074014"/>
                <a:gd name="connsiteX68" fmla="*/ 1257977 w 1379716"/>
                <a:gd name="connsiteY68" fmla="*/ 470727 h 1074014"/>
                <a:gd name="connsiteX69" fmla="*/ 1217397 w 1379716"/>
                <a:gd name="connsiteY69" fmla="*/ 362514 h 1074014"/>
                <a:gd name="connsiteX70" fmla="*/ 1138942 w 1379716"/>
                <a:gd name="connsiteY70" fmla="*/ 286764 h 1074014"/>
                <a:gd name="connsiteX71" fmla="*/ 1117300 w 1379716"/>
                <a:gd name="connsiteY71" fmla="*/ 224542 h 1074014"/>
                <a:gd name="connsiteX72" fmla="*/ 1076720 w 1379716"/>
                <a:gd name="connsiteY72" fmla="*/ 175846 h 1074014"/>
                <a:gd name="connsiteX73" fmla="*/ 1057783 w 1379716"/>
                <a:gd name="connsiteY73" fmla="*/ 129856 h 1074014"/>
                <a:gd name="connsiteX74" fmla="*/ 1028024 w 1379716"/>
                <a:gd name="connsiteY74" fmla="*/ 67633 h 1074014"/>
                <a:gd name="connsiteX75" fmla="*/ 1011792 w 1379716"/>
                <a:gd name="connsiteY75" fmla="*/ 81160 h 1074014"/>
                <a:gd name="connsiteX76" fmla="*/ 1017203 w 1379716"/>
                <a:gd name="connsiteY76" fmla="*/ 119034 h 1074014"/>
                <a:gd name="connsiteX77" fmla="*/ 1025319 w 1379716"/>
                <a:gd name="connsiteY77" fmla="*/ 148793 h 1074014"/>
                <a:gd name="connsiteX78" fmla="*/ 1025319 w 1379716"/>
                <a:gd name="connsiteY78" fmla="*/ 165025 h 1074014"/>
                <a:gd name="connsiteX79" fmla="*/ 995560 w 1379716"/>
                <a:gd name="connsiteY79" fmla="*/ 143382 h 1074014"/>
                <a:gd name="connsiteX80" fmla="*/ 990149 w 1379716"/>
                <a:gd name="connsiteY80" fmla="*/ 110918 h 1074014"/>
                <a:gd name="connsiteX81" fmla="*/ 987444 w 1379716"/>
                <a:gd name="connsiteY81" fmla="*/ 83865 h 1074014"/>
                <a:gd name="connsiteX82" fmla="*/ 1006381 w 1379716"/>
                <a:gd name="connsiteY82" fmla="*/ 54106 h 1074014"/>
                <a:gd name="connsiteX83" fmla="*/ 1025319 w 1379716"/>
                <a:gd name="connsiteY83" fmla="*/ 13527 h 1074014"/>
                <a:gd name="connsiteX84" fmla="*/ 968507 w 1379716"/>
                <a:gd name="connsiteY84" fmla="*/ 13527 h 1074014"/>
                <a:gd name="connsiteX85" fmla="*/ 941454 w 1379716"/>
                <a:gd name="connsiteY85" fmla="*/ 0 h 1074014"/>
                <a:gd name="connsiteX86" fmla="*/ 917106 w 1379716"/>
                <a:gd name="connsiteY86" fmla="*/ 18937 h 1074014"/>
                <a:gd name="connsiteX87" fmla="*/ 911695 w 1379716"/>
                <a:gd name="connsiteY87" fmla="*/ 97392 h 1074014"/>
                <a:gd name="connsiteX88" fmla="*/ 862999 w 1379716"/>
                <a:gd name="connsiteY88" fmla="*/ 81160 h 1074014"/>
                <a:gd name="connsiteX89" fmla="*/ 465316 w 1379716"/>
                <a:gd name="connsiteY89" fmla="*/ 119034 h 1074014"/>
                <a:gd name="connsiteX90" fmla="*/ 392273 w 1379716"/>
                <a:gd name="connsiteY90" fmla="*/ 91981 h 1074014"/>
                <a:gd name="connsiteX91" fmla="*/ 0 w 1379716"/>
                <a:gd name="connsiteY91" fmla="*/ 183962 h 1074014"/>
                <a:gd name="connsiteX0" fmla="*/ 0 w 1379716"/>
                <a:gd name="connsiteY0" fmla="*/ 184734 h 1074786"/>
                <a:gd name="connsiteX1" fmla="*/ 27054 w 1379716"/>
                <a:gd name="connsiteY1" fmla="*/ 303768 h 1074786"/>
                <a:gd name="connsiteX2" fmla="*/ 48696 w 1379716"/>
                <a:gd name="connsiteY2" fmla="*/ 295652 h 1074786"/>
                <a:gd name="connsiteX3" fmla="*/ 64928 w 1379716"/>
                <a:gd name="connsiteY3" fmla="*/ 279420 h 1074786"/>
                <a:gd name="connsiteX4" fmla="*/ 70339 w 1379716"/>
                <a:gd name="connsiteY4" fmla="*/ 246957 h 1074786"/>
                <a:gd name="connsiteX5" fmla="*/ 105508 w 1379716"/>
                <a:gd name="connsiteY5" fmla="*/ 246957 h 1074786"/>
                <a:gd name="connsiteX6" fmla="*/ 135267 w 1379716"/>
                <a:gd name="connsiteY6" fmla="*/ 265894 h 1074786"/>
                <a:gd name="connsiteX7" fmla="*/ 208310 w 1379716"/>
                <a:gd name="connsiteY7" fmla="*/ 238841 h 1074786"/>
                <a:gd name="connsiteX8" fmla="*/ 257006 w 1379716"/>
                <a:gd name="connsiteY8" fmla="*/ 257778 h 1074786"/>
                <a:gd name="connsiteX9" fmla="*/ 281354 w 1379716"/>
                <a:gd name="connsiteY9" fmla="*/ 257778 h 1074786"/>
                <a:gd name="connsiteX10" fmla="*/ 327345 w 1379716"/>
                <a:gd name="connsiteY10" fmla="*/ 244251 h 1074786"/>
                <a:gd name="connsiteX11" fmla="*/ 348987 w 1379716"/>
                <a:gd name="connsiteY11" fmla="*/ 268599 h 1074786"/>
                <a:gd name="connsiteX12" fmla="*/ 351693 w 1379716"/>
                <a:gd name="connsiteY12" fmla="*/ 292947 h 1074786"/>
                <a:gd name="connsiteX13" fmla="*/ 373335 w 1379716"/>
                <a:gd name="connsiteY13" fmla="*/ 298358 h 1074786"/>
                <a:gd name="connsiteX14" fmla="*/ 416621 w 1379716"/>
                <a:gd name="connsiteY14" fmla="*/ 338938 h 1074786"/>
                <a:gd name="connsiteX15" fmla="*/ 435558 w 1379716"/>
                <a:gd name="connsiteY15" fmla="*/ 320000 h 1074786"/>
                <a:gd name="connsiteX16" fmla="*/ 478843 w 1379716"/>
                <a:gd name="connsiteY16" fmla="*/ 322706 h 1074786"/>
                <a:gd name="connsiteX17" fmla="*/ 541065 w 1379716"/>
                <a:gd name="connsiteY17" fmla="*/ 279420 h 1074786"/>
                <a:gd name="connsiteX18" fmla="*/ 554592 w 1379716"/>
                <a:gd name="connsiteY18" fmla="*/ 246957 h 1074786"/>
                <a:gd name="connsiteX19" fmla="*/ 578940 w 1379716"/>
                <a:gd name="connsiteY19" fmla="*/ 228019 h 1074786"/>
                <a:gd name="connsiteX20" fmla="*/ 646573 w 1379716"/>
                <a:gd name="connsiteY20" fmla="*/ 238841 h 1074786"/>
                <a:gd name="connsiteX21" fmla="*/ 692564 w 1379716"/>
                <a:gd name="connsiteY21" fmla="*/ 265894 h 1074786"/>
                <a:gd name="connsiteX22" fmla="*/ 711501 w 1379716"/>
                <a:gd name="connsiteY22" fmla="*/ 325411 h 1074786"/>
                <a:gd name="connsiteX23" fmla="*/ 825125 w 1379716"/>
                <a:gd name="connsiteY23" fmla="*/ 376812 h 1074786"/>
                <a:gd name="connsiteX24" fmla="*/ 854883 w 1379716"/>
                <a:gd name="connsiteY24" fmla="*/ 436329 h 1074786"/>
                <a:gd name="connsiteX25" fmla="*/ 862999 w 1379716"/>
                <a:gd name="connsiteY25" fmla="*/ 568890 h 1074786"/>
                <a:gd name="connsiteX26" fmla="*/ 887347 w 1379716"/>
                <a:gd name="connsiteY26" fmla="*/ 612175 h 1074786"/>
                <a:gd name="connsiteX27" fmla="*/ 906284 w 1379716"/>
                <a:gd name="connsiteY27" fmla="*/ 593238 h 1074786"/>
                <a:gd name="connsiteX28" fmla="*/ 933338 w 1379716"/>
                <a:gd name="connsiteY28" fmla="*/ 625702 h 1074786"/>
                <a:gd name="connsiteX29" fmla="*/ 919811 w 1379716"/>
                <a:gd name="connsiteY29" fmla="*/ 663577 h 1074786"/>
                <a:gd name="connsiteX30" fmla="*/ 919811 w 1379716"/>
                <a:gd name="connsiteY30" fmla="*/ 685219 h 1074786"/>
                <a:gd name="connsiteX31" fmla="*/ 1009087 w 1379716"/>
                <a:gd name="connsiteY31" fmla="*/ 774495 h 1074786"/>
                <a:gd name="connsiteX32" fmla="*/ 1022613 w 1379716"/>
                <a:gd name="connsiteY32" fmla="*/ 755558 h 1074786"/>
                <a:gd name="connsiteX33" fmla="*/ 1030729 w 1379716"/>
                <a:gd name="connsiteY33" fmla="*/ 755558 h 1074786"/>
                <a:gd name="connsiteX34" fmla="*/ 1038845 w 1379716"/>
                <a:gd name="connsiteY34" fmla="*/ 788022 h 1074786"/>
                <a:gd name="connsiteX35" fmla="*/ 1068604 w 1379716"/>
                <a:gd name="connsiteY35" fmla="*/ 820486 h 1074786"/>
                <a:gd name="connsiteX36" fmla="*/ 1068604 w 1379716"/>
                <a:gd name="connsiteY36" fmla="*/ 844833 h 1074786"/>
                <a:gd name="connsiteX37" fmla="*/ 1106478 w 1379716"/>
                <a:gd name="connsiteY37" fmla="*/ 882708 h 1074786"/>
                <a:gd name="connsiteX38" fmla="*/ 1120005 w 1379716"/>
                <a:gd name="connsiteY38" fmla="*/ 923288 h 1074786"/>
                <a:gd name="connsiteX39" fmla="*/ 1152469 w 1379716"/>
                <a:gd name="connsiteY39" fmla="*/ 944930 h 1074786"/>
                <a:gd name="connsiteX40" fmla="*/ 1176817 w 1379716"/>
                <a:gd name="connsiteY40" fmla="*/ 942225 h 1074786"/>
                <a:gd name="connsiteX41" fmla="*/ 1211986 w 1379716"/>
                <a:gd name="connsiteY41" fmla="*/ 999037 h 1074786"/>
                <a:gd name="connsiteX42" fmla="*/ 1241745 w 1379716"/>
                <a:gd name="connsiteY42" fmla="*/ 1015269 h 1074786"/>
                <a:gd name="connsiteX43" fmla="*/ 1260682 w 1379716"/>
                <a:gd name="connsiteY43" fmla="*/ 1031501 h 1074786"/>
                <a:gd name="connsiteX44" fmla="*/ 1266093 w 1379716"/>
                <a:gd name="connsiteY44" fmla="*/ 1039617 h 1074786"/>
                <a:gd name="connsiteX45" fmla="*/ 1252566 w 1379716"/>
                <a:gd name="connsiteY45" fmla="*/ 1047733 h 1074786"/>
                <a:gd name="connsiteX46" fmla="*/ 1247155 w 1379716"/>
                <a:gd name="connsiteY46" fmla="*/ 1055849 h 1074786"/>
                <a:gd name="connsiteX47" fmla="*/ 1268798 w 1379716"/>
                <a:gd name="connsiteY47" fmla="*/ 1074786 h 1074786"/>
                <a:gd name="connsiteX48" fmla="*/ 1282325 w 1379716"/>
                <a:gd name="connsiteY48" fmla="*/ 1069375 h 1074786"/>
                <a:gd name="connsiteX49" fmla="*/ 1298557 w 1379716"/>
                <a:gd name="connsiteY49" fmla="*/ 1053143 h 1074786"/>
                <a:gd name="connsiteX50" fmla="*/ 1314789 w 1379716"/>
                <a:gd name="connsiteY50" fmla="*/ 1034206 h 1074786"/>
                <a:gd name="connsiteX51" fmla="*/ 1341842 w 1379716"/>
                <a:gd name="connsiteY51" fmla="*/ 1039617 h 1074786"/>
                <a:gd name="connsiteX52" fmla="*/ 1349958 w 1379716"/>
                <a:gd name="connsiteY52" fmla="*/ 1015269 h 1074786"/>
                <a:gd name="connsiteX53" fmla="*/ 1363484 w 1379716"/>
                <a:gd name="connsiteY53" fmla="*/ 980100 h 1074786"/>
                <a:gd name="connsiteX54" fmla="*/ 1355368 w 1379716"/>
                <a:gd name="connsiteY54" fmla="*/ 950341 h 1074786"/>
                <a:gd name="connsiteX55" fmla="*/ 1360779 w 1379716"/>
                <a:gd name="connsiteY55" fmla="*/ 925993 h 1074786"/>
                <a:gd name="connsiteX56" fmla="*/ 1368895 w 1379716"/>
                <a:gd name="connsiteY56" fmla="*/ 890824 h 1074786"/>
                <a:gd name="connsiteX57" fmla="*/ 1379716 w 1379716"/>
                <a:gd name="connsiteY57" fmla="*/ 831307 h 1074786"/>
                <a:gd name="connsiteX58" fmla="*/ 1377011 w 1379716"/>
                <a:gd name="connsiteY58" fmla="*/ 752852 h 1074786"/>
                <a:gd name="connsiteX59" fmla="*/ 1352663 w 1379716"/>
                <a:gd name="connsiteY59" fmla="*/ 674398 h 1074786"/>
                <a:gd name="connsiteX60" fmla="*/ 1325610 w 1379716"/>
                <a:gd name="connsiteY60" fmla="*/ 614881 h 1074786"/>
                <a:gd name="connsiteX61" fmla="*/ 1328315 w 1379716"/>
                <a:gd name="connsiteY61" fmla="*/ 604059 h 1074786"/>
                <a:gd name="connsiteX62" fmla="*/ 1306673 w 1379716"/>
                <a:gd name="connsiteY62" fmla="*/ 560774 h 1074786"/>
                <a:gd name="connsiteX63" fmla="*/ 1266093 w 1379716"/>
                <a:gd name="connsiteY63" fmla="*/ 509373 h 1074786"/>
                <a:gd name="connsiteX64" fmla="*/ 1195754 w 1379716"/>
                <a:gd name="connsiteY64" fmla="*/ 403865 h 1074786"/>
                <a:gd name="connsiteX65" fmla="*/ 1184933 w 1379716"/>
                <a:gd name="connsiteY65" fmla="*/ 379517 h 1074786"/>
                <a:gd name="connsiteX66" fmla="*/ 1203870 w 1379716"/>
                <a:gd name="connsiteY66" fmla="*/ 374107 h 1074786"/>
                <a:gd name="connsiteX67" fmla="*/ 1230923 w 1379716"/>
                <a:gd name="connsiteY67" fmla="*/ 393044 h 1074786"/>
                <a:gd name="connsiteX68" fmla="*/ 1257977 w 1379716"/>
                <a:gd name="connsiteY68" fmla="*/ 471499 h 1074786"/>
                <a:gd name="connsiteX69" fmla="*/ 1217397 w 1379716"/>
                <a:gd name="connsiteY69" fmla="*/ 363286 h 1074786"/>
                <a:gd name="connsiteX70" fmla="*/ 1138942 w 1379716"/>
                <a:gd name="connsiteY70" fmla="*/ 287536 h 1074786"/>
                <a:gd name="connsiteX71" fmla="*/ 1117300 w 1379716"/>
                <a:gd name="connsiteY71" fmla="*/ 225314 h 1074786"/>
                <a:gd name="connsiteX72" fmla="*/ 1076720 w 1379716"/>
                <a:gd name="connsiteY72" fmla="*/ 176618 h 1074786"/>
                <a:gd name="connsiteX73" fmla="*/ 1057783 w 1379716"/>
                <a:gd name="connsiteY73" fmla="*/ 130628 h 1074786"/>
                <a:gd name="connsiteX74" fmla="*/ 1028024 w 1379716"/>
                <a:gd name="connsiteY74" fmla="*/ 68405 h 1074786"/>
                <a:gd name="connsiteX75" fmla="*/ 1011792 w 1379716"/>
                <a:gd name="connsiteY75" fmla="*/ 81932 h 1074786"/>
                <a:gd name="connsiteX76" fmla="*/ 1017203 w 1379716"/>
                <a:gd name="connsiteY76" fmla="*/ 119806 h 1074786"/>
                <a:gd name="connsiteX77" fmla="*/ 1025319 w 1379716"/>
                <a:gd name="connsiteY77" fmla="*/ 149565 h 1074786"/>
                <a:gd name="connsiteX78" fmla="*/ 1025319 w 1379716"/>
                <a:gd name="connsiteY78" fmla="*/ 165797 h 1074786"/>
                <a:gd name="connsiteX79" fmla="*/ 995560 w 1379716"/>
                <a:gd name="connsiteY79" fmla="*/ 144154 h 1074786"/>
                <a:gd name="connsiteX80" fmla="*/ 990149 w 1379716"/>
                <a:gd name="connsiteY80" fmla="*/ 111690 h 1074786"/>
                <a:gd name="connsiteX81" fmla="*/ 987444 w 1379716"/>
                <a:gd name="connsiteY81" fmla="*/ 84637 h 1074786"/>
                <a:gd name="connsiteX82" fmla="*/ 1006381 w 1379716"/>
                <a:gd name="connsiteY82" fmla="*/ 54878 h 1074786"/>
                <a:gd name="connsiteX83" fmla="*/ 1022938 w 1379716"/>
                <a:gd name="connsiteY83" fmla="*/ 0 h 1074786"/>
                <a:gd name="connsiteX84" fmla="*/ 968507 w 1379716"/>
                <a:gd name="connsiteY84" fmla="*/ 14299 h 1074786"/>
                <a:gd name="connsiteX85" fmla="*/ 941454 w 1379716"/>
                <a:gd name="connsiteY85" fmla="*/ 772 h 1074786"/>
                <a:gd name="connsiteX86" fmla="*/ 917106 w 1379716"/>
                <a:gd name="connsiteY86" fmla="*/ 19709 h 1074786"/>
                <a:gd name="connsiteX87" fmla="*/ 911695 w 1379716"/>
                <a:gd name="connsiteY87" fmla="*/ 98164 h 1074786"/>
                <a:gd name="connsiteX88" fmla="*/ 862999 w 1379716"/>
                <a:gd name="connsiteY88" fmla="*/ 81932 h 1074786"/>
                <a:gd name="connsiteX89" fmla="*/ 465316 w 1379716"/>
                <a:gd name="connsiteY89" fmla="*/ 119806 h 1074786"/>
                <a:gd name="connsiteX90" fmla="*/ 392273 w 1379716"/>
                <a:gd name="connsiteY90" fmla="*/ 92753 h 1074786"/>
                <a:gd name="connsiteX91" fmla="*/ 0 w 1379716"/>
                <a:gd name="connsiteY91" fmla="*/ 184734 h 1074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379716" h="1074786">
                  <a:moveTo>
                    <a:pt x="0" y="184734"/>
                  </a:moveTo>
                  <a:lnTo>
                    <a:pt x="27054" y="303768"/>
                  </a:lnTo>
                  <a:lnTo>
                    <a:pt x="48696" y="295652"/>
                  </a:lnTo>
                  <a:lnTo>
                    <a:pt x="64928" y="279420"/>
                  </a:lnTo>
                  <a:lnTo>
                    <a:pt x="70339" y="246957"/>
                  </a:lnTo>
                  <a:lnTo>
                    <a:pt x="105508" y="246957"/>
                  </a:lnTo>
                  <a:lnTo>
                    <a:pt x="135267" y="265894"/>
                  </a:lnTo>
                  <a:lnTo>
                    <a:pt x="208310" y="238841"/>
                  </a:lnTo>
                  <a:lnTo>
                    <a:pt x="257006" y="257778"/>
                  </a:lnTo>
                  <a:lnTo>
                    <a:pt x="281354" y="257778"/>
                  </a:lnTo>
                  <a:lnTo>
                    <a:pt x="327345" y="244251"/>
                  </a:lnTo>
                  <a:lnTo>
                    <a:pt x="348987" y="268599"/>
                  </a:lnTo>
                  <a:lnTo>
                    <a:pt x="351693" y="292947"/>
                  </a:lnTo>
                  <a:lnTo>
                    <a:pt x="373335" y="298358"/>
                  </a:lnTo>
                  <a:lnTo>
                    <a:pt x="416621" y="338938"/>
                  </a:lnTo>
                  <a:lnTo>
                    <a:pt x="435558" y="320000"/>
                  </a:lnTo>
                  <a:lnTo>
                    <a:pt x="478843" y="322706"/>
                  </a:lnTo>
                  <a:lnTo>
                    <a:pt x="541065" y="279420"/>
                  </a:lnTo>
                  <a:lnTo>
                    <a:pt x="554592" y="246957"/>
                  </a:lnTo>
                  <a:lnTo>
                    <a:pt x="578940" y="228019"/>
                  </a:lnTo>
                  <a:lnTo>
                    <a:pt x="646573" y="238841"/>
                  </a:lnTo>
                  <a:lnTo>
                    <a:pt x="692564" y="265894"/>
                  </a:lnTo>
                  <a:lnTo>
                    <a:pt x="711501" y="325411"/>
                  </a:lnTo>
                  <a:lnTo>
                    <a:pt x="825125" y="376812"/>
                  </a:lnTo>
                  <a:lnTo>
                    <a:pt x="854883" y="436329"/>
                  </a:lnTo>
                  <a:lnTo>
                    <a:pt x="862999" y="568890"/>
                  </a:lnTo>
                  <a:lnTo>
                    <a:pt x="887347" y="612175"/>
                  </a:lnTo>
                  <a:lnTo>
                    <a:pt x="906284" y="593238"/>
                  </a:lnTo>
                  <a:lnTo>
                    <a:pt x="933338" y="625702"/>
                  </a:lnTo>
                  <a:lnTo>
                    <a:pt x="919811" y="663577"/>
                  </a:lnTo>
                  <a:lnTo>
                    <a:pt x="919811" y="685219"/>
                  </a:lnTo>
                  <a:lnTo>
                    <a:pt x="1009087" y="774495"/>
                  </a:lnTo>
                  <a:lnTo>
                    <a:pt x="1022613" y="755558"/>
                  </a:lnTo>
                  <a:lnTo>
                    <a:pt x="1030729" y="755558"/>
                  </a:lnTo>
                  <a:lnTo>
                    <a:pt x="1038845" y="788022"/>
                  </a:lnTo>
                  <a:lnTo>
                    <a:pt x="1068604" y="820486"/>
                  </a:lnTo>
                  <a:lnTo>
                    <a:pt x="1068604" y="844833"/>
                  </a:lnTo>
                  <a:lnTo>
                    <a:pt x="1106478" y="882708"/>
                  </a:lnTo>
                  <a:lnTo>
                    <a:pt x="1120005" y="923288"/>
                  </a:lnTo>
                  <a:lnTo>
                    <a:pt x="1152469" y="944930"/>
                  </a:lnTo>
                  <a:lnTo>
                    <a:pt x="1176817" y="942225"/>
                  </a:lnTo>
                  <a:lnTo>
                    <a:pt x="1211986" y="999037"/>
                  </a:lnTo>
                  <a:lnTo>
                    <a:pt x="1241745" y="1015269"/>
                  </a:lnTo>
                  <a:lnTo>
                    <a:pt x="1260682" y="1031501"/>
                  </a:lnTo>
                  <a:lnTo>
                    <a:pt x="1266093" y="1039617"/>
                  </a:lnTo>
                  <a:lnTo>
                    <a:pt x="1252566" y="1047733"/>
                  </a:lnTo>
                  <a:lnTo>
                    <a:pt x="1247155" y="1055849"/>
                  </a:lnTo>
                  <a:lnTo>
                    <a:pt x="1268798" y="1074786"/>
                  </a:lnTo>
                  <a:lnTo>
                    <a:pt x="1282325" y="1069375"/>
                  </a:lnTo>
                  <a:lnTo>
                    <a:pt x="1298557" y="1053143"/>
                  </a:lnTo>
                  <a:lnTo>
                    <a:pt x="1314789" y="1034206"/>
                  </a:lnTo>
                  <a:lnTo>
                    <a:pt x="1341842" y="1039617"/>
                  </a:lnTo>
                  <a:lnTo>
                    <a:pt x="1349958" y="1015269"/>
                  </a:lnTo>
                  <a:lnTo>
                    <a:pt x="1363484" y="980100"/>
                  </a:lnTo>
                  <a:lnTo>
                    <a:pt x="1355368" y="950341"/>
                  </a:lnTo>
                  <a:lnTo>
                    <a:pt x="1360779" y="925993"/>
                  </a:lnTo>
                  <a:lnTo>
                    <a:pt x="1368895" y="890824"/>
                  </a:lnTo>
                  <a:lnTo>
                    <a:pt x="1379716" y="831307"/>
                  </a:lnTo>
                  <a:cubicBezTo>
                    <a:pt x="1378814" y="805155"/>
                    <a:pt x="1377913" y="779004"/>
                    <a:pt x="1377011" y="752852"/>
                  </a:cubicBezTo>
                  <a:lnTo>
                    <a:pt x="1352663" y="674398"/>
                  </a:lnTo>
                  <a:lnTo>
                    <a:pt x="1325610" y="614881"/>
                  </a:lnTo>
                  <a:lnTo>
                    <a:pt x="1328315" y="604059"/>
                  </a:lnTo>
                  <a:lnTo>
                    <a:pt x="1306673" y="560774"/>
                  </a:lnTo>
                  <a:lnTo>
                    <a:pt x="1266093" y="509373"/>
                  </a:lnTo>
                  <a:lnTo>
                    <a:pt x="1195754" y="403865"/>
                  </a:lnTo>
                  <a:lnTo>
                    <a:pt x="1184933" y="379517"/>
                  </a:lnTo>
                  <a:lnTo>
                    <a:pt x="1203870" y="374107"/>
                  </a:lnTo>
                  <a:lnTo>
                    <a:pt x="1230923" y="393044"/>
                  </a:lnTo>
                  <a:lnTo>
                    <a:pt x="1257977" y="471499"/>
                  </a:lnTo>
                  <a:lnTo>
                    <a:pt x="1217397" y="363286"/>
                  </a:lnTo>
                  <a:lnTo>
                    <a:pt x="1138942" y="287536"/>
                  </a:lnTo>
                  <a:lnTo>
                    <a:pt x="1117300" y="225314"/>
                  </a:lnTo>
                  <a:lnTo>
                    <a:pt x="1076720" y="176618"/>
                  </a:lnTo>
                  <a:lnTo>
                    <a:pt x="1057783" y="130628"/>
                  </a:lnTo>
                  <a:lnTo>
                    <a:pt x="1028024" y="68405"/>
                  </a:lnTo>
                  <a:lnTo>
                    <a:pt x="1011792" y="81932"/>
                  </a:lnTo>
                  <a:lnTo>
                    <a:pt x="1017203" y="119806"/>
                  </a:lnTo>
                  <a:lnTo>
                    <a:pt x="1025319" y="149565"/>
                  </a:lnTo>
                  <a:lnTo>
                    <a:pt x="1025319" y="165797"/>
                  </a:lnTo>
                  <a:lnTo>
                    <a:pt x="995560" y="144154"/>
                  </a:lnTo>
                  <a:lnTo>
                    <a:pt x="990149" y="111690"/>
                  </a:lnTo>
                  <a:lnTo>
                    <a:pt x="987444" y="84637"/>
                  </a:lnTo>
                  <a:lnTo>
                    <a:pt x="1006381" y="54878"/>
                  </a:lnTo>
                  <a:lnTo>
                    <a:pt x="1022938" y="0"/>
                  </a:lnTo>
                  <a:lnTo>
                    <a:pt x="968507" y="14299"/>
                  </a:lnTo>
                  <a:lnTo>
                    <a:pt x="941454" y="772"/>
                  </a:lnTo>
                  <a:lnTo>
                    <a:pt x="917106" y="19709"/>
                  </a:lnTo>
                  <a:lnTo>
                    <a:pt x="911695" y="98164"/>
                  </a:lnTo>
                  <a:lnTo>
                    <a:pt x="862999" y="81932"/>
                  </a:lnTo>
                  <a:lnTo>
                    <a:pt x="465316" y="119806"/>
                  </a:lnTo>
                  <a:lnTo>
                    <a:pt x="392273" y="92753"/>
                  </a:lnTo>
                  <a:lnTo>
                    <a:pt x="0" y="1847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2" name="Freeform 121"/>
            <p:cNvSpPr/>
            <p:nvPr/>
          </p:nvSpPr>
          <p:spPr>
            <a:xfrm>
              <a:off x="4298290" y="3186071"/>
              <a:ext cx="833014" cy="412234"/>
            </a:xfrm>
            <a:custGeom>
              <a:avLst/>
              <a:gdLst>
                <a:gd name="connsiteX0" fmla="*/ 360608 w 1311069"/>
                <a:gd name="connsiteY0" fmla="*/ 293638 h 698035"/>
                <a:gd name="connsiteX1" fmla="*/ 360608 w 1311069"/>
                <a:gd name="connsiteY1" fmla="*/ 355457 h 698035"/>
                <a:gd name="connsiteX2" fmla="*/ 324547 w 1311069"/>
                <a:gd name="connsiteY2" fmla="*/ 381215 h 698035"/>
                <a:gd name="connsiteX3" fmla="*/ 285911 w 1311069"/>
                <a:gd name="connsiteY3" fmla="*/ 381215 h 698035"/>
                <a:gd name="connsiteX4" fmla="*/ 257577 w 1311069"/>
                <a:gd name="connsiteY4" fmla="*/ 435306 h 698035"/>
                <a:gd name="connsiteX5" fmla="*/ 198334 w 1311069"/>
                <a:gd name="connsiteY5" fmla="*/ 435306 h 698035"/>
                <a:gd name="connsiteX6" fmla="*/ 182880 w 1311069"/>
                <a:gd name="connsiteY6" fmla="*/ 489397 h 698035"/>
                <a:gd name="connsiteX7" fmla="*/ 154546 w 1311069"/>
                <a:gd name="connsiteY7" fmla="*/ 515155 h 698035"/>
                <a:gd name="connsiteX8" fmla="*/ 103031 w 1311069"/>
                <a:gd name="connsiteY8" fmla="*/ 543489 h 698035"/>
                <a:gd name="connsiteX9" fmla="*/ 43788 w 1311069"/>
                <a:gd name="connsiteY9" fmla="*/ 592428 h 698035"/>
                <a:gd name="connsiteX10" fmla="*/ 30909 w 1311069"/>
                <a:gd name="connsiteY10" fmla="*/ 638792 h 698035"/>
                <a:gd name="connsiteX11" fmla="*/ 0 w 1311069"/>
                <a:gd name="connsiteY11" fmla="*/ 664550 h 698035"/>
                <a:gd name="connsiteX12" fmla="*/ 15454 w 1311069"/>
                <a:gd name="connsiteY12" fmla="*/ 698035 h 698035"/>
                <a:gd name="connsiteX13" fmla="*/ 185455 w 1311069"/>
                <a:gd name="connsiteY13" fmla="*/ 664550 h 698035"/>
                <a:gd name="connsiteX14" fmla="*/ 370911 w 1311069"/>
                <a:gd name="connsiteY14" fmla="*/ 569246 h 698035"/>
                <a:gd name="connsiteX15" fmla="*/ 504852 w 1311069"/>
                <a:gd name="connsiteY15" fmla="*/ 558943 h 698035"/>
                <a:gd name="connsiteX16" fmla="*/ 589852 w 1311069"/>
                <a:gd name="connsiteY16" fmla="*/ 600156 h 698035"/>
                <a:gd name="connsiteX17" fmla="*/ 749550 w 1311069"/>
                <a:gd name="connsiteY17" fmla="*/ 546064 h 698035"/>
                <a:gd name="connsiteX18" fmla="*/ 945309 w 1311069"/>
                <a:gd name="connsiteY18" fmla="*/ 677429 h 698035"/>
                <a:gd name="connsiteX19" fmla="*/ 976218 w 1311069"/>
                <a:gd name="connsiteY19" fmla="*/ 651671 h 698035"/>
                <a:gd name="connsiteX20" fmla="*/ 1009703 w 1311069"/>
                <a:gd name="connsiteY20" fmla="*/ 631065 h 698035"/>
                <a:gd name="connsiteX21" fmla="*/ 1050916 w 1311069"/>
                <a:gd name="connsiteY21" fmla="*/ 582125 h 698035"/>
                <a:gd name="connsiteX22" fmla="*/ 1071522 w 1311069"/>
                <a:gd name="connsiteY22" fmla="*/ 530610 h 698035"/>
                <a:gd name="connsiteX23" fmla="*/ 1115310 w 1311069"/>
                <a:gd name="connsiteY23" fmla="*/ 463640 h 698035"/>
                <a:gd name="connsiteX24" fmla="*/ 1151371 w 1311069"/>
                <a:gd name="connsiteY24" fmla="*/ 422427 h 698035"/>
                <a:gd name="connsiteX25" fmla="*/ 1190008 w 1311069"/>
                <a:gd name="connsiteY25" fmla="*/ 412124 h 698035"/>
                <a:gd name="connsiteX26" fmla="*/ 1231220 w 1311069"/>
                <a:gd name="connsiteY26" fmla="*/ 381215 h 698035"/>
                <a:gd name="connsiteX27" fmla="*/ 1238947 w 1311069"/>
                <a:gd name="connsiteY27" fmla="*/ 340002 h 698035"/>
                <a:gd name="connsiteX28" fmla="*/ 1223493 w 1311069"/>
                <a:gd name="connsiteY28" fmla="*/ 337427 h 698035"/>
                <a:gd name="connsiteX29" fmla="*/ 1197735 w 1311069"/>
                <a:gd name="connsiteY29" fmla="*/ 352881 h 698035"/>
                <a:gd name="connsiteX30" fmla="*/ 1184856 w 1311069"/>
                <a:gd name="connsiteY30" fmla="*/ 370912 h 698035"/>
                <a:gd name="connsiteX31" fmla="*/ 1159098 w 1311069"/>
                <a:gd name="connsiteY31" fmla="*/ 378639 h 698035"/>
                <a:gd name="connsiteX32" fmla="*/ 1138492 w 1311069"/>
                <a:gd name="connsiteY32" fmla="*/ 370912 h 698035"/>
                <a:gd name="connsiteX33" fmla="*/ 1133341 w 1311069"/>
                <a:gd name="connsiteY33" fmla="*/ 358033 h 698035"/>
                <a:gd name="connsiteX34" fmla="*/ 1146219 w 1311069"/>
                <a:gd name="connsiteY34" fmla="*/ 350305 h 698035"/>
                <a:gd name="connsiteX35" fmla="*/ 1164250 w 1311069"/>
                <a:gd name="connsiteY35" fmla="*/ 352881 h 698035"/>
                <a:gd name="connsiteX36" fmla="*/ 1177129 w 1311069"/>
                <a:gd name="connsiteY36" fmla="*/ 352881 h 698035"/>
                <a:gd name="connsiteX37" fmla="*/ 1184856 w 1311069"/>
                <a:gd name="connsiteY37" fmla="*/ 332275 h 698035"/>
                <a:gd name="connsiteX38" fmla="*/ 1187432 w 1311069"/>
                <a:gd name="connsiteY38" fmla="*/ 306517 h 698035"/>
                <a:gd name="connsiteX39" fmla="*/ 1169401 w 1311069"/>
                <a:gd name="connsiteY39" fmla="*/ 303941 h 698035"/>
                <a:gd name="connsiteX40" fmla="*/ 1138492 w 1311069"/>
                <a:gd name="connsiteY40" fmla="*/ 301366 h 698035"/>
                <a:gd name="connsiteX41" fmla="*/ 1123037 w 1311069"/>
                <a:gd name="connsiteY41" fmla="*/ 293638 h 698035"/>
                <a:gd name="connsiteX42" fmla="*/ 1135916 w 1311069"/>
                <a:gd name="connsiteY42" fmla="*/ 273032 h 698035"/>
                <a:gd name="connsiteX43" fmla="*/ 1156523 w 1311069"/>
                <a:gd name="connsiteY43" fmla="*/ 273032 h 698035"/>
                <a:gd name="connsiteX44" fmla="*/ 1171977 w 1311069"/>
                <a:gd name="connsiteY44" fmla="*/ 260153 h 698035"/>
                <a:gd name="connsiteX45" fmla="*/ 1195159 w 1311069"/>
                <a:gd name="connsiteY45" fmla="*/ 244699 h 698035"/>
                <a:gd name="connsiteX46" fmla="*/ 1220917 w 1311069"/>
                <a:gd name="connsiteY46" fmla="*/ 262729 h 698035"/>
                <a:gd name="connsiteX47" fmla="*/ 1251826 w 1311069"/>
                <a:gd name="connsiteY47" fmla="*/ 252426 h 698035"/>
                <a:gd name="connsiteX48" fmla="*/ 1269857 w 1311069"/>
                <a:gd name="connsiteY48" fmla="*/ 226668 h 698035"/>
                <a:gd name="connsiteX49" fmla="*/ 1293039 w 1311069"/>
                <a:gd name="connsiteY49" fmla="*/ 190607 h 698035"/>
                <a:gd name="connsiteX50" fmla="*/ 1280160 w 1311069"/>
                <a:gd name="connsiteY50" fmla="*/ 136516 h 698035"/>
                <a:gd name="connsiteX51" fmla="*/ 1256978 w 1311069"/>
                <a:gd name="connsiteY51" fmla="*/ 123637 h 698035"/>
                <a:gd name="connsiteX52" fmla="*/ 1246675 w 1311069"/>
                <a:gd name="connsiteY52" fmla="*/ 149395 h 698035"/>
                <a:gd name="connsiteX53" fmla="*/ 1241523 w 1311069"/>
                <a:gd name="connsiteY53" fmla="*/ 167425 h 698035"/>
                <a:gd name="connsiteX54" fmla="*/ 1200311 w 1311069"/>
                <a:gd name="connsiteY54" fmla="*/ 154547 h 698035"/>
                <a:gd name="connsiteX55" fmla="*/ 1161674 w 1311069"/>
                <a:gd name="connsiteY55" fmla="*/ 162274 h 698035"/>
                <a:gd name="connsiteX56" fmla="*/ 1138492 w 1311069"/>
                <a:gd name="connsiteY56" fmla="*/ 177729 h 698035"/>
                <a:gd name="connsiteX57" fmla="*/ 1128189 w 1311069"/>
                <a:gd name="connsiteY57" fmla="*/ 151971 h 698035"/>
                <a:gd name="connsiteX58" fmla="*/ 1110159 w 1311069"/>
                <a:gd name="connsiteY58" fmla="*/ 123637 h 698035"/>
                <a:gd name="connsiteX59" fmla="*/ 1130765 w 1311069"/>
                <a:gd name="connsiteY59" fmla="*/ 110758 h 698035"/>
                <a:gd name="connsiteX60" fmla="*/ 1159098 w 1311069"/>
                <a:gd name="connsiteY60" fmla="*/ 131365 h 698035"/>
                <a:gd name="connsiteX61" fmla="*/ 1179704 w 1311069"/>
                <a:gd name="connsiteY61" fmla="*/ 121061 h 698035"/>
                <a:gd name="connsiteX62" fmla="*/ 1195159 w 1311069"/>
                <a:gd name="connsiteY62" fmla="*/ 118486 h 698035"/>
                <a:gd name="connsiteX63" fmla="*/ 1220917 w 1311069"/>
                <a:gd name="connsiteY63" fmla="*/ 95304 h 698035"/>
                <a:gd name="connsiteX64" fmla="*/ 1233796 w 1311069"/>
                <a:gd name="connsiteY64" fmla="*/ 95304 h 698035"/>
                <a:gd name="connsiteX65" fmla="*/ 1231220 w 1311069"/>
                <a:gd name="connsiteY65" fmla="*/ 74698 h 698035"/>
                <a:gd name="connsiteX66" fmla="*/ 1215765 w 1311069"/>
                <a:gd name="connsiteY66" fmla="*/ 28334 h 698035"/>
                <a:gd name="connsiteX67" fmla="*/ 1223493 w 1311069"/>
                <a:gd name="connsiteY67" fmla="*/ 25758 h 698035"/>
                <a:gd name="connsiteX68" fmla="*/ 1303342 w 1311069"/>
                <a:gd name="connsiteY68" fmla="*/ 121061 h 698035"/>
                <a:gd name="connsiteX69" fmla="*/ 1311069 w 1311069"/>
                <a:gd name="connsiteY69" fmla="*/ 115910 h 698035"/>
                <a:gd name="connsiteX70" fmla="*/ 1210614 w 1311069"/>
                <a:gd name="connsiteY70" fmla="*/ 0 h 698035"/>
                <a:gd name="connsiteX71" fmla="*/ 1156523 w 1311069"/>
                <a:gd name="connsiteY71" fmla="*/ 33485 h 698035"/>
                <a:gd name="connsiteX72" fmla="*/ 360608 w 1311069"/>
                <a:gd name="connsiteY72" fmla="*/ 293638 h 698035"/>
                <a:gd name="connsiteX0" fmla="*/ 360608 w 1311069"/>
                <a:gd name="connsiteY0" fmla="*/ 279360 h 698035"/>
                <a:gd name="connsiteX1" fmla="*/ 360608 w 1311069"/>
                <a:gd name="connsiteY1" fmla="*/ 355457 h 698035"/>
                <a:gd name="connsiteX2" fmla="*/ 324547 w 1311069"/>
                <a:gd name="connsiteY2" fmla="*/ 381215 h 698035"/>
                <a:gd name="connsiteX3" fmla="*/ 285911 w 1311069"/>
                <a:gd name="connsiteY3" fmla="*/ 381215 h 698035"/>
                <a:gd name="connsiteX4" fmla="*/ 257577 w 1311069"/>
                <a:gd name="connsiteY4" fmla="*/ 435306 h 698035"/>
                <a:gd name="connsiteX5" fmla="*/ 198334 w 1311069"/>
                <a:gd name="connsiteY5" fmla="*/ 435306 h 698035"/>
                <a:gd name="connsiteX6" fmla="*/ 182880 w 1311069"/>
                <a:gd name="connsiteY6" fmla="*/ 489397 h 698035"/>
                <a:gd name="connsiteX7" fmla="*/ 154546 w 1311069"/>
                <a:gd name="connsiteY7" fmla="*/ 515155 h 698035"/>
                <a:gd name="connsiteX8" fmla="*/ 103031 w 1311069"/>
                <a:gd name="connsiteY8" fmla="*/ 543489 h 698035"/>
                <a:gd name="connsiteX9" fmla="*/ 43788 w 1311069"/>
                <a:gd name="connsiteY9" fmla="*/ 592428 h 698035"/>
                <a:gd name="connsiteX10" fmla="*/ 30909 w 1311069"/>
                <a:gd name="connsiteY10" fmla="*/ 638792 h 698035"/>
                <a:gd name="connsiteX11" fmla="*/ 0 w 1311069"/>
                <a:gd name="connsiteY11" fmla="*/ 664550 h 698035"/>
                <a:gd name="connsiteX12" fmla="*/ 15454 w 1311069"/>
                <a:gd name="connsiteY12" fmla="*/ 698035 h 698035"/>
                <a:gd name="connsiteX13" fmla="*/ 185455 w 1311069"/>
                <a:gd name="connsiteY13" fmla="*/ 664550 h 698035"/>
                <a:gd name="connsiteX14" fmla="*/ 370911 w 1311069"/>
                <a:gd name="connsiteY14" fmla="*/ 569246 h 698035"/>
                <a:gd name="connsiteX15" fmla="*/ 504852 w 1311069"/>
                <a:gd name="connsiteY15" fmla="*/ 558943 h 698035"/>
                <a:gd name="connsiteX16" fmla="*/ 589852 w 1311069"/>
                <a:gd name="connsiteY16" fmla="*/ 600156 h 698035"/>
                <a:gd name="connsiteX17" fmla="*/ 749550 w 1311069"/>
                <a:gd name="connsiteY17" fmla="*/ 546064 h 698035"/>
                <a:gd name="connsiteX18" fmla="*/ 945309 w 1311069"/>
                <a:gd name="connsiteY18" fmla="*/ 677429 h 698035"/>
                <a:gd name="connsiteX19" fmla="*/ 976218 w 1311069"/>
                <a:gd name="connsiteY19" fmla="*/ 651671 h 698035"/>
                <a:gd name="connsiteX20" fmla="*/ 1009703 w 1311069"/>
                <a:gd name="connsiteY20" fmla="*/ 631065 h 698035"/>
                <a:gd name="connsiteX21" fmla="*/ 1050916 w 1311069"/>
                <a:gd name="connsiteY21" fmla="*/ 582125 h 698035"/>
                <a:gd name="connsiteX22" fmla="*/ 1071522 w 1311069"/>
                <a:gd name="connsiteY22" fmla="*/ 530610 h 698035"/>
                <a:gd name="connsiteX23" fmla="*/ 1115310 w 1311069"/>
                <a:gd name="connsiteY23" fmla="*/ 463640 h 698035"/>
                <a:gd name="connsiteX24" fmla="*/ 1151371 w 1311069"/>
                <a:gd name="connsiteY24" fmla="*/ 422427 h 698035"/>
                <a:gd name="connsiteX25" fmla="*/ 1190008 w 1311069"/>
                <a:gd name="connsiteY25" fmla="*/ 412124 h 698035"/>
                <a:gd name="connsiteX26" fmla="*/ 1231220 w 1311069"/>
                <a:gd name="connsiteY26" fmla="*/ 381215 h 698035"/>
                <a:gd name="connsiteX27" fmla="*/ 1238947 w 1311069"/>
                <a:gd name="connsiteY27" fmla="*/ 340002 h 698035"/>
                <a:gd name="connsiteX28" fmla="*/ 1223493 w 1311069"/>
                <a:gd name="connsiteY28" fmla="*/ 337427 h 698035"/>
                <a:gd name="connsiteX29" fmla="*/ 1197735 w 1311069"/>
                <a:gd name="connsiteY29" fmla="*/ 352881 h 698035"/>
                <a:gd name="connsiteX30" fmla="*/ 1184856 w 1311069"/>
                <a:gd name="connsiteY30" fmla="*/ 370912 h 698035"/>
                <a:gd name="connsiteX31" fmla="*/ 1159098 w 1311069"/>
                <a:gd name="connsiteY31" fmla="*/ 378639 h 698035"/>
                <a:gd name="connsiteX32" fmla="*/ 1138492 w 1311069"/>
                <a:gd name="connsiteY32" fmla="*/ 370912 h 698035"/>
                <a:gd name="connsiteX33" fmla="*/ 1133341 w 1311069"/>
                <a:gd name="connsiteY33" fmla="*/ 358033 h 698035"/>
                <a:gd name="connsiteX34" fmla="*/ 1146219 w 1311069"/>
                <a:gd name="connsiteY34" fmla="*/ 350305 h 698035"/>
                <a:gd name="connsiteX35" fmla="*/ 1164250 w 1311069"/>
                <a:gd name="connsiteY35" fmla="*/ 352881 h 698035"/>
                <a:gd name="connsiteX36" fmla="*/ 1177129 w 1311069"/>
                <a:gd name="connsiteY36" fmla="*/ 352881 h 698035"/>
                <a:gd name="connsiteX37" fmla="*/ 1184856 w 1311069"/>
                <a:gd name="connsiteY37" fmla="*/ 332275 h 698035"/>
                <a:gd name="connsiteX38" fmla="*/ 1187432 w 1311069"/>
                <a:gd name="connsiteY38" fmla="*/ 306517 h 698035"/>
                <a:gd name="connsiteX39" fmla="*/ 1169401 w 1311069"/>
                <a:gd name="connsiteY39" fmla="*/ 303941 h 698035"/>
                <a:gd name="connsiteX40" fmla="*/ 1138492 w 1311069"/>
                <a:gd name="connsiteY40" fmla="*/ 301366 h 698035"/>
                <a:gd name="connsiteX41" fmla="*/ 1123037 w 1311069"/>
                <a:gd name="connsiteY41" fmla="*/ 293638 h 698035"/>
                <a:gd name="connsiteX42" fmla="*/ 1135916 w 1311069"/>
                <a:gd name="connsiteY42" fmla="*/ 273032 h 698035"/>
                <a:gd name="connsiteX43" fmla="*/ 1156523 w 1311069"/>
                <a:gd name="connsiteY43" fmla="*/ 273032 h 698035"/>
                <a:gd name="connsiteX44" fmla="*/ 1171977 w 1311069"/>
                <a:gd name="connsiteY44" fmla="*/ 260153 h 698035"/>
                <a:gd name="connsiteX45" fmla="*/ 1195159 w 1311069"/>
                <a:gd name="connsiteY45" fmla="*/ 244699 h 698035"/>
                <a:gd name="connsiteX46" fmla="*/ 1220917 w 1311069"/>
                <a:gd name="connsiteY46" fmla="*/ 262729 h 698035"/>
                <a:gd name="connsiteX47" fmla="*/ 1251826 w 1311069"/>
                <a:gd name="connsiteY47" fmla="*/ 252426 h 698035"/>
                <a:gd name="connsiteX48" fmla="*/ 1269857 w 1311069"/>
                <a:gd name="connsiteY48" fmla="*/ 226668 h 698035"/>
                <a:gd name="connsiteX49" fmla="*/ 1293039 w 1311069"/>
                <a:gd name="connsiteY49" fmla="*/ 190607 h 698035"/>
                <a:gd name="connsiteX50" fmla="*/ 1280160 w 1311069"/>
                <a:gd name="connsiteY50" fmla="*/ 136516 h 698035"/>
                <a:gd name="connsiteX51" fmla="*/ 1256978 w 1311069"/>
                <a:gd name="connsiteY51" fmla="*/ 123637 h 698035"/>
                <a:gd name="connsiteX52" fmla="*/ 1246675 w 1311069"/>
                <a:gd name="connsiteY52" fmla="*/ 149395 h 698035"/>
                <a:gd name="connsiteX53" fmla="*/ 1241523 w 1311069"/>
                <a:gd name="connsiteY53" fmla="*/ 167425 h 698035"/>
                <a:gd name="connsiteX54" fmla="*/ 1200311 w 1311069"/>
                <a:gd name="connsiteY54" fmla="*/ 154547 h 698035"/>
                <a:gd name="connsiteX55" fmla="*/ 1161674 w 1311069"/>
                <a:gd name="connsiteY55" fmla="*/ 162274 h 698035"/>
                <a:gd name="connsiteX56" fmla="*/ 1138492 w 1311069"/>
                <a:gd name="connsiteY56" fmla="*/ 177729 h 698035"/>
                <a:gd name="connsiteX57" fmla="*/ 1128189 w 1311069"/>
                <a:gd name="connsiteY57" fmla="*/ 151971 h 698035"/>
                <a:gd name="connsiteX58" fmla="*/ 1110159 w 1311069"/>
                <a:gd name="connsiteY58" fmla="*/ 123637 h 698035"/>
                <a:gd name="connsiteX59" fmla="*/ 1130765 w 1311069"/>
                <a:gd name="connsiteY59" fmla="*/ 110758 h 698035"/>
                <a:gd name="connsiteX60" fmla="*/ 1159098 w 1311069"/>
                <a:gd name="connsiteY60" fmla="*/ 131365 h 698035"/>
                <a:gd name="connsiteX61" fmla="*/ 1179704 w 1311069"/>
                <a:gd name="connsiteY61" fmla="*/ 121061 h 698035"/>
                <a:gd name="connsiteX62" fmla="*/ 1195159 w 1311069"/>
                <a:gd name="connsiteY62" fmla="*/ 118486 h 698035"/>
                <a:gd name="connsiteX63" fmla="*/ 1220917 w 1311069"/>
                <a:gd name="connsiteY63" fmla="*/ 95304 h 698035"/>
                <a:gd name="connsiteX64" fmla="*/ 1233796 w 1311069"/>
                <a:gd name="connsiteY64" fmla="*/ 95304 h 698035"/>
                <a:gd name="connsiteX65" fmla="*/ 1231220 w 1311069"/>
                <a:gd name="connsiteY65" fmla="*/ 74698 h 698035"/>
                <a:gd name="connsiteX66" fmla="*/ 1215765 w 1311069"/>
                <a:gd name="connsiteY66" fmla="*/ 28334 h 698035"/>
                <a:gd name="connsiteX67" fmla="*/ 1223493 w 1311069"/>
                <a:gd name="connsiteY67" fmla="*/ 25758 h 698035"/>
                <a:gd name="connsiteX68" fmla="*/ 1303342 w 1311069"/>
                <a:gd name="connsiteY68" fmla="*/ 121061 h 698035"/>
                <a:gd name="connsiteX69" fmla="*/ 1311069 w 1311069"/>
                <a:gd name="connsiteY69" fmla="*/ 115910 h 698035"/>
                <a:gd name="connsiteX70" fmla="*/ 1210614 w 1311069"/>
                <a:gd name="connsiteY70" fmla="*/ 0 h 698035"/>
                <a:gd name="connsiteX71" fmla="*/ 1156523 w 1311069"/>
                <a:gd name="connsiteY71" fmla="*/ 33485 h 698035"/>
                <a:gd name="connsiteX72" fmla="*/ 360608 w 1311069"/>
                <a:gd name="connsiteY72" fmla="*/ 279360 h 698035"/>
                <a:gd name="connsiteX0" fmla="*/ 360608 w 1311069"/>
                <a:gd name="connsiteY0" fmla="*/ 279360 h 698035"/>
                <a:gd name="connsiteX1" fmla="*/ 360608 w 1311069"/>
                <a:gd name="connsiteY1" fmla="*/ 355457 h 698035"/>
                <a:gd name="connsiteX2" fmla="*/ 324547 w 1311069"/>
                <a:gd name="connsiteY2" fmla="*/ 381215 h 698035"/>
                <a:gd name="connsiteX3" fmla="*/ 285911 w 1311069"/>
                <a:gd name="connsiteY3" fmla="*/ 381215 h 698035"/>
                <a:gd name="connsiteX4" fmla="*/ 257577 w 1311069"/>
                <a:gd name="connsiteY4" fmla="*/ 435306 h 698035"/>
                <a:gd name="connsiteX5" fmla="*/ 198334 w 1311069"/>
                <a:gd name="connsiteY5" fmla="*/ 435306 h 698035"/>
                <a:gd name="connsiteX6" fmla="*/ 182880 w 1311069"/>
                <a:gd name="connsiteY6" fmla="*/ 489397 h 698035"/>
                <a:gd name="connsiteX7" fmla="*/ 154546 w 1311069"/>
                <a:gd name="connsiteY7" fmla="*/ 515155 h 698035"/>
                <a:gd name="connsiteX8" fmla="*/ 103031 w 1311069"/>
                <a:gd name="connsiteY8" fmla="*/ 543489 h 698035"/>
                <a:gd name="connsiteX9" fmla="*/ 43788 w 1311069"/>
                <a:gd name="connsiteY9" fmla="*/ 592428 h 698035"/>
                <a:gd name="connsiteX10" fmla="*/ 30909 w 1311069"/>
                <a:gd name="connsiteY10" fmla="*/ 638792 h 698035"/>
                <a:gd name="connsiteX11" fmla="*/ 0 w 1311069"/>
                <a:gd name="connsiteY11" fmla="*/ 664550 h 698035"/>
                <a:gd name="connsiteX12" fmla="*/ 15454 w 1311069"/>
                <a:gd name="connsiteY12" fmla="*/ 698035 h 698035"/>
                <a:gd name="connsiteX13" fmla="*/ 185455 w 1311069"/>
                <a:gd name="connsiteY13" fmla="*/ 664550 h 698035"/>
                <a:gd name="connsiteX14" fmla="*/ 370911 w 1311069"/>
                <a:gd name="connsiteY14" fmla="*/ 569246 h 698035"/>
                <a:gd name="connsiteX15" fmla="*/ 504852 w 1311069"/>
                <a:gd name="connsiteY15" fmla="*/ 558943 h 698035"/>
                <a:gd name="connsiteX16" fmla="*/ 589852 w 1311069"/>
                <a:gd name="connsiteY16" fmla="*/ 600156 h 698035"/>
                <a:gd name="connsiteX17" fmla="*/ 749550 w 1311069"/>
                <a:gd name="connsiteY17" fmla="*/ 546064 h 698035"/>
                <a:gd name="connsiteX18" fmla="*/ 945309 w 1311069"/>
                <a:gd name="connsiteY18" fmla="*/ 677429 h 698035"/>
                <a:gd name="connsiteX19" fmla="*/ 976218 w 1311069"/>
                <a:gd name="connsiteY19" fmla="*/ 651671 h 698035"/>
                <a:gd name="connsiteX20" fmla="*/ 1009703 w 1311069"/>
                <a:gd name="connsiteY20" fmla="*/ 631065 h 698035"/>
                <a:gd name="connsiteX21" fmla="*/ 1050916 w 1311069"/>
                <a:gd name="connsiteY21" fmla="*/ 582125 h 698035"/>
                <a:gd name="connsiteX22" fmla="*/ 1071522 w 1311069"/>
                <a:gd name="connsiteY22" fmla="*/ 530610 h 698035"/>
                <a:gd name="connsiteX23" fmla="*/ 1115310 w 1311069"/>
                <a:gd name="connsiteY23" fmla="*/ 463640 h 698035"/>
                <a:gd name="connsiteX24" fmla="*/ 1151371 w 1311069"/>
                <a:gd name="connsiteY24" fmla="*/ 422427 h 698035"/>
                <a:gd name="connsiteX25" fmla="*/ 1190008 w 1311069"/>
                <a:gd name="connsiteY25" fmla="*/ 412124 h 698035"/>
                <a:gd name="connsiteX26" fmla="*/ 1231220 w 1311069"/>
                <a:gd name="connsiteY26" fmla="*/ 381215 h 698035"/>
                <a:gd name="connsiteX27" fmla="*/ 1238947 w 1311069"/>
                <a:gd name="connsiteY27" fmla="*/ 340002 h 698035"/>
                <a:gd name="connsiteX28" fmla="*/ 1223493 w 1311069"/>
                <a:gd name="connsiteY28" fmla="*/ 337427 h 698035"/>
                <a:gd name="connsiteX29" fmla="*/ 1197735 w 1311069"/>
                <a:gd name="connsiteY29" fmla="*/ 352881 h 698035"/>
                <a:gd name="connsiteX30" fmla="*/ 1184856 w 1311069"/>
                <a:gd name="connsiteY30" fmla="*/ 370912 h 698035"/>
                <a:gd name="connsiteX31" fmla="*/ 1159098 w 1311069"/>
                <a:gd name="connsiteY31" fmla="*/ 378639 h 698035"/>
                <a:gd name="connsiteX32" fmla="*/ 1138492 w 1311069"/>
                <a:gd name="connsiteY32" fmla="*/ 370912 h 698035"/>
                <a:gd name="connsiteX33" fmla="*/ 1133341 w 1311069"/>
                <a:gd name="connsiteY33" fmla="*/ 358033 h 698035"/>
                <a:gd name="connsiteX34" fmla="*/ 1146219 w 1311069"/>
                <a:gd name="connsiteY34" fmla="*/ 350305 h 698035"/>
                <a:gd name="connsiteX35" fmla="*/ 1164250 w 1311069"/>
                <a:gd name="connsiteY35" fmla="*/ 352881 h 698035"/>
                <a:gd name="connsiteX36" fmla="*/ 1177129 w 1311069"/>
                <a:gd name="connsiteY36" fmla="*/ 352881 h 698035"/>
                <a:gd name="connsiteX37" fmla="*/ 1184856 w 1311069"/>
                <a:gd name="connsiteY37" fmla="*/ 332275 h 698035"/>
                <a:gd name="connsiteX38" fmla="*/ 1187432 w 1311069"/>
                <a:gd name="connsiteY38" fmla="*/ 306517 h 698035"/>
                <a:gd name="connsiteX39" fmla="*/ 1169401 w 1311069"/>
                <a:gd name="connsiteY39" fmla="*/ 303941 h 698035"/>
                <a:gd name="connsiteX40" fmla="*/ 1138492 w 1311069"/>
                <a:gd name="connsiteY40" fmla="*/ 301366 h 698035"/>
                <a:gd name="connsiteX41" fmla="*/ 1123037 w 1311069"/>
                <a:gd name="connsiteY41" fmla="*/ 293638 h 698035"/>
                <a:gd name="connsiteX42" fmla="*/ 1135916 w 1311069"/>
                <a:gd name="connsiteY42" fmla="*/ 273032 h 698035"/>
                <a:gd name="connsiteX43" fmla="*/ 1156523 w 1311069"/>
                <a:gd name="connsiteY43" fmla="*/ 273032 h 698035"/>
                <a:gd name="connsiteX44" fmla="*/ 1171977 w 1311069"/>
                <a:gd name="connsiteY44" fmla="*/ 260153 h 698035"/>
                <a:gd name="connsiteX45" fmla="*/ 1195159 w 1311069"/>
                <a:gd name="connsiteY45" fmla="*/ 244699 h 698035"/>
                <a:gd name="connsiteX46" fmla="*/ 1220917 w 1311069"/>
                <a:gd name="connsiteY46" fmla="*/ 262729 h 698035"/>
                <a:gd name="connsiteX47" fmla="*/ 1251826 w 1311069"/>
                <a:gd name="connsiteY47" fmla="*/ 252426 h 698035"/>
                <a:gd name="connsiteX48" fmla="*/ 1269857 w 1311069"/>
                <a:gd name="connsiteY48" fmla="*/ 226668 h 698035"/>
                <a:gd name="connsiteX49" fmla="*/ 1293039 w 1311069"/>
                <a:gd name="connsiteY49" fmla="*/ 190607 h 698035"/>
                <a:gd name="connsiteX50" fmla="*/ 1280160 w 1311069"/>
                <a:gd name="connsiteY50" fmla="*/ 136516 h 698035"/>
                <a:gd name="connsiteX51" fmla="*/ 1256978 w 1311069"/>
                <a:gd name="connsiteY51" fmla="*/ 123637 h 698035"/>
                <a:gd name="connsiteX52" fmla="*/ 1246675 w 1311069"/>
                <a:gd name="connsiteY52" fmla="*/ 149395 h 698035"/>
                <a:gd name="connsiteX53" fmla="*/ 1241523 w 1311069"/>
                <a:gd name="connsiteY53" fmla="*/ 167425 h 698035"/>
                <a:gd name="connsiteX54" fmla="*/ 1200311 w 1311069"/>
                <a:gd name="connsiteY54" fmla="*/ 154547 h 698035"/>
                <a:gd name="connsiteX55" fmla="*/ 1161674 w 1311069"/>
                <a:gd name="connsiteY55" fmla="*/ 162274 h 698035"/>
                <a:gd name="connsiteX56" fmla="*/ 1138492 w 1311069"/>
                <a:gd name="connsiteY56" fmla="*/ 177729 h 698035"/>
                <a:gd name="connsiteX57" fmla="*/ 1128189 w 1311069"/>
                <a:gd name="connsiteY57" fmla="*/ 151971 h 698035"/>
                <a:gd name="connsiteX58" fmla="*/ 1110159 w 1311069"/>
                <a:gd name="connsiteY58" fmla="*/ 123637 h 698035"/>
                <a:gd name="connsiteX59" fmla="*/ 1130765 w 1311069"/>
                <a:gd name="connsiteY59" fmla="*/ 110758 h 698035"/>
                <a:gd name="connsiteX60" fmla="*/ 1159098 w 1311069"/>
                <a:gd name="connsiteY60" fmla="*/ 131365 h 698035"/>
                <a:gd name="connsiteX61" fmla="*/ 1179704 w 1311069"/>
                <a:gd name="connsiteY61" fmla="*/ 121061 h 698035"/>
                <a:gd name="connsiteX62" fmla="*/ 1195159 w 1311069"/>
                <a:gd name="connsiteY62" fmla="*/ 118486 h 698035"/>
                <a:gd name="connsiteX63" fmla="*/ 1220917 w 1311069"/>
                <a:gd name="connsiteY63" fmla="*/ 95304 h 698035"/>
                <a:gd name="connsiteX64" fmla="*/ 1233796 w 1311069"/>
                <a:gd name="connsiteY64" fmla="*/ 95304 h 698035"/>
                <a:gd name="connsiteX65" fmla="*/ 1231220 w 1311069"/>
                <a:gd name="connsiteY65" fmla="*/ 74698 h 698035"/>
                <a:gd name="connsiteX66" fmla="*/ 1215765 w 1311069"/>
                <a:gd name="connsiteY66" fmla="*/ 28334 h 698035"/>
                <a:gd name="connsiteX67" fmla="*/ 1223493 w 1311069"/>
                <a:gd name="connsiteY67" fmla="*/ 25758 h 698035"/>
                <a:gd name="connsiteX68" fmla="*/ 1303342 w 1311069"/>
                <a:gd name="connsiteY68" fmla="*/ 121061 h 698035"/>
                <a:gd name="connsiteX69" fmla="*/ 1311069 w 1311069"/>
                <a:gd name="connsiteY69" fmla="*/ 115910 h 698035"/>
                <a:gd name="connsiteX70" fmla="*/ 1210614 w 1311069"/>
                <a:gd name="connsiteY70" fmla="*/ 0 h 698035"/>
                <a:gd name="connsiteX71" fmla="*/ 1151761 w 1311069"/>
                <a:gd name="connsiteY71" fmla="*/ 26346 h 698035"/>
                <a:gd name="connsiteX72" fmla="*/ 360608 w 1311069"/>
                <a:gd name="connsiteY72" fmla="*/ 279360 h 698035"/>
                <a:gd name="connsiteX0" fmla="*/ 360608 w 1311069"/>
                <a:gd name="connsiteY0" fmla="*/ 279360 h 698035"/>
                <a:gd name="connsiteX1" fmla="*/ 360608 w 1311069"/>
                <a:gd name="connsiteY1" fmla="*/ 355457 h 698035"/>
                <a:gd name="connsiteX2" fmla="*/ 324547 w 1311069"/>
                <a:gd name="connsiteY2" fmla="*/ 381215 h 698035"/>
                <a:gd name="connsiteX3" fmla="*/ 285911 w 1311069"/>
                <a:gd name="connsiteY3" fmla="*/ 381215 h 698035"/>
                <a:gd name="connsiteX4" fmla="*/ 257577 w 1311069"/>
                <a:gd name="connsiteY4" fmla="*/ 435306 h 698035"/>
                <a:gd name="connsiteX5" fmla="*/ 198334 w 1311069"/>
                <a:gd name="connsiteY5" fmla="*/ 435306 h 698035"/>
                <a:gd name="connsiteX6" fmla="*/ 182880 w 1311069"/>
                <a:gd name="connsiteY6" fmla="*/ 489397 h 698035"/>
                <a:gd name="connsiteX7" fmla="*/ 154546 w 1311069"/>
                <a:gd name="connsiteY7" fmla="*/ 515155 h 698035"/>
                <a:gd name="connsiteX8" fmla="*/ 103031 w 1311069"/>
                <a:gd name="connsiteY8" fmla="*/ 543489 h 698035"/>
                <a:gd name="connsiteX9" fmla="*/ 43788 w 1311069"/>
                <a:gd name="connsiteY9" fmla="*/ 592428 h 698035"/>
                <a:gd name="connsiteX10" fmla="*/ 30909 w 1311069"/>
                <a:gd name="connsiteY10" fmla="*/ 638792 h 698035"/>
                <a:gd name="connsiteX11" fmla="*/ 0 w 1311069"/>
                <a:gd name="connsiteY11" fmla="*/ 664550 h 698035"/>
                <a:gd name="connsiteX12" fmla="*/ 15454 w 1311069"/>
                <a:gd name="connsiteY12" fmla="*/ 698035 h 698035"/>
                <a:gd name="connsiteX13" fmla="*/ 185455 w 1311069"/>
                <a:gd name="connsiteY13" fmla="*/ 664550 h 698035"/>
                <a:gd name="connsiteX14" fmla="*/ 370911 w 1311069"/>
                <a:gd name="connsiteY14" fmla="*/ 569246 h 698035"/>
                <a:gd name="connsiteX15" fmla="*/ 504852 w 1311069"/>
                <a:gd name="connsiteY15" fmla="*/ 558943 h 698035"/>
                <a:gd name="connsiteX16" fmla="*/ 589852 w 1311069"/>
                <a:gd name="connsiteY16" fmla="*/ 600156 h 698035"/>
                <a:gd name="connsiteX17" fmla="*/ 749550 w 1311069"/>
                <a:gd name="connsiteY17" fmla="*/ 546064 h 698035"/>
                <a:gd name="connsiteX18" fmla="*/ 945309 w 1311069"/>
                <a:gd name="connsiteY18" fmla="*/ 677429 h 698035"/>
                <a:gd name="connsiteX19" fmla="*/ 976218 w 1311069"/>
                <a:gd name="connsiteY19" fmla="*/ 651671 h 698035"/>
                <a:gd name="connsiteX20" fmla="*/ 1009703 w 1311069"/>
                <a:gd name="connsiteY20" fmla="*/ 631065 h 698035"/>
                <a:gd name="connsiteX21" fmla="*/ 1050916 w 1311069"/>
                <a:gd name="connsiteY21" fmla="*/ 582125 h 698035"/>
                <a:gd name="connsiteX22" fmla="*/ 1071522 w 1311069"/>
                <a:gd name="connsiteY22" fmla="*/ 530610 h 698035"/>
                <a:gd name="connsiteX23" fmla="*/ 1115310 w 1311069"/>
                <a:gd name="connsiteY23" fmla="*/ 463640 h 698035"/>
                <a:gd name="connsiteX24" fmla="*/ 1151371 w 1311069"/>
                <a:gd name="connsiteY24" fmla="*/ 422427 h 698035"/>
                <a:gd name="connsiteX25" fmla="*/ 1190008 w 1311069"/>
                <a:gd name="connsiteY25" fmla="*/ 412124 h 698035"/>
                <a:gd name="connsiteX26" fmla="*/ 1231220 w 1311069"/>
                <a:gd name="connsiteY26" fmla="*/ 381215 h 698035"/>
                <a:gd name="connsiteX27" fmla="*/ 1238947 w 1311069"/>
                <a:gd name="connsiteY27" fmla="*/ 340002 h 698035"/>
                <a:gd name="connsiteX28" fmla="*/ 1223493 w 1311069"/>
                <a:gd name="connsiteY28" fmla="*/ 337427 h 698035"/>
                <a:gd name="connsiteX29" fmla="*/ 1197735 w 1311069"/>
                <a:gd name="connsiteY29" fmla="*/ 352881 h 698035"/>
                <a:gd name="connsiteX30" fmla="*/ 1184856 w 1311069"/>
                <a:gd name="connsiteY30" fmla="*/ 370912 h 698035"/>
                <a:gd name="connsiteX31" fmla="*/ 1159098 w 1311069"/>
                <a:gd name="connsiteY31" fmla="*/ 378639 h 698035"/>
                <a:gd name="connsiteX32" fmla="*/ 1138492 w 1311069"/>
                <a:gd name="connsiteY32" fmla="*/ 370912 h 698035"/>
                <a:gd name="connsiteX33" fmla="*/ 1133341 w 1311069"/>
                <a:gd name="connsiteY33" fmla="*/ 358033 h 698035"/>
                <a:gd name="connsiteX34" fmla="*/ 1146219 w 1311069"/>
                <a:gd name="connsiteY34" fmla="*/ 350305 h 698035"/>
                <a:gd name="connsiteX35" fmla="*/ 1164250 w 1311069"/>
                <a:gd name="connsiteY35" fmla="*/ 352881 h 698035"/>
                <a:gd name="connsiteX36" fmla="*/ 1177129 w 1311069"/>
                <a:gd name="connsiteY36" fmla="*/ 352881 h 698035"/>
                <a:gd name="connsiteX37" fmla="*/ 1184856 w 1311069"/>
                <a:gd name="connsiteY37" fmla="*/ 332275 h 698035"/>
                <a:gd name="connsiteX38" fmla="*/ 1187432 w 1311069"/>
                <a:gd name="connsiteY38" fmla="*/ 306517 h 698035"/>
                <a:gd name="connsiteX39" fmla="*/ 1169401 w 1311069"/>
                <a:gd name="connsiteY39" fmla="*/ 303941 h 698035"/>
                <a:gd name="connsiteX40" fmla="*/ 1138492 w 1311069"/>
                <a:gd name="connsiteY40" fmla="*/ 301366 h 698035"/>
                <a:gd name="connsiteX41" fmla="*/ 1123037 w 1311069"/>
                <a:gd name="connsiteY41" fmla="*/ 293638 h 698035"/>
                <a:gd name="connsiteX42" fmla="*/ 1135916 w 1311069"/>
                <a:gd name="connsiteY42" fmla="*/ 273032 h 698035"/>
                <a:gd name="connsiteX43" fmla="*/ 1156523 w 1311069"/>
                <a:gd name="connsiteY43" fmla="*/ 273032 h 698035"/>
                <a:gd name="connsiteX44" fmla="*/ 1171977 w 1311069"/>
                <a:gd name="connsiteY44" fmla="*/ 260153 h 698035"/>
                <a:gd name="connsiteX45" fmla="*/ 1195159 w 1311069"/>
                <a:gd name="connsiteY45" fmla="*/ 244699 h 698035"/>
                <a:gd name="connsiteX46" fmla="*/ 1220917 w 1311069"/>
                <a:gd name="connsiteY46" fmla="*/ 262729 h 698035"/>
                <a:gd name="connsiteX47" fmla="*/ 1251826 w 1311069"/>
                <a:gd name="connsiteY47" fmla="*/ 252426 h 698035"/>
                <a:gd name="connsiteX48" fmla="*/ 1269857 w 1311069"/>
                <a:gd name="connsiteY48" fmla="*/ 226668 h 698035"/>
                <a:gd name="connsiteX49" fmla="*/ 1293039 w 1311069"/>
                <a:gd name="connsiteY49" fmla="*/ 190607 h 698035"/>
                <a:gd name="connsiteX50" fmla="*/ 1280160 w 1311069"/>
                <a:gd name="connsiteY50" fmla="*/ 136516 h 698035"/>
                <a:gd name="connsiteX51" fmla="*/ 1256978 w 1311069"/>
                <a:gd name="connsiteY51" fmla="*/ 123637 h 698035"/>
                <a:gd name="connsiteX52" fmla="*/ 1246675 w 1311069"/>
                <a:gd name="connsiteY52" fmla="*/ 149395 h 698035"/>
                <a:gd name="connsiteX53" fmla="*/ 1241523 w 1311069"/>
                <a:gd name="connsiteY53" fmla="*/ 167425 h 698035"/>
                <a:gd name="connsiteX54" fmla="*/ 1200311 w 1311069"/>
                <a:gd name="connsiteY54" fmla="*/ 154547 h 698035"/>
                <a:gd name="connsiteX55" fmla="*/ 1161674 w 1311069"/>
                <a:gd name="connsiteY55" fmla="*/ 162274 h 698035"/>
                <a:gd name="connsiteX56" fmla="*/ 1138492 w 1311069"/>
                <a:gd name="connsiteY56" fmla="*/ 177729 h 698035"/>
                <a:gd name="connsiteX57" fmla="*/ 1128189 w 1311069"/>
                <a:gd name="connsiteY57" fmla="*/ 151971 h 698035"/>
                <a:gd name="connsiteX58" fmla="*/ 1110159 w 1311069"/>
                <a:gd name="connsiteY58" fmla="*/ 123637 h 698035"/>
                <a:gd name="connsiteX59" fmla="*/ 1130765 w 1311069"/>
                <a:gd name="connsiteY59" fmla="*/ 110758 h 698035"/>
                <a:gd name="connsiteX60" fmla="*/ 1159098 w 1311069"/>
                <a:gd name="connsiteY60" fmla="*/ 131365 h 698035"/>
                <a:gd name="connsiteX61" fmla="*/ 1179704 w 1311069"/>
                <a:gd name="connsiteY61" fmla="*/ 121061 h 698035"/>
                <a:gd name="connsiteX62" fmla="*/ 1195159 w 1311069"/>
                <a:gd name="connsiteY62" fmla="*/ 118486 h 698035"/>
                <a:gd name="connsiteX63" fmla="*/ 1220917 w 1311069"/>
                <a:gd name="connsiteY63" fmla="*/ 95304 h 698035"/>
                <a:gd name="connsiteX64" fmla="*/ 1233796 w 1311069"/>
                <a:gd name="connsiteY64" fmla="*/ 95304 h 698035"/>
                <a:gd name="connsiteX65" fmla="*/ 1231220 w 1311069"/>
                <a:gd name="connsiteY65" fmla="*/ 74698 h 698035"/>
                <a:gd name="connsiteX66" fmla="*/ 1215765 w 1311069"/>
                <a:gd name="connsiteY66" fmla="*/ 28334 h 698035"/>
                <a:gd name="connsiteX67" fmla="*/ 1223493 w 1311069"/>
                <a:gd name="connsiteY67" fmla="*/ 25758 h 698035"/>
                <a:gd name="connsiteX68" fmla="*/ 1303342 w 1311069"/>
                <a:gd name="connsiteY68" fmla="*/ 121061 h 698035"/>
                <a:gd name="connsiteX69" fmla="*/ 1311069 w 1311069"/>
                <a:gd name="connsiteY69" fmla="*/ 115910 h 698035"/>
                <a:gd name="connsiteX70" fmla="*/ 1210614 w 1311069"/>
                <a:gd name="connsiteY70" fmla="*/ 0 h 698035"/>
                <a:gd name="connsiteX71" fmla="*/ 935101 w 1311069"/>
                <a:gd name="connsiteY71" fmla="*/ 88218 h 698035"/>
                <a:gd name="connsiteX72" fmla="*/ 360608 w 1311069"/>
                <a:gd name="connsiteY72" fmla="*/ 279360 h 698035"/>
                <a:gd name="connsiteX0" fmla="*/ 372512 w 1322973"/>
                <a:gd name="connsiteY0" fmla="*/ 279360 h 698035"/>
                <a:gd name="connsiteX1" fmla="*/ 372512 w 1322973"/>
                <a:gd name="connsiteY1" fmla="*/ 355457 h 698035"/>
                <a:gd name="connsiteX2" fmla="*/ 336451 w 1322973"/>
                <a:gd name="connsiteY2" fmla="*/ 381215 h 698035"/>
                <a:gd name="connsiteX3" fmla="*/ 297815 w 1322973"/>
                <a:gd name="connsiteY3" fmla="*/ 381215 h 698035"/>
                <a:gd name="connsiteX4" fmla="*/ 269481 w 1322973"/>
                <a:gd name="connsiteY4" fmla="*/ 435306 h 698035"/>
                <a:gd name="connsiteX5" fmla="*/ 210238 w 1322973"/>
                <a:gd name="connsiteY5" fmla="*/ 435306 h 698035"/>
                <a:gd name="connsiteX6" fmla="*/ 194784 w 1322973"/>
                <a:gd name="connsiteY6" fmla="*/ 489397 h 698035"/>
                <a:gd name="connsiteX7" fmla="*/ 166450 w 1322973"/>
                <a:gd name="connsiteY7" fmla="*/ 515155 h 698035"/>
                <a:gd name="connsiteX8" fmla="*/ 114935 w 1322973"/>
                <a:gd name="connsiteY8" fmla="*/ 543489 h 698035"/>
                <a:gd name="connsiteX9" fmla="*/ 55692 w 1322973"/>
                <a:gd name="connsiteY9" fmla="*/ 592428 h 698035"/>
                <a:gd name="connsiteX10" fmla="*/ 42813 w 1322973"/>
                <a:gd name="connsiteY10" fmla="*/ 638792 h 698035"/>
                <a:gd name="connsiteX11" fmla="*/ 0 w 1322973"/>
                <a:gd name="connsiteY11" fmla="*/ 664550 h 698035"/>
                <a:gd name="connsiteX12" fmla="*/ 27358 w 1322973"/>
                <a:gd name="connsiteY12" fmla="*/ 698035 h 698035"/>
                <a:gd name="connsiteX13" fmla="*/ 197359 w 1322973"/>
                <a:gd name="connsiteY13" fmla="*/ 664550 h 698035"/>
                <a:gd name="connsiteX14" fmla="*/ 382815 w 1322973"/>
                <a:gd name="connsiteY14" fmla="*/ 569246 h 698035"/>
                <a:gd name="connsiteX15" fmla="*/ 516756 w 1322973"/>
                <a:gd name="connsiteY15" fmla="*/ 558943 h 698035"/>
                <a:gd name="connsiteX16" fmla="*/ 601756 w 1322973"/>
                <a:gd name="connsiteY16" fmla="*/ 600156 h 698035"/>
                <a:gd name="connsiteX17" fmla="*/ 761454 w 1322973"/>
                <a:gd name="connsiteY17" fmla="*/ 546064 h 698035"/>
                <a:gd name="connsiteX18" fmla="*/ 957213 w 1322973"/>
                <a:gd name="connsiteY18" fmla="*/ 677429 h 698035"/>
                <a:gd name="connsiteX19" fmla="*/ 988122 w 1322973"/>
                <a:gd name="connsiteY19" fmla="*/ 651671 h 698035"/>
                <a:gd name="connsiteX20" fmla="*/ 1021607 w 1322973"/>
                <a:gd name="connsiteY20" fmla="*/ 631065 h 698035"/>
                <a:gd name="connsiteX21" fmla="*/ 1062820 w 1322973"/>
                <a:gd name="connsiteY21" fmla="*/ 582125 h 698035"/>
                <a:gd name="connsiteX22" fmla="*/ 1083426 w 1322973"/>
                <a:gd name="connsiteY22" fmla="*/ 530610 h 698035"/>
                <a:gd name="connsiteX23" fmla="*/ 1127214 w 1322973"/>
                <a:gd name="connsiteY23" fmla="*/ 463640 h 698035"/>
                <a:gd name="connsiteX24" fmla="*/ 1163275 w 1322973"/>
                <a:gd name="connsiteY24" fmla="*/ 422427 h 698035"/>
                <a:gd name="connsiteX25" fmla="*/ 1201912 w 1322973"/>
                <a:gd name="connsiteY25" fmla="*/ 412124 h 698035"/>
                <a:gd name="connsiteX26" fmla="*/ 1243124 w 1322973"/>
                <a:gd name="connsiteY26" fmla="*/ 381215 h 698035"/>
                <a:gd name="connsiteX27" fmla="*/ 1250851 w 1322973"/>
                <a:gd name="connsiteY27" fmla="*/ 340002 h 698035"/>
                <a:gd name="connsiteX28" fmla="*/ 1235397 w 1322973"/>
                <a:gd name="connsiteY28" fmla="*/ 337427 h 698035"/>
                <a:gd name="connsiteX29" fmla="*/ 1209639 w 1322973"/>
                <a:gd name="connsiteY29" fmla="*/ 352881 h 698035"/>
                <a:gd name="connsiteX30" fmla="*/ 1196760 w 1322973"/>
                <a:gd name="connsiteY30" fmla="*/ 370912 h 698035"/>
                <a:gd name="connsiteX31" fmla="*/ 1171002 w 1322973"/>
                <a:gd name="connsiteY31" fmla="*/ 378639 h 698035"/>
                <a:gd name="connsiteX32" fmla="*/ 1150396 w 1322973"/>
                <a:gd name="connsiteY32" fmla="*/ 370912 h 698035"/>
                <a:gd name="connsiteX33" fmla="*/ 1145245 w 1322973"/>
                <a:gd name="connsiteY33" fmla="*/ 358033 h 698035"/>
                <a:gd name="connsiteX34" fmla="*/ 1158123 w 1322973"/>
                <a:gd name="connsiteY34" fmla="*/ 350305 h 698035"/>
                <a:gd name="connsiteX35" fmla="*/ 1176154 w 1322973"/>
                <a:gd name="connsiteY35" fmla="*/ 352881 h 698035"/>
                <a:gd name="connsiteX36" fmla="*/ 1189033 w 1322973"/>
                <a:gd name="connsiteY36" fmla="*/ 352881 h 698035"/>
                <a:gd name="connsiteX37" fmla="*/ 1196760 w 1322973"/>
                <a:gd name="connsiteY37" fmla="*/ 332275 h 698035"/>
                <a:gd name="connsiteX38" fmla="*/ 1199336 w 1322973"/>
                <a:gd name="connsiteY38" fmla="*/ 306517 h 698035"/>
                <a:gd name="connsiteX39" fmla="*/ 1181305 w 1322973"/>
                <a:gd name="connsiteY39" fmla="*/ 303941 h 698035"/>
                <a:gd name="connsiteX40" fmla="*/ 1150396 w 1322973"/>
                <a:gd name="connsiteY40" fmla="*/ 301366 h 698035"/>
                <a:gd name="connsiteX41" fmla="*/ 1134941 w 1322973"/>
                <a:gd name="connsiteY41" fmla="*/ 293638 h 698035"/>
                <a:gd name="connsiteX42" fmla="*/ 1147820 w 1322973"/>
                <a:gd name="connsiteY42" fmla="*/ 273032 h 698035"/>
                <a:gd name="connsiteX43" fmla="*/ 1168427 w 1322973"/>
                <a:gd name="connsiteY43" fmla="*/ 273032 h 698035"/>
                <a:gd name="connsiteX44" fmla="*/ 1183881 w 1322973"/>
                <a:gd name="connsiteY44" fmla="*/ 260153 h 698035"/>
                <a:gd name="connsiteX45" fmla="*/ 1207063 w 1322973"/>
                <a:gd name="connsiteY45" fmla="*/ 244699 h 698035"/>
                <a:gd name="connsiteX46" fmla="*/ 1232821 w 1322973"/>
                <a:gd name="connsiteY46" fmla="*/ 262729 h 698035"/>
                <a:gd name="connsiteX47" fmla="*/ 1263730 w 1322973"/>
                <a:gd name="connsiteY47" fmla="*/ 252426 h 698035"/>
                <a:gd name="connsiteX48" fmla="*/ 1281761 w 1322973"/>
                <a:gd name="connsiteY48" fmla="*/ 226668 h 698035"/>
                <a:gd name="connsiteX49" fmla="*/ 1304943 w 1322973"/>
                <a:gd name="connsiteY49" fmla="*/ 190607 h 698035"/>
                <a:gd name="connsiteX50" fmla="*/ 1292064 w 1322973"/>
                <a:gd name="connsiteY50" fmla="*/ 136516 h 698035"/>
                <a:gd name="connsiteX51" fmla="*/ 1268882 w 1322973"/>
                <a:gd name="connsiteY51" fmla="*/ 123637 h 698035"/>
                <a:gd name="connsiteX52" fmla="*/ 1258579 w 1322973"/>
                <a:gd name="connsiteY52" fmla="*/ 149395 h 698035"/>
                <a:gd name="connsiteX53" fmla="*/ 1253427 w 1322973"/>
                <a:gd name="connsiteY53" fmla="*/ 167425 h 698035"/>
                <a:gd name="connsiteX54" fmla="*/ 1212215 w 1322973"/>
                <a:gd name="connsiteY54" fmla="*/ 154547 h 698035"/>
                <a:gd name="connsiteX55" fmla="*/ 1173578 w 1322973"/>
                <a:gd name="connsiteY55" fmla="*/ 162274 h 698035"/>
                <a:gd name="connsiteX56" fmla="*/ 1150396 w 1322973"/>
                <a:gd name="connsiteY56" fmla="*/ 177729 h 698035"/>
                <a:gd name="connsiteX57" fmla="*/ 1140093 w 1322973"/>
                <a:gd name="connsiteY57" fmla="*/ 151971 h 698035"/>
                <a:gd name="connsiteX58" fmla="*/ 1122063 w 1322973"/>
                <a:gd name="connsiteY58" fmla="*/ 123637 h 698035"/>
                <a:gd name="connsiteX59" fmla="*/ 1142669 w 1322973"/>
                <a:gd name="connsiteY59" fmla="*/ 110758 h 698035"/>
                <a:gd name="connsiteX60" fmla="*/ 1171002 w 1322973"/>
                <a:gd name="connsiteY60" fmla="*/ 131365 h 698035"/>
                <a:gd name="connsiteX61" fmla="*/ 1191608 w 1322973"/>
                <a:gd name="connsiteY61" fmla="*/ 121061 h 698035"/>
                <a:gd name="connsiteX62" fmla="*/ 1207063 w 1322973"/>
                <a:gd name="connsiteY62" fmla="*/ 118486 h 698035"/>
                <a:gd name="connsiteX63" fmla="*/ 1232821 w 1322973"/>
                <a:gd name="connsiteY63" fmla="*/ 95304 h 698035"/>
                <a:gd name="connsiteX64" fmla="*/ 1245700 w 1322973"/>
                <a:gd name="connsiteY64" fmla="*/ 95304 h 698035"/>
                <a:gd name="connsiteX65" fmla="*/ 1243124 w 1322973"/>
                <a:gd name="connsiteY65" fmla="*/ 74698 h 698035"/>
                <a:gd name="connsiteX66" fmla="*/ 1227669 w 1322973"/>
                <a:gd name="connsiteY66" fmla="*/ 28334 h 698035"/>
                <a:gd name="connsiteX67" fmla="*/ 1235397 w 1322973"/>
                <a:gd name="connsiteY67" fmla="*/ 25758 h 698035"/>
                <a:gd name="connsiteX68" fmla="*/ 1315246 w 1322973"/>
                <a:gd name="connsiteY68" fmla="*/ 121061 h 698035"/>
                <a:gd name="connsiteX69" fmla="*/ 1322973 w 1322973"/>
                <a:gd name="connsiteY69" fmla="*/ 115910 h 698035"/>
                <a:gd name="connsiteX70" fmla="*/ 1222518 w 1322973"/>
                <a:gd name="connsiteY70" fmla="*/ 0 h 698035"/>
                <a:gd name="connsiteX71" fmla="*/ 947005 w 1322973"/>
                <a:gd name="connsiteY71" fmla="*/ 88218 h 698035"/>
                <a:gd name="connsiteX72" fmla="*/ 372512 w 1322973"/>
                <a:gd name="connsiteY72" fmla="*/ 279360 h 698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322973" h="698035">
                  <a:moveTo>
                    <a:pt x="372512" y="279360"/>
                  </a:moveTo>
                  <a:lnTo>
                    <a:pt x="372512" y="355457"/>
                  </a:lnTo>
                  <a:lnTo>
                    <a:pt x="336451" y="381215"/>
                  </a:lnTo>
                  <a:lnTo>
                    <a:pt x="297815" y="381215"/>
                  </a:lnTo>
                  <a:lnTo>
                    <a:pt x="269481" y="435306"/>
                  </a:lnTo>
                  <a:lnTo>
                    <a:pt x="210238" y="435306"/>
                  </a:lnTo>
                  <a:lnTo>
                    <a:pt x="194784" y="489397"/>
                  </a:lnTo>
                  <a:lnTo>
                    <a:pt x="166450" y="515155"/>
                  </a:lnTo>
                  <a:lnTo>
                    <a:pt x="114935" y="543489"/>
                  </a:lnTo>
                  <a:lnTo>
                    <a:pt x="55692" y="592428"/>
                  </a:lnTo>
                  <a:lnTo>
                    <a:pt x="42813" y="638792"/>
                  </a:lnTo>
                  <a:lnTo>
                    <a:pt x="0" y="664550"/>
                  </a:lnTo>
                  <a:lnTo>
                    <a:pt x="27358" y="698035"/>
                  </a:lnTo>
                  <a:lnTo>
                    <a:pt x="197359" y="664550"/>
                  </a:lnTo>
                  <a:lnTo>
                    <a:pt x="382815" y="569246"/>
                  </a:lnTo>
                  <a:lnTo>
                    <a:pt x="516756" y="558943"/>
                  </a:lnTo>
                  <a:lnTo>
                    <a:pt x="601756" y="600156"/>
                  </a:lnTo>
                  <a:lnTo>
                    <a:pt x="761454" y="546064"/>
                  </a:lnTo>
                  <a:lnTo>
                    <a:pt x="957213" y="677429"/>
                  </a:lnTo>
                  <a:lnTo>
                    <a:pt x="988122" y="651671"/>
                  </a:lnTo>
                  <a:lnTo>
                    <a:pt x="1021607" y="631065"/>
                  </a:lnTo>
                  <a:lnTo>
                    <a:pt x="1062820" y="582125"/>
                  </a:lnTo>
                  <a:lnTo>
                    <a:pt x="1083426" y="530610"/>
                  </a:lnTo>
                  <a:lnTo>
                    <a:pt x="1127214" y="463640"/>
                  </a:lnTo>
                  <a:lnTo>
                    <a:pt x="1163275" y="422427"/>
                  </a:lnTo>
                  <a:lnTo>
                    <a:pt x="1201912" y="412124"/>
                  </a:lnTo>
                  <a:lnTo>
                    <a:pt x="1243124" y="381215"/>
                  </a:lnTo>
                  <a:lnTo>
                    <a:pt x="1250851" y="340002"/>
                  </a:lnTo>
                  <a:lnTo>
                    <a:pt x="1235397" y="337427"/>
                  </a:lnTo>
                  <a:lnTo>
                    <a:pt x="1209639" y="352881"/>
                  </a:lnTo>
                  <a:lnTo>
                    <a:pt x="1196760" y="370912"/>
                  </a:lnTo>
                  <a:lnTo>
                    <a:pt x="1171002" y="378639"/>
                  </a:lnTo>
                  <a:lnTo>
                    <a:pt x="1150396" y="370912"/>
                  </a:lnTo>
                  <a:lnTo>
                    <a:pt x="1145245" y="358033"/>
                  </a:lnTo>
                  <a:lnTo>
                    <a:pt x="1158123" y="350305"/>
                  </a:lnTo>
                  <a:lnTo>
                    <a:pt x="1176154" y="352881"/>
                  </a:lnTo>
                  <a:lnTo>
                    <a:pt x="1189033" y="352881"/>
                  </a:lnTo>
                  <a:lnTo>
                    <a:pt x="1196760" y="332275"/>
                  </a:lnTo>
                  <a:lnTo>
                    <a:pt x="1199336" y="306517"/>
                  </a:lnTo>
                  <a:lnTo>
                    <a:pt x="1181305" y="303941"/>
                  </a:lnTo>
                  <a:lnTo>
                    <a:pt x="1150396" y="301366"/>
                  </a:lnTo>
                  <a:lnTo>
                    <a:pt x="1134941" y="293638"/>
                  </a:lnTo>
                  <a:lnTo>
                    <a:pt x="1147820" y="273032"/>
                  </a:lnTo>
                  <a:lnTo>
                    <a:pt x="1168427" y="273032"/>
                  </a:lnTo>
                  <a:lnTo>
                    <a:pt x="1183881" y="260153"/>
                  </a:lnTo>
                  <a:lnTo>
                    <a:pt x="1207063" y="244699"/>
                  </a:lnTo>
                  <a:lnTo>
                    <a:pt x="1232821" y="262729"/>
                  </a:lnTo>
                  <a:lnTo>
                    <a:pt x="1263730" y="252426"/>
                  </a:lnTo>
                  <a:lnTo>
                    <a:pt x="1281761" y="226668"/>
                  </a:lnTo>
                  <a:lnTo>
                    <a:pt x="1304943" y="190607"/>
                  </a:lnTo>
                  <a:lnTo>
                    <a:pt x="1292064" y="136516"/>
                  </a:lnTo>
                  <a:lnTo>
                    <a:pt x="1268882" y="123637"/>
                  </a:lnTo>
                  <a:lnTo>
                    <a:pt x="1258579" y="149395"/>
                  </a:lnTo>
                  <a:lnTo>
                    <a:pt x="1253427" y="167425"/>
                  </a:lnTo>
                  <a:lnTo>
                    <a:pt x="1212215" y="154547"/>
                  </a:lnTo>
                  <a:lnTo>
                    <a:pt x="1173578" y="162274"/>
                  </a:lnTo>
                  <a:lnTo>
                    <a:pt x="1150396" y="177729"/>
                  </a:lnTo>
                  <a:lnTo>
                    <a:pt x="1140093" y="151971"/>
                  </a:lnTo>
                  <a:lnTo>
                    <a:pt x="1122063" y="123637"/>
                  </a:lnTo>
                  <a:lnTo>
                    <a:pt x="1142669" y="110758"/>
                  </a:lnTo>
                  <a:lnTo>
                    <a:pt x="1171002" y="131365"/>
                  </a:lnTo>
                  <a:lnTo>
                    <a:pt x="1191608" y="121061"/>
                  </a:lnTo>
                  <a:lnTo>
                    <a:pt x="1207063" y="118486"/>
                  </a:lnTo>
                  <a:lnTo>
                    <a:pt x="1232821" y="95304"/>
                  </a:lnTo>
                  <a:lnTo>
                    <a:pt x="1245700" y="95304"/>
                  </a:lnTo>
                  <a:lnTo>
                    <a:pt x="1243124" y="74698"/>
                  </a:lnTo>
                  <a:lnTo>
                    <a:pt x="1227669" y="28334"/>
                  </a:lnTo>
                  <a:lnTo>
                    <a:pt x="1235397" y="25758"/>
                  </a:lnTo>
                  <a:lnTo>
                    <a:pt x="1315246" y="121061"/>
                  </a:lnTo>
                  <a:lnTo>
                    <a:pt x="1322973" y="115910"/>
                  </a:lnTo>
                  <a:lnTo>
                    <a:pt x="1222518" y="0"/>
                  </a:lnTo>
                  <a:lnTo>
                    <a:pt x="947005" y="88218"/>
                  </a:lnTo>
                  <a:lnTo>
                    <a:pt x="372512" y="27936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3" name="Freeform 122"/>
            <p:cNvSpPr/>
            <p:nvPr/>
          </p:nvSpPr>
          <p:spPr>
            <a:xfrm>
              <a:off x="5151304" y="1842565"/>
              <a:ext cx="347007" cy="504986"/>
            </a:xfrm>
            <a:custGeom>
              <a:avLst/>
              <a:gdLst>
                <a:gd name="connsiteX0" fmla="*/ 57620 w 541125"/>
                <a:gd name="connsiteY0" fmla="*/ 40084 h 856781"/>
                <a:gd name="connsiteX1" fmla="*/ 45094 w 541125"/>
                <a:gd name="connsiteY1" fmla="*/ 125261 h 856781"/>
                <a:gd name="connsiteX2" fmla="*/ 25053 w 541125"/>
                <a:gd name="connsiteY2" fmla="*/ 195406 h 856781"/>
                <a:gd name="connsiteX3" fmla="*/ 32568 w 541125"/>
                <a:gd name="connsiteY3" fmla="*/ 255531 h 856781"/>
                <a:gd name="connsiteX4" fmla="*/ 35073 w 541125"/>
                <a:gd name="connsiteY4" fmla="*/ 333193 h 856781"/>
                <a:gd name="connsiteX5" fmla="*/ 37579 w 541125"/>
                <a:gd name="connsiteY5" fmla="*/ 393318 h 856781"/>
                <a:gd name="connsiteX6" fmla="*/ 15032 w 541125"/>
                <a:gd name="connsiteY6" fmla="*/ 428391 h 856781"/>
                <a:gd name="connsiteX7" fmla="*/ 27558 w 541125"/>
                <a:gd name="connsiteY7" fmla="*/ 460958 h 856781"/>
                <a:gd name="connsiteX8" fmla="*/ 0 w 541125"/>
                <a:gd name="connsiteY8" fmla="*/ 506052 h 856781"/>
                <a:gd name="connsiteX9" fmla="*/ 135282 w 541125"/>
                <a:gd name="connsiteY9" fmla="*/ 809182 h 856781"/>
                <a:gd name="connsiteX10" fmla="*/ 160334 w 541125"/>
                <a:gd name="connsiteY10" fmla="*/ 844255 h 856781"/>
                <a:gd name="connsiteX11" fmla="*/ 182880 w 541125"/>
                <a:gd name="connsiteY11" fmla="*/ 856781 h 856781"/>
                <a:gd name="connsiteX12" fmla="*/ 202922 w 541125"/>
                <a:gd name="connsiteY12" fmla="*/ 794151 h 856781"/>
                <a:gd name="connsiteX13" fmla="*/ 207933 w 541125"/>
                <a:gd name="connsiteY13" fmla="*/ 761583 h 856781"/>
                <a:gd name="connsiteX14" fmla="*/ 237995 w 541125"/>
                <a:gd name="connsiteY14" fmla="*/ 721500 h 856781"/>
                <a:gd name="connsiteX15" fmla="*/ 225469 w 541125"/>
                <a:gd name="connsiteY15" fmla="*/ 701458 h 856781"/>
                <a:gd name="connsiteX16" fmla="*/ 258037 w 541125"/>
                <a:gd name="connsiteY16" fmla="*/ 673901 h 856781"/>
                <a:gd name="connsiteX17" fmla="*/ 288099 w 541125"/>
                <a:gd name="connsiteY17" fmla="*/ 666385 h 856781"/>
                <a:gd name="connsiteX18" fmla="*/ 293110 w 541125"/>
                <a:gd name="connsiteY18" fmla="*/ 628807 h 856781"/>
                <a:gd name="connsiteX19" fmla="*/ 323172 w 541125"/>
                <a:gd name="connsiteY19" fmla="*/ 606260 h 856781"/>
                <a:gd name="connsiteX20" fmla="*/ 338203 w 541125"/>
                <a:gd name="connsiteY20" fmla="*/ 563672 h 856781"/>
                <a:gd name="connsiteX21" fmla="*/ 328182 w 541125"/>
                <a:gd name="connsiteY21" fmla="*/ 513568 h 856781"/>
                <a:gd name="connsiteX22" fmla="*/ 343214 w 541125"/>
                <a:gd name="connsiteY22" fmla="*/ 498536 h 856781"/>
                <a:gd name="connsiteX23" fmla="*/ 365760 w 541125"/>
                <a:gd name="connsiteY23" fmla="*/ 528599 h 856781"/>
                <a:gd name="connsiteX24" fmla="*/ 385802 w 541125"/>
                <a:gd name="connsiteY24" fmla="*/ 543630 h 856781"/>
                <a:gd name="connsiteX25" fmla="*/ 388307 w 541125"/>
                <a:gd name="connsiteY25" fmla="*/ 493526 h 856781"/>
                <a:gd name="connsiteX26" fmla="*/ 420875 w 541125"/>
                <a:gd name="connsiteY26" fmla="*/ 468474 h 856781"/>
                <a:gd name="connsiteX27" fmla="*/ 430896 w 541125"/>
                <a:gd name="connsiteY27" fmla="*/ 465969 h 856781"/>
                <a:gd name="connsiteX28" fmla="*/ 523588 w 541125"/>
                <a:gd name="connsiteY28" fmla="*/ 368266 h 856781"/>
                <a:gd name="connsiteX29" fmla="*/ 526094 w 541125"/>
                <a:gd name="connsiteY29" fmla="*/ 348224 h 856781"/>
                <a:gd name="connsiteX30" fmla="*/ 541125 w 541125"/>
                <a:gd name="connsiteY30" fmla="*/ 330688 h 856781"/>
                <a:gd name="connsiteX31" fmla="*/ 493526 w 541125"/>
                <a:gd name="connsiteY31" fmla="*/ 285594 h 856781"/>
                <a:gd name="connsiteX32" fmla="*/ 460958 w 541125"/>
                <a:gd name="connsiteY32" fmla="*/ 278078 h 856781"/>
                <a:gd name="connsiteX33" fmla="*/ 443422 w 541125"/>
                <a:gd name="connsiteY33" fmla="*/ 275573 h 856781"/>
                <a:gd name="connsiteX34" fmla="*/ 420875 w 541125"/>
                <a:gd name="connsiteY34" fmla="*/ 265552 h 856781"/>
                <a:gd name="connsiteX35" fmla="*/ 405844 w 541125"/>
                <a:gd name="connsiteY35" fmla="*/ 237995 h 856781"/>
                <a:gd name="connsiteX36" fmla="*/ 393318 w 541125"/>
                <a:gd name="connsiteY36" fmla="*/ 230479 h 856781"/>
                <a:gd name="connsiteX37" fmla="*/ 365760 w 541125"/>
                <a:gd name="connsiteY37" fmla="*/ 237995 h 856781"/>
                <a:gd name="connsiteX38" fmla="*/ 353234 w 541125"/>
                <a:gd name="connsiteY38" fmla="*/ 222964 h 856781"/>
                <a:gd name="connsiteX39" fmla="*/ 315656 w 541125"/>
                <a:gd name="connsiteY39" fmla="*/ 117745 h 856781"/>
                <a:gd name="connsiteX40" fmla="*/ 293110 w 541125"/>
                <a:gd name="connsiteY40" fmla="*/ 87683 h 856781"/>
                <a:gd name="connsiteX41" fmla="*/ 268057 w 541125"/>
                <a:gd name="connsiteY41" fmla="*/ 35073 h 856781"/>
                <a:gd name="connsiteX42" fmla="*/ 248016 w 541125"/>
                <a:gd name="connsiteY42" fmla="*/ 2506 h 856781"/>
                <a:gd name="connsiteX43" fmla="*/ 195407 w 541125"/>
                <a:gd name="connsiteY43" fmla="*/ 0 h 856781"/>
                <a:gd name="connsiteX44" fmla="*/ 165344 w 541125"/>
                <a:gd name="connsiteY44" fmla="*/ 20042 h 856781"/>
                <a:gd name="connsiteX45" fmla="*/ 147808 w 541125"/>
                <a:gd name="connsiteY45" fmla="*/ 42589 h 856781"/>
                <a:gd name="connsiteX46" fmla="*/ 120250 w 541125"/>
                <a:gd name="connsiteY46" fmla="*/ 62631 h 856781"/>
                <a:gd name="connsiteX47" fmla="*/ 107724 w 541125"/>
                <a:gd name="connsiteY47" fmla="*/ 70146 h 856781"/>
                <a:gd name="connsiteX48" fmla="*/ 57620 w 541125"/>
                <a:gd name="connsiteY48" fmla="*/ 40084 h 856781"/>
                <a:gd name="connsiteX0" fmla="*/ 67141 w 550646"/>
                <a:gd name="connsiteY0" fmla="*/ 40084 h 856781"/>
                <a:gd name="connsiteX1" fmla="*/ 54615 w 550646"/>
                <a:gd name="connsiteY1" fmla="*/ 125261 h 856781"/>
                <a:gd name="connsiteX2" fmla="*/ 34574 w 550646"/>
                <a:gd name="connsiteY2" fmla="*/ 195406 h 856781"/>
                <a:gd name="connsiteX3" fmla="*/ 42089 w 550646"/>
                <a:gd name="connsiteY3" fmla="*/ 255531 h 856781"/>
                <a:gd name="connsiteX4" fmla="*/ 44594 w 550646"/>
                <a:gd name="connsiteY4" fmla="*/ 333193 h 856781"/>
                <a:gd name="connsiteX5" fmla="*/ 47100 w 550646"/>
                <a:gd name="connsiteY5" fmla="*/ 393318 h 856781"/>
                <a:gd name="connsiteX6" fmla="*/ 24553 w 550646"/>
                <a:gd name="connsiteY6" fmla="*/ 428391 h 856781"/>
                <a:gd name="connsiteX7" fmla="*/ 37079 w 550646"/>
                <a:gd name="connsiteY7" fmla="*/ 460958 h 856781"/>
                <a:gd name="connsiteX8" fmla="*/ 0 w 550646"/>
                <a:gd name="connsiteY8" fmla="*/ 510821 h 856781"/>
                <a:gd name="connsiteX9" fmla="*/ 144803 w 550646"/>
                <a:gd name="connsiteY9" fmla="*/ 809182 h 856781"/>
                <a:gd name="connsiteX10" fmla="*/ 169855 w 550646"/>
                <a:gd name="connsiteY10" fmla="*/ 844255 h 856781"/>
                <a:gd name="connsiteX11" fmla="*/ 192401 w 550646"/>
                <a:gd name="connsiteY11" fmla="*/ 856781 h 856781"/>
                <a:gd name="connsiteX12" fmla="*/ 212443 w 550646"/>
                <a:gd name="connsiteY12" fmla="*/ 794151 h 856781"/>
                <a:gd name="connsiteX13" fmla="*/ 217454 w 550646"/>
                <a:gd name="connsiteY13" fmla="*/ 761583 h 856781"/>
                <a:gd name="connsiteX14" fmla="*/ 247516 w 550646"/>
                <a:gd name="connsiteY14" fmla="*/ 721500 h 856781"/>
                <a:gd name="connsiteX15" fmla="*/ 234990 w 550646"/>
                <a:gd name="connsiteY15" fmla="*/ 701458 h 856781"/>
                <a:gd name="connsiteX16" fmla="*/ 267558 w 550646"/>
                <a:gd name="connsiteY16" fmla="*/ 673901 h 856781"/>
                <a:gd name="connsiteX17" fmla="*/ 297620 w 550646"/>
                <a:gd name="connsiteY17" fmla="*/ 666385 h 856781"/>
                <a:gd name="connsiteX18" fmla="*/ 302631 w 550646"/>
                <a:gd name="connsiteY18" fmla="*/ 628807 h 856781"/>
                <a:gd name="connsiteX19" fmla="*/ 332693 w 550646"/>
                <a:gd name="connsiteY19" fmla="*/ 606260 h 856781"/>
                <a:gd name="connsiteX20" fmla="*/ 347724 w 550646"/>
                <a:gd name="connsiteY20" fmla="*/ 563672 h 856781"/>
                <a:gd name="connsiteX21" fmla="*/ 337703 w 550646"/>
                <a:gd name="connsiteY21" fmla="*/ 513568 h 856781"/>
                <a:gd name="connsiteX22" fmla="*/ 352735 w 550646"/>
                <a:gd name="connsiteY22" fmla="*/ 498536 h 856781"/>
                <a:gd name="connsiteX23" fmla="*/ 375281 w 550646"/>
                <a:gd name="connsiteY23" fmla="*/ 528599 h 856781"/>
                <a:gd name="connsiteX24" fmla="*/ 395323 w 550646"/>
                <a:gd name="connsiteY24" fmla="*/ 543630 h 856781"/>
                <a:gd name="connsiteX25" fmla="*/ 397828 w 550646"/>
                <a:gd name="connsiteY25" fmla="*/ 493526 h 856781"/>
                <a:gd name="connsiteX26" fmla="*/ 430396 w 550646"/>
                <a:gd name="connsiteY26" fmla="*/ 468474 h 856781"/>
                <a:gd name="connsiteX27" fmla="*/ 440417 w 550646"/>
                <a:gd name="connsiteY27" fmla="*/ 465969 h 856781"/>
                <a:gd name="connsiteX28" fmla="*/ 533109 w 550646"/>
                <a:gd name="connsiteY28" fmla="*/ 368266 h 856781"/>
                <a:gd name="connsiteX29" fmla="*/ 535615 w 550646"/>
                <a:gd name="connsiteY29" fmla="*/ 348224 h 856781"/>
                <a:gd name="connsiteX30" fmla="*/ 550646 w 550646"/>
                <a:gd name="connsiteY30" fmla="*/ 330688 h 856781"/>
                <a:gd name="connsiteX31" fmla="*/ 503047 w 550646"/>
                <a:gd name="connsiteY31" fmla="*/ 285594 h 856781"/>
                <a:gd name="connsiteX32" fmla="*/ 470479 w 550646"/>
                <a:gd name="connsiteY32" fmla="*/ 278078 h 856781"/>
                <a:gd name="connsiteX33" fmla="*/ 452943 w 550646"/>
                <a:gd name="connsiteY33" fmla="*/ 275573 h 856781"/>
                <a:gd name="connsiteX34" fmla="*/ 430396 w 550646"/>
                <a:gd name="connsiteY34" fmla="*/ 265552 h 856781"/>
                <a:gd name="connsiteX35" fmla="*/ 415365 w 550646"/>
                <a:gd name="connsiteY35" fmla="*/ 237995 h 856781"/>
                <a:gd name="connsiteX36" fmla="*/ 402839 w 550646"/>
                <a:gd name="connsiteY36" fmla="*/ 230479 h 856781"/>
                <a:gd name="connsiteX37" fmla="*/ 375281 w 550646"/>
                <a:gd name="connsiteY37" fmla="*/ 237995 h 856781"/>
                <a:gd name="connsiteX38" fmla="*/ 362755 w 550646"/>
                <a:gd name="connsiteY38" fmla="*/ 222964 h 856781"/>
                <a:gd name="connsiteX39" fmla="*/ 325177 w 550646"/>
                <a:gd name="connsiteY39" fmla="*/ 117745 h 856781"/>
                <a:gd name="connsiteX40" fmla="*/ 302631 w 550646"/>
                <a:gd name="connsiteY40" fmla="*/ 87683 h 856781"/>
                <a:gd name="connsiteX41" fmla="*/ 277578 w 550646"/>
                <a:gd name="connsiteY41" fmla="*/ 35073 h 856781"/>
                <a:gd name="connsiteX42" fmla="*/ 257537 w 550646"/>
                <a:gd name="connsiteY42" fmla="*/ 2506 h 856781"/>
                <a:gd name="connsiteX43" fmla="*/ 204928 w 550646"/>
                <a:gd name="connsiteY43" fmla="*/ 0 h 856781"/>
                <a:gd name="connsiteX44" fmla="*/ 174865 w 550646"/>
                <a:gd name="connsiteY44" fmla="*/ 20042 h 856781"/>
                <a:gd name="connsiteX45" fmla="*/ 157329 w 550646"/>
                <a:gd name="connsiteY45" fmla="*/ 42589 h 856781"/>
                <a:gd name="connsiteX46" fmla="*/ 129771 w 550646"/>
                <a:gd name="connsiteY46" fmla="*/ 62631 h 856781"/>
                <a:gd name="connsiteX47" fmla="*/ 117245 w 550646"/>
                <a:gd name="connsiteY47" fmla="*/ 70146 h 856781"/>
                <a:gd name="connsiteX48" fmla="*/ 67141 w 550646"/>
                <a:gd name="connsiteY48" fmla="*/ 40084 h 856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550646" h="856781">
                  <a:moveTo>
                    <a:pt x="67141" y="40084"/>
                  </a:moveTo>
                  <a:lnTo>
                    <a:pt x="54615" y="125261"/>
                  </a:lnTo>
                  <a:lnTo>
                    <a:pt x="34574" y="195406"/>
                  </a:lnTo>
                  <a:lnTo>
                    <a:pt x="42089" y="255531"/>
                  </a:lnTo>
                  <a:lnTo>
                    <a:pt x="44594" y="333193"/>
                  </a:lnTo>
                  <a:lnTo>
                    <a:pt x="47100" y="393318"/>
                  </a:lnTo>
                  <a:lnTo>
                    <a:pt x="24553" y="428391"/>
                  </a:lnTo>
                  <a:lnTo>
                    <a:pt x="37079" y="460958"/>
                  </a:lnTo>
                  <a:lnTo>
                    <a:pt x="0" y="510821"/>
                  </a:lnTo>
                  <a:lnTo>
                    <a:pt x="144803" y="809182"/>
                  </a:lnTo>
                  <a:lnTo>
                    <a:pt x="169855" y="844255"/>
                  </a:lnTo>
                  <a:lnTo>
                    <a:pt x="192401" y="856781"/>
                  </a:lnTo>
                  <a:lnTo>
                    <a:pt x="212443" y="794151"/>
                  </a:lnTo>
                  <a:lnTo>
                    <a:pt x="217454" y="761583"/>
                  </a:lnTo>
                  <a:lnTo>
                    <a:pt x="247516" y="721500"/>
                  </a:lnTo>
                  <a:lnTo>
                    <a:pt x="234990" y="701458"/>
                  </a:lnTo>
                  <a:lnTo>
                    <a:pt x="267558" y="673901"/>
                  </a:lnTo>
                  <a:lnTo>
                    <a:pt x="297620" y="666385"/>
                  </a:lnTo>
                  <a:lnTo>
                    <a:pt x="302631" y="628807"/>
                  </a:lnTo>
                  <a:lnTo>
                    <a:pt x="332693" y="606260"/>
                  </a:lnTo>
                  <a:lnTo>
                    <a:pt x="347724" y="563672"/>
                  </a:lnTo>
                  <a:lnTo>
                    <a:pt x="337703" y="513568"/>
                  </a:lnTo>
                  <a:lnTo>
                    <a:pt x="352735" y="498536"/>
                  </a:lnTo>
                  <a:lnTo>
                    <a:pt x="375281" y="528599"/>
                  </a:lnTo>
                  <a:lnTo>
                    <a:pt x="395323" y="543630"/>
                  </a:lnTo>
                  <a:lnTo>
                    <a:pt x="397828" y="493526"/>
                  </a:lnTo>
                  <a:lnTo>
                    <a:pt x="430396" y="468474"/>
                  </a:lnTo>
                  <a:lnTo>
                    <a:pt x="440417" y="465969"/>
                  </a:lnTo>
                  <a:lnTo>
                    <a:pt x="533109" y="368266"/>
                  </a:lnTo>
                  <a:lnTo>
                    <a:pt x="535615" y="348224"/>
                  </a:lnTo>
                  <a:lnTo>
                    <a:pt x="550646" y="330688"/>
                  </a:lnTo>
                  <a:lnTo>
                    <a:pt x="503047" y="285594"/>
                  </a:lnTo>
                  <a:lnTo>
                    <a:pt x="470479" y="278078"/>
                  </a:lnTo>
                  <a:lnTo>
                    <a:pt x="452943" y="275573"/>
                  </a:lnTo>
                  <a:lnTo>
                    <a:pt x="430396" y="265552"/>
                  </a:lnTo>
                  <a:lnTo>
                    <a:pt x="415365" y="237995"/>
                  </a:lnTo>
                  <a:lnTo>
                    <a:pt x="402839" y="230479"/>
                  </a:lnTo>
                  <a:lnTo>
                    <a:pt x="375281" y="237995"/>
                  </a:lnTo>
                  <a:lnTo>
                    <a:pt x="362755" y="222964"/>
                  </a:lnTo>
                  <a:lnTo>
                    <a:pt x="325177" y="117745"/>
                  </a:lnTo>
                  <a:lnTo>
                    <a:pt x="302631" y="87683"/>
                  </a:lnTo>
                  <a:lnTo>
                    <a:pt x="277578" y="35073"/>
                  </a:lnTo>
                  <a:lnTo>
                    <a:pt x="257537" y="2506"/>
                  </a:lnTo>
                  <a:lnTo>
                    <a:pt x="204928" y="0"/>
                  </a:lnTo>
                  <a:lnTo>
                    <a:pt x="174865" y="20042"/>
                  </a:lnTo>
                  <a:lnTo>
                    <a:pt x="157329" y="42589"/>
                  </a:lnTo>
                  <a:lnTo>
                    <a:pt x="129771" y="62631"/>
                  </a:lnTo>
                  <a:lnTo>
                    <a:pt x="117245" y="70146"/>
                  </a:lnTo>
                  <a:lnTo>
                    <a:pt x="67141" y="4008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4" name="Freeform 123"/>
            <p:cNvSpPr/>
            <p:nvPr/>
          </p:nvSpPr>
          <p:spPr>
            <a:xfrm>
              <a:off x="5117304" y="2142371"/>
              <a:ext cx="156003" cy="302616"/>
            </a:xfrm>
            <a:custGeom>
              <a:avLst/>
              <a:gdLst>
                <a:gd name="connsiteX0" fmla="*/ 45093 w 240499"/>
                <a:gd name="connsiteY0" fmla="*/ 0 h 498536"/>
                <a:gd name="connsiteX1" fmla="*/ 17536 w 240499"/>
                <a:gd name="connsiteY1" fmla="*/ 25052 h 498536"/>
                <a:gd name="connsiteX2" fmla="*/ 27557 w 240499"/>
                <a:gd name="connsiteY2" fmla="*/ 95198 h 498536"/>
                <a:gd name="connsiteX3" fmla="*/ 45093 w 240499"/>
                <a:gd name="connsiteY3" fmla="*/ 120250 h 498536"/>
                <a:gd name="connsiteX4" fmla="*/ 47599 w 240499"/>
                <a:gd name="connsiteY4" fmla="*/ 130271 h 498536"/>
                <a:gd name="connsiteX5" fmla="*/ 47599 w 240499"/>
                <a:gd name="connsiteY5" fmla="*/ 142797 h 498536"/>
                <a:gd name="connsiteX6" fmla="*/ 17536 w 240499"/>
                <a:gd name="connsiteY6" fmla="*/ 187891 h 498536"/>
                <a:gd name="connsiteX7" fmla="*/ 17536 w 240499"/>
                <a:gd name="connsiteY7" fmla="*/ 200417 h 498536"/>
                <a:gd name="connsiteX8" fmla="*/ 20041 w 240499"/>
                <a:gd name="connsiteY8" fmla="*/ 217953 h 498536"/>
                <a:gd name="connsiteX9" fmla="*/ 5010 w 240499"/>
                <a:gd name="connsiteY9" fmla="*/ 255531 h 498536"/>
                <a:gd name="connsiteX10" fmla="*/ 20041 w 240499"/>
                <a:gd name="connsiteY10" fmla="*/ 280583 h 498536"/>
                <a:gd name="connsiteX11" fmla="*/ 5010 w 240499"/>
                <a:gd name="connsiteY11" fmla="*/ 308140 h 498536"/>
                <a:gd name="connsiteX12" fmla="*/ 0 w 240499"/>
                <a:gd name="connsiteY12" fmla="*/ 338203 h 498536"/>
                <a:gd name="connsiteX13" fmla="*/ 25052 w 240499"/>
                <a:gd name="connsiteY13" fmla="*/ 413359 h 498536"/>
                <a:gd name="connsiteX14" fmla="*/ 35073 w 240499"/>
                <a:gd name="connsiteY14" fmla="*/ 438411 h 498536"/>
                <a:gd name="connsiteX15" fmla="*/ 30062 w 240499"/>
                <a:gd name="connsiteY15" fmla="*/ 470979 h 498536"/>
                <a:gd name="connsiteX16" fmla="*/ 47599 w 240499"/>
                <a:gd name="connsiteY16" fmla="*/ 498536 h 498536"/>
                <a:gd name="connsiteX17" fmla="*/ 175364 w 240499"/>
                <a:gd name="connsiteY17" fmla="*/ 453442 h 498536"/>
                <a:gd name="connsiteX18" fmla="*/ 210437 w 240499"/>
                <a:gd name="connsiteY18" fmla="*/ 433401 h 498536"/>
                <a:gd name="connsiteX19" fmla="*/ 240499 w 240499"/>
                <a:gd name="connsiteY19" fmla="*/ 388307 h 498536"/>
                <a:gd name="connsiteX20" fmla="*/ 232984 w 240499"/>
                <a:gd name="connsiteY20" fmla="*/ 348224 h 498536"/>
                <a:gd name="connsiteX21" fmla="*/ 197911 w 240499"/>
                <a:gd name="connsiteY21" fmla="*/ 310646 h 498536"/>
                <a:gd name="connsiteX22" fmla="*/ 187890 w 240499"/>
                <a:gd name="connsiteY22" fmla="*/ 280583 h 498536"/>
                <a:gd name="connsiteX23" fmla="*/ 45093 w 240499"/>
                <a:gd name="connsiteY23" fmla="*/ 0 h 498536"/>
                <a:gd name="connsiteX0" fmla="*/ 45093 w 240499"/>
                <a:gd name="connsiteY0" fmla="*/ 0 h 498536"/>
                <a:gd name="connsiteX1" fmla="*/ 17536 w 240499"/>
                <a:gd name="connsiteY1" fmla="*/ 25052 h 498536"/>
                <a:gd name="connsiteX2" fmla="*/ 27557 w 240499"/>
                <a:gd name="connsiteY2" fmla="*/ 95198 h 498536"/>
                <a:gd name="connsiteX3" fmla="*/ 45093 w 240499"/>
                <a:gd name="connsiteY3" fmla="*/ 120250 h 498536"/>
                <a:gd name="connsiteX4" fmla="*/ 47599 w 240499"/>
                <a:gd name="connsiteY4" fmla="*/ 130271 h 498536"/>
                <a:gd name="connsiteX5" fmla="*/ 47599 w 240499"/>
                <a:gd name="connsiteY5" fmla="*/ 142797 h 498536"/>
                <a:gd name="connsiteX6" fmla="*/ 17536 w 240499"/>
                <a:gd name="connsiteY6" fmla="*/ 187891 h 498536"/>
                <a:gd name="connsiteX7" fmla="*/ 17536 w 240499"/>
                <a:gd name="connsiteY7" fmla="*/ 200417 h 498536"/>
                <a:gd name="connsiteX8" fmla="*/ 20041 w 240499"/>
                <a:gd name="connsiteY8" fmla="*/ 217953 h 498536"/>
                <a:gd name="connsiteX9" fmla="*/ 5010 w 240499"/>
                <a:gd name="connsiteY9" fmla="*/ 255531 h 498536"/>
                <a:gd name="connsiteX10" fmla="*/ 20041 w 240499"/>
                <a:gd name="connsiteY10" fmla="*/ 280583 h 498536"/>
                <a:gd name="connsiteX11" fmla="*/ 5010 w 240499"/>
                <a:gd name="connsiteY11" fmla="*/ 308140 h 498536"/>
                <a:gd name="connsiteX12" fmla="*/ 0 w 240499"/>
                <a:gd name="connsiteY12" fmla="*/ 338203 h 498536"/>
                <a:gd name="connsiteX13" fmla="*/ 25052 w 240499"/>
                <a:gd name="connsiteY13" fmla="*/ 413359 h 498536"/>
                <a:gd name="connsiteX14" fmla="*/ 30062 w 240499"/>
                <a:gd name="connsiteY14" fmla="*/ 470979 h 498536"/>
                <a:gd name="connsiteX15" fmla="*/ 47599 w 240499"/>
                <a:gd name="connsiteY15" fmla="*/ 498536 h 498536"/>
                <a:gd name="connsiteX16" fmla="*/ 175364 w 240499"/>
                <a:gd name="connsiteY16" fmla="*/ 453442 h 498536"/>
                <a:gd name="connsiteX17" fmla="*/ 210437 w 240499"/>
                <a:gd name="connsiteY17" fmla="*/ 433401 h 498536"/>
                <a:gd name="connsiteX18" fmla="*/ 240499 w 240499"/>
                <a:gd name="connsiteY18" fmla="*/ 388307 h 498536"/>
                <a:gd name="connsiteX19" fmla="*/ 232984 w 240499"/>
                <a:gd name="connsiteY19" fmla="*/ 348224 h 498536"/>
                <a:gd name="connsiteX20" fmla="*/ 197911 w 240499"/>
                <a:gd name="connsiteY20" fmla="*/ 310646 h 498536"/>
                <a:gd name="connsiteX21" fmla="*/ 187890 w 240499"/>
                <a:gd name="connsiteY21" fmla="*/ 280583 h 498536"/>
                <a:gd name="connsiteX22" fmla="*/ 45093 w 240499"/>
                <a:gd name="connsiteY22" fmla="*/ 0 h 498536"/>
                <a:gd name="connsiteX0" fmla="*/ 52213 w 247619"/>
                <a:gd name="connsiteY0" fmla="*/ 0 h 498536"/>
                <a:gd name="connsiteX1" fmla="*/ 24656 w 247619"/>
                <a:gd name="connsiteY1" fmla="*/ 25052 h 498536"/>
                <a:gd name="connsiteX2" fmla="*/ 34677 w 247619"/>
                <a:gd name="connsiteY2" fmla="*/ 95198 h 498536"/>
                <a:gd name="connsiteX3" fmla="*/ 52213 w 247619"/>
                <a:gd name="connsiteY3" fmla="*/ 120250 h 498536"/>
                <a:gd name="connsiteX4" fmla="*/ 54719 w 247619"/>
                <a:gd name="connsiteY4" fmla="*/ 130271 h 498536"/>
                <a:gd name="connsiteX5" fmla="*/ 54719 w 247619"/>
                <a:gd name="connsiteY5" fmla="*/ 142797 h 498536"/>
                <a:gd name="connsiteX6" fmla="*/ 24656 w 247619"/>
                <a:gd name="connsiteY6" fmla="*/ 187891 h 498536"/>
                <a:gd name="connsiteX7" fmla="*/ 24656 w 247619"/>
                <a:gd name="connsiteY7" fmla="*/ 200417 h 498536"/>
                <a:gd name="connsiteX8" fmla="*/ 27161 w 247619"/>
                <a:gd name="connsiteY8" fmla="*/ 217953 h 498536"/>
                <a:gd name="connsiteX9" fmla="*/ 12130 w 247619"/>
                <a:gd name="connsiteY9" fmla="*/ 255531 h 498536"/>
                <a:gd name="connsiteX10" fmla="*/ 27161 w 247619"/>
                <a:gd name="connsiteY10" fmla="*/ 280583 h 498536"/>
                <a:gd name="connsiteX11" fmla="*/ 12130 w 247619"/>
                <a:gd name="connsiteY11" fmla="*/ 308140 h 498536"/>
                <a:gd name="connsiteX12" fmla="*/ 0 w 247619"/>
                <a:gd name="connsiteY12" fmla="*/ 340585 h 498536"/>
                <a:gd name="connsiteX13" fmla="*/ 32172 w 247619"/>
                <a:gd name="connsiteY13" fmla="*/ 413359 h 498536"/>
                <a:gd name="connsiteX14" fmla="*/ 37182 w 247619"/>
                <a:gd name="connsiteY14" fmla="*/ 470979 h 498536"/>
                <a:gd name="connsiteX15" fmla="*/ 54719 w 247619"/>
                <a:gd name="connsiteY15" fmla="*/ 498536 h 498536"/>
                <a:gd name="connsiteX16" fmla="*/ 182484 w 247619"/>
                <a:gd name="connsiteY16" fmla="*/ 453442 h 498536"/>
                <a:gd name="connsiteX17" fmla="*/ 217557 w 247619"/>
                <a:gd name="connsiteY17" fmla="*/ 433401 h 498536"/>
                <a:gd name="connsiteX18" fmla="*/ 247619 w 247619"/>
                <a:gd name="connsiteY18" fmla="*/ 388307 h 498536"/>
                <a:gd name="connsiteX19" fmla="*/ 240104 w 247619"/>
                <a:gd name="connsiteY19" fmla="*/ 348224 h 498536"/>
                <a:gd name="connsiteX20" fmla="*/ 205031 w 247619"/>
                <a:gd name="connsiteY20" fmla="*/ 310646 h 498536"/>
                <a:gd name="connsiteX21" fmla="*/ 195010 w 247619"/>
                <a:gd name="connsiteY21" fmla="*/ 280583 h 498536"/>
                <a:gd name="connsiteX22" fmla="*/ 52213 w 247619"/>
                <a:gd name="connsiteY22" fmla="*/ 0 h 498536"/>
                <a:gd name="connsiteX0" fmla="*/ 52213 w 247619"/>
                <a:gd name="connsiteY0" fmla="*/ 0 h 498536"/>
                <a:gd name="connsiteX1" fmla="*/ 24656 w 247619"/>
                <a:gd name="connsiteY1" fmla="*/ 25052 h 498536"/>
                <a:gd name="connsiteX2" fmla="*/ 34677 w 247619"/>
                <a:gd name="connsiteY2" fmla="*/ 95198 h 498536"/>
                <a:gd name="connsiteX3" fmla="*/ 52213 w 247619"/>
                <a:gd name="connsiteY3" fmla="*/ 120250 h 498536"/>
                <a:gd name="connsiteX4" fmla="*/ 54719 w 247619"/>
                <a:gd name="connsiteY4" fmla="*/ 130271 h 498536"/>
                <a:gd name="connsiteX5" fmla="*/ 54719 w 247619"/>
                <a:gd name="connsiteY5" fmla="*/ 142797 h 498536"/>
                <a:gd name="connsiteX6" fmla="*/ 24656 w 247619"/>
                <a:gd name="connsiteY6" fmla="*/ 187891 h 498536"/>
                <a:gd name="connsiteX7" fmla="*/ 24656 w 247619"/>
                <a:gd name="connsiteY7" fmla="*/ 200417 h 498536"/>
                <a:gd name="connsiteX8" fmla="*/ 27161 w 247619"/>
                <a:gd name="connsiteY8" fmla="*/ 217953 h 498536"/>
                <a:gd name="connsiteX9" fmla="*/ 12130 w 247619"/>
                <a:gd name="connsiteY9" fmla="*/ 255531 h 498536"/>
                <a:gd name="connsiteX10" fmla="*/ 27161 w 247619"/>
                <a:gd name="connsiteY10" fmla="*/ 280583 h 498536"/>
                <a:gd name="connsiteX11" fmla="*/ 12130 w 247619"/>
                <a:gd name="connsiteY11" fmla="*/ 308140 h 498536"/>
                <a:gd name="connsiteX12" fmla="*/ 0 w 247619"/>
                <a:gd name="connsiteY12" fmla="*/ 340585 h 498536"/>
                <a:gd name="connsiteX13" fmla="*/ 25053 w 247619"/>
                <a:gd name="connsiteY13" fmla="*/ 413359 h 498536"/>
                <a:gd name="connsiteX14" fmla="*/ 37182 w 247619"/>
                <a:gd name="connsiteY14" fmla="*/ 470979 h 498536"/>
                <a:gd name="connsiteX15" fmla="*/ 54719 w 247619"/>
                <a:gd name="connsiteY15" fmla="*/ 498536 h 498536"/>
                <a:gd name="connsiteX16" fmla="*/ 182484 w 247619"/>
                <a:gd name="connsiteY16" fmla="*/ 453442 h 498536"/>
                <a:gd name="connsiteX17" fmla="*/ 217557 w 247619"/>
                <a:gd name="connsiteY17" fmla="*/ 433401 h 498536"/>
                <a:gd name="connsiteX18" fmla="*/ 247619 w 247619"/>
                <a:gd name="connsiteY18" fmla="*/ 388307 h 498536"/>
                <a:gd name="connsiteX19" fmla="*/ 240104 w 247619"/>
                <a:gd name="connsiteY19" fmla="*/ 348224 h 498536"/>
                <a:gd name="connsiteX20" fmla="*/ 205031 w 247619"/>
                <a:gd name="connsiteY20" fmla="*/ 310646 h 498536"/>
                <a:gd name="connsiteX21" fmla="*/ 195010 w 247619"/>
                <a:gd name="connsiteY21" fmla="*/ 280583 h 498536"/>
                <a:gd name="connsiteX22" fmla="*/ 52213 w 247619"/>
                <a:gd name="connsiteY22" fmla="*/ 0 h 498536"/>
                <a:gd name="connsiteX0" fmla="*/ 52213 w 247619"/>
                <a:gd name="connsiteY0" fmla="*/ 0 h 512826"/>
                <a:gd name="connsiteX1" fmla="*/ 24656 w 247619"/>
                <a:gd name="connsiteY1" fmla="*/ 25052 h 512826"/>
                <a:gd name="connsiteX2" fmla="*/ 34677 w 247619"/>
                <a:gd name="connsiteY2" fmla="*/ 95198 h 512826"/>
                <a:gd name="connsiteX3" fmla="*/ 52213 w 247619"/>
                <a:gd name="connsiteY3" fmla="*/ 120250 h 512826"/>
                <a:gd name="connsiteX4" fmla="*/ 54719 w 247619"/>
                <a:gd name="connsiteY4" fmla="*/ 130271 h 512826"/>
                <a:gd name="connsiteX5" fmla="*/ 54719 w 247619"/>
                <a:gd name="connsiteY5" fmla="*/ 142797 h 512826"/>
                <a:gd name="connsiteX6" fmla="*/ 24656 w 247619"/>
                <a:gd name="connsiteY6" fmla="*/ 187891 h 512826"/>
                <a:gd name="connsiteX7" fmla="*/ 24656 w 247619"/>
                <a:gd name="connsiteY7" fmla="*/ 200417 h 512826"/>
                <a:gd name="connsiteX8" fmla="*/ 27161 w 247619"/>
                <a:gd name="connsiteY8" fmla="*/ 217953 h 512826"/>
                <a:gd name="connsiteX9" fmla="*/ 12130 w 247619"/>
                <a:gd name="connsiteY9" fmla="*/ 255531 h 512826"/>
                <a:gd name="connsiteX10" fmla="*/ 27161 w 247619"/>
                <a:gd name="connsiteY10" fmla="*/ 280583 h 512826"/>
                <a:gd name="connsiteX11" fmla="*/ 12130 w 247619"/>
                <a:gd name="connsiteY11" fmla="*/ 308140 h 512826"/>
                <a:gd name="connsiteX12" fmla="*/ 0 w 247619"/>
                <a:gd name="connsiteY12" fmla="*/ 340585 h 512826"/>
                <a:gd name="connsiteX13" fmla="*/ 25053 w 247619"/>
                <a:gd name="connsiteY13" fmla="*/ 413359 h 512826"/>
                <a:gd name="connsiteX14" fmla="*/ 37182 w 247619"/>
                <a:gd name="connsiteY14" fmla="*/ 470979 h 512826"/>
                <a:gd name="connsiteX15" fmla="*/ 54719 w 247619"/>
                <a:gd name="connsiteY15" fmla="*/ 512826 h 512826"/>
                <a:gd name="connsiteX16" fmla="*/ 182484 w 247619"/>
                <a:gd name="connsiteY16" fmla="*/ 453442 h 512826"/>
                <a:gd name="connsiteX17" fmla="*/ 217557 w 247619"/>
                <a:gd name="connsiteY17" fmla="*/ 433401 h 512826"/>
                <a:gd name="connsiteX18" fmla="*/ 247619 w 247619"/>
                <a:gd name="connsiteY18" fmla="*/ 388307 h 512826"/>
                <a:gd name="connsiteX19" fmla="*/ 240104 w 247619"/>
                <a:gd name="connsiteY19" fmla="*/ 348224 h 512826"/>
                <a:gd name="connsiteX20" fmla="*/ 205031 w 247619"/>
                <a:gd name="connsiteY20" fmla="*/ 310646 h 512826"/>
                <a:gd name="connsiteX21" fmla="*/ 195010 w 247619"/>
                <a:gd name="connsiteY21" fmla="*/ 280583 h 512826"/>
                <a:gd name="connsiteX22" fmla="*/ 52213 w 247619"/>
                <a:gd name="connsiteY22" fmla="*/ 0 h 512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7619" h="512826">
                  <a:moveTo>
                    <a:pt x="52213" y="0"/>
                  </a:moveTo>
                  <a:lnTo>
                    <a:pt x="24656" y="25052"/>
                  </a:lnTo>
                  <a:lnTo>
                    <a:pt x="34677" y="95198"/>
                  </a:lnTo>
                  <a:lnTo>
                    <a:pt x="52213" y="120250"/>
                  </a:lnTo>
                  <a:lnTo>
                    <a:pt x="54719" y="130271"/>
                  </a:lnTo>
                  <a:lnTo>
                    <a:pt x="54719" y="142797"/>
                  </a:lnTo>
                  <a:lnTo>
                    <a:pt x="24656" y="187891"/>
                  </a:lnTo>
                  <a:lnTo>
                    <a:pt x="24656" y="200417"/>
                  </a:lnTo>
                  <a:lnTo>
                    <a:pt x="27161" y="217953"/>
                  </a:lnTo>
                  <a:lnTo>
                    <a:pt x="12130" y="255531"/>
                  </a:lnTo>
                  <a:lnTo>
                    <a:pt x="27161" y="280583"/>
                  </a:lnTo>
                  <a:lnTo>
                    <a:pt x="12130" y="308140"/>
                  </a:lnTo>
                  <a:lnTo>
                    <a:pt x="0" y="340585"/>
                  </a:lnTo>
                  <a:lnTo>
                    <a:pt x="25053" y="413359"/>
                  </a:lnTo>
                  <a:lnTo>
                    <a:pt x="37182" y="470979"/>
                  </a:lnTo>
                  <a:lnTo>
                    <a:pt x="54719" y="512826"/>
                  </a:lnTo>
                  <a:lnTo>
                    <a:pt x="182484" y="453442"/>
                  </a:lnTo>
                  <a:lnTo>
                    <a:pt x="217557" y="433401"/>
                  </a:lnTo>
                  <a:lnTo>
                    <a:pt x="247619" y="388307"/>
                  </a:lnTo>
                  <a:lnTo>
                    <a:pt x="240104" y="348224"/>
                  </a:lnTo>
                  <a:lnTo>
                    <a:pt x="205031" y="310646"/>
                  </a:lnTo>
                  <a:lnTo>
                    <a:pt x="195010" y="280583"/>
                  </a:lnTo>
                  <a:lnTo>
                    <a:pt x="5221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5" name="Freeform 124"/>
            <p:cNvSpPr/>
            <p:nvPr/>
          </p:nvSpPr>
          <p:spPr>
            <a:xfrm>
              <a:off x="4981302" y="2167667"/>
              <a:ext cx="172002" cy="289501"/>
            </a:xfrm>
            <a:custGeom>
              <a:avLst/>
              <a:gdLst>
                <a:gd name="connsiteX0" fmla="*/ 0 w 273068"/>
                <a:gd name="connsiteY0" fmla="*/ 92692 h 491020"/>
                <a:gd name="connsiteX1" fmla="*/ 32568 w 273068"/>
                <a:gd name="connsiteY1" fmla="*/ 147807 h 491020"/>
                <a:gd name="connsiteX2" fmla="*/ 50105 w 273068"/>
                <a:gd name="connsiteY2" fmla="*/ 215447 h 491020"/>
                <a:gd name="connsiteX3" fmla="*/ 75157 w 273068"/>
                <a:gd name="connsiteY3" fmla="*/ 270562 h 491020"/>
                <a:gd name="connsiteX4" fmla="*/ 102714 w 273068"/>
                <a:gd name="connsiteY4" fmla="*/ 303130 h 491020"/>
                <a:gd name="connsiteX5" fmla="*/ 127766 w 273068"/>
                <a:gd name="connsiteY5" fmla="*/ 373275 h 491020"/>
                <a:gd name="connsiteX6" fmla="*/ 157828 w 273068"/>
                <a:gd name="connsiteY6" fmla="*/ 491020 h 491020"/>
                <a:gd name="connsiteX7" fmla="*/ 270563 w 273068"/>
                <a:gd name="connsiteY7" fmla="*/ 465968 h 491020"/>
                <a:gd name="connsiteX8" fmla="*/ 255531 w 273068"/>
                <a:gd name="connsiteY8" fmla="*/ 428390 h 491020"/>
                <a:gd name="connsiteX9" fmla="*/ 248016 w 273068"/>
                <a:gd name="connsiteY9" fmla="*/ 390812 h 491020"/>
                <a:gd name="connsiteX10" fmla="*/ 217953 w 273068"/>
                <a:gd name="connsiteY10" fmla="*/ 293109 h 491020"/>
                <a:gd name="connsiteX11" fmla="*/ 245511 w 273068"/>
                <a:gd name="connsiteY11" fmla="*/ 232984 h 491020"/>
                <a:gd name="connsiteX12" fmla="*/ 230479 w 273068"/>
                <a:gd name="connsiteY12" fmla="*/ 215447 h 491020"/>
                <a:gd name="connsiteX13" fmla="*/ 245511 w 273068"/>
                <a:gd name="connsiteY13" fmla="*/ 182880 h 491020"/>
                <a:gd name="connsiteX14" fmla="*/ 245511 w 273068"/>
                <a:gd name="connsiteY14" fmla="*/ 137786 h 491020"/>
                <a:gd name="connsiteX15" fmla="*/ 273068 w 273068"/>
                <a:gd name="connsiteY15" fmla="*/ 97703 h 491020"/>
                <a:gd name="connsiteX16" fmla="*/ 255531 w 273068"/>
                <a:gd name="connsiteY16" fmla="*/ 60125 h 491020"/>
                <a:gd name="connsiteX17" fmla="*/ 245511 w 273068"/>
                <a:gd name="connsiteY17" fmla="*/ 0 h 491020"/>
                <a:gd name="connsiteX18" fmla="*/ 205427 w 273068"/>
                <a:gd name="connsiteY18" fmla="*/ 17536 h 491020"/>
                <a:gd name="connsiteX19" fmla="*/ 0 w 273068"/>
                <a:gd name="connsiteY19" fmla="*/ 92692 h 491020"/>
                <a:gd name="connsiteX0" fmla="*/ 0 w 273068"/>
                <a:gd name="connsiteY0" fmla="*/ 92692 h 491020"/>
                <a:gd name="connsiteX1" fmla="*/ 50105 w 273068"/>
                <a:gd name="connsiteY1" fmla="*/ 215447 h 491020"/>
                <a:gd name="connsiteX2" fmla="*/ 75157 w 273068"/>
                <a:gd name="connsiteY2" fmla="*/ 270562 h 491020"/>
                <a:gd name="connsiteX3" fmla="*/ 102714 w 273068"/>
                <a:gd name="connsiteY3" fmla="*/ 303130 h 491020"/>
                <a:gd name="connsiteX4" fmla="*/ 127766 w 273068"/>
                <a:gd name="connsiteY4" fmla="*/ 373275 h 491020"/>
                <a:gd name="connsiteX5" fmla="*/ 157828 w 273068"/>
                <a:gd name="connsiteY5" fmla="*/ 491020 h 491020"/>
                <a:gd name="connsiteX6" fmla="*/ 270563 w 273068"/>
                <a:gd name="connsiteY6" fmla="*/ 465968 h 491020"/>
                <a:gd name="connsiteX7" fmla="*/ 255531 w 273068"/>
                <a:gd name="connsiteY7" fmla="*/ 428390 h 491020"/>
                <a:gd name="connsiteX8" fmla="*/ 248016 w 273068"/>
                <a:gd name="connsiteY8" fmla="*/ 390812 h 491020"/>
                <a:gd name="connsiteX9" fmla="*/ 217953 w 273068"/>
                <a:gd name="connsiteY9" fmla="*/ 293109 h 491020"/>
                <a:gd name="connsiteX10" fmla="*/ 245511 w 273068"/>
                <a:gd name="connsiteY10" fmla="*/ 232984 h 491020"/>
                <a:gd name="connsiteX11" fmla="*/ 230479 w 273068"/>
                <a:gd name="connsiteY11" fmla="*/ 215447 h 491020"/>
                <a:gd name="connsiteX12" fmla="*/ 245511 w 273068"/>
                <a:gd name="connsiteY12" fmla="*/ 182880 h 491020"/>
                <a:gd name="connsiteX13" fmla="*/ 245511 w 273068"/>
                <a:gd name="connsiteY13" fmla="*/ 137786 h 491020"/>
                <a:gd name="connsiteX14" fmla="*/ 273068 w 273068"/>
                <a:gd name="connsiteY14" fmla="*/ 97703 h 491020"/>
                <a:gd name="connsiteX15" fmla="*/ 255531 w 273068"/>
                <a:gd name="connsiteY15" fmla="*/ 60125 h 491020"/>
                <a:gd name="connsiteX16" fmla="*/ 245511 w 273068"/>
                <a:gd name="connsiteY16" fmla="*/ 0 h 491020"/>
                <a:gd name="connsiteX17" fmla="*/ 205427 w 273068"/>
                <a:gd name="connsiteY17" fmla="*/ 17536 h 491020"/>
                <a:gd name="connsiteX18" fmla="*/ 0 w 273068"/>
                <a:gd name="connsiteY18" fmla="*/ 92692 h 491020"/>
                <a:gd name="connsiteX0" fmla="*/ 0 w 273068"/>
                <a:gd name="connsiteY0" fmla="*/ 92692 h 491020"/>
                <a:gd name="connsiteX1" fmla="*/ 50105 w 273068"/>
                <a:gd name="connsiteY1" fmla="*/ 215447 h 491020"/>
                <a:gd name="connsiteX2" fmla="*/ 65631 w 273068"/>
                <a:gd name="connsiteY2" fmla="*/ 268177 h 491020"/>
                <a:gd name="connsiteX3" fmla="*/ 102714 w 273068"/>
                <a:gd name="connsiteY3" fmla="*/ 303130 h 491020"/>
                <a:gd name="connsiteX4" fmla="*/ 127766 w 273068"/>
                <a:gd name="connsiteY4" fmla="*/ 373275 h 491020"/>
                <a:gd name="connsiteX5" fmla="*/ 157828 w 273068"/>
                <a:gd name="connsiteY5" fmla="*/ 491020 h 491020"/>
                <a:gd name="connsiteX6" fmla="*/ 270563 w 273068"/>
                <a:gd name="connsiteY6" fmla="*/ 465968 h 491020"/>
                <a:gd name="connsiteX7" fmla="*/ 255531 w 273068"/>
                <a:gd name="connsiteY7" fmla="*/ 428390 h 491020"/>
                <a:gd name="connsiteX8" fmla="*/ 248016 w 273068"/>
                <a:gd name="connsiteY8" fmla="*/ 390812 h 491020"/>
                <a:gd name="connsiteX9" fmla="*/ 217953 w 273068"/>
                <a:gd name="connsiteY9" fmla="*/ 293109 h 491020"/>
                <a:gd name="connsiteX10" fmla="*/ 245511 w 273068"/>
                <a:gd name="connsiteY10" fmla="*/ 232984 h 491020"/>
                <a:gd name="connsiteX11" fmla="*/ 230479 w 273068"/>
                <a:gd name="connsiteY11" fmla="*/ 215447 h 491020"/>
                <a:gd name="connsiteX12" fmla="*/ 245511 w 273068"/>
                <a:gd name="connsiteY12" fmla="*/ 182880 h 491020"/>
                <a:gd name="connsiteX13" fmla="*/ 245511 w 273068"/>
                <a:gd name="connsiteY13" fmla="*/ 137786 h 491020"/>
                <a:gd name="connsiteX14" fmla="*/ 273068 w 273068"/>
                <a:gd name="connsiteY14" fmla="*/ 97703 h 491020"/>
                <a:gd name="connsiteX15" fmla="*/ 255531 w 273068"/>
                <a:gd name="connsiteY15" fmla="*/ 60125 h 491020"/>
                <a:gd name="connsiteX16" fmla="*/ 245511 w 273068"/>
                <a:gd name="connsiteY16" fmla="*/ 0 h 491020"/>
                <a:gd name="connsiteX17" fmla="*/ 205427 w 273068"/>
                <a:gd name="connsiteY17" fmla="*/ 17536 h 491020"/>
                <a:gd name="connsiteX18" fmla="*/ 0 w 273068"/>
                <a:gd name="connsiteY18" fmla="*/ 92692 h 49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3068" h="491020">
                  <a:moveTo>
                    <a:pt x="0" y="92692"/>
                  </a:moveTo>
                  <a:lnTo>
                    <a:pt x="50105" y="215447"/>
                  </a:lnTo>
                  <a:lnTo>
                    <a:pt x="65631" y="268177"/>
                  </a:lnTo>
                  <a:lnTo>
                    <a:pt x="102714" y="303130"/>
                  </a:lnTo>
                  <a:lnTo>
                    <a:pt x="127766" y="373275"/>
                  </a:lnTo>
                  <a:lnTo>
                    <a:pt x="157828" y="491020"/>
                  </a:lnTo>
                  <a:lnTo>
                    <a:pt x="270563" y="465968"/>
                  </a:lnTo>
                  <a:lnTo>
                    <a:pt x="255531" y="428390"/>
                  </a:lnTo>
                  <a:lnTo>
                    <a:pt x="248016" y="390812"/>
                  </a:lnTo>
                  <a:lnTo>
                    <a:pt x="217953" y="293109"/>
                  </a:lnTo>
                  <a:lnTo>
                    <a:pt x="245511" y="232984"/>
                  </a:lnTo>
                  <a:lnTo>
                    <a:pt x="230479" y="215447"/>
                  </a:lnTo>
                  <a:lnTo>
                    <a:pt x="245511" y="182880"/>
                  </a:lnTo>
                  <a:lnTo>
                    <a:pt x="245511" y="137786"/>
                  </a:lnTo>
                  <a:lnTo>
                    <a:pt x="273068" y="97703"/>
                  </a:lnTo>
                  <a:lnTo>
                    <a:pt x="255531" y="60125"/>
                  </a:lnTo>
                  <a:lnTo>
                    <a:pt x="245511" y="0"/>
                  </a:lnTo>
                  <a:lnTo>
                    <a:pt x="205427" y="17536"/>
                  </a:lnTo>
                  <a:lnTo>
                    <a:pt x="0" y="926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6" name="Freeform 125"/>
            <p:cNvSpPr/>
            <p:nvPr/>
          </p:nvSpPr>
          <p:spPr>
            <a:xfrm>
              <a:off x="5082304" y="2372847"/>
              <a:ext cx="329006" cy="171452"/>
            </a:xfrm>
            <a:custGeom>
              <a:avLst/>
              <a:gdLst>
                <a:gd name="connsiteX0" fmla="*/ 0 w 523588"/>
                <a:gd name="connsiteY0" fmla="*/ 137787 h 290604"/>
                <a:gd name="connsiteX1" fmla="*/ 5010 w 523588"/>
                <a:gd name="connsiteY1" fmla="*/ 217953 h 290604"/>
                <a:gd name="connsiteX2" fmla="*/ 17536 w 523588"/>
                <a:gd name="connsiteY2" fmla="*/ 250521 h 290604"/>
                <a:gd name="connsiteX3" fmla="*/ 20041 w 523588"/>
                <a:gd name="connsiteY3" fmla="*/ 290604 h 290604"/>
                <a:gd name="connsiteX4" fmla="*/ 303129 w 523588"/>
                <a:gd name="connsiteY4" fmla="*/ 170354 h 290604"/>
                <a:gd name="connsiteX5" fmla="*/ 360749 w 523588"/>
                <a:gd name="connsiteY5" fmla="*/ 237995 h 290604"/>
                <a:gd name="connsiteX6" fmla="*/ 383296 w 523588"/>
                <a:gd name="connsiteY6" fmla="*/ 253026 h 290604"/>
                <a:gd name="connsiteX7" fmla="*/ 383296 w 523588"/>
                <a:gd name="connsiteY7" fmla="*/ 253026 h 290604"/>
                <a:gd name="connsiteX8" fmla="*/ 403338 w 523588"/>
                <a:gd name="connsiteY8" fmla="*/ 210437 h 290604"/>
                <a:gd name="connsiteX9" fmla="*/ 408348 w 523588"/>
                <a:gd name="connsiteY9" fmla="*/ 190396 h 290604"/>
                <a:gd name="connsiteX10" fmla="*/ 428390 w 523588"/>
                <a:gd name="connsiteY10" fmla="*/ 195406 h 290604"/>
                <a:gd name="connsiteX11" fmla="*/ 455947 w 523588"/>
                <a:gd name="connsiteY11" fmla="*/ 202922 h 290604"/>
                <a:gd name="connsiteX12" fmla="*/ 470978 w 523588"/>
                <a:gd name="connsiteY12" fmla="*/ 190396 h 290604"/>
                <a:gd name="connsiteX13" fmla="*/ 478494 w 523588"/>
                <a:gd name="connsiteY13" fmla="*/ 177870 h 290604"/>
                <a:gd name="connsiteX14" fmla="*/ 523588 w 523588"/>
                <a:gd name="connsiteY14" fmla="*/ 140292 h 290604"/>
                <a:gd name="connsiteX15" fmla="*/ 523588 w 523588"/>
                <a:gd name="connsiteY15" fmla="*/ 115240 h 290604"/>
                <a:gd name="connsiteX16" fmla="*/ 503546 w 523588"/>
                <a:gd name="connsiteY16" fmla="*/ 97703 h 290604"/>
                <a:gd name="connsiteX17" fmla="*/ 478494 w 523588"/>
                <a:gd name="connsiteY17" fmla="*/ 87682 h 290604"/>
                <a:gd name="connsiteX18" fmla="*/ 455947 w 523588"/>
                <a:gd name="connsiteY18" fmla="*/ 87682 h 290604"/>
                <a:gd name="connsiteX19" fmla="*/ 465968 w 523588"/>
                <a:gd name="connsiteY19" fmla="*/ 102714 h 290604"/>
                <a:gd name="connsiteX20" fmla="*/ 480999 w 523588"/>
                <a:gd name="connsiteY20" fmla="*/ 120250 h 290604"/>
                <a:gd name="connsiteX21" fmla="*/ 488515 w 523588"/>
                <a:gd name="connsiteY21" fmla="*/ 130271 h 290604"/>
                <a:gd name="connsiteX22" fmla="*/ 478494 w 523588"/>
                <a:gd name="connsiteY22" fmla="*/ 162839 h 290604"/>
                <a:gd name="connsiteX23" fmla="*/ 445926 w 523588"/>
                <a:gd name="connsiteY23" fmla="*/ 170354 h 290604"/>
                <a:gd name="connsiteX24" fmla="*/ 425885 w 523588"/>
                <a:gd name="connsiteY24" fmla="*/ 160333 h 290604"/>
                <a:gd name="connsiteX25" fmla="*/ 408348 w 523588"/>
                <a:gd name="connsiteY25" fmla="*/ 137787 h 290604"/>
                <a:gd name="connsiteX26" fmla="*/ 395822 w 523588"/>
                <a:gd name="connsiteY26" fmla="*/ 117745 h 290604"/>
                <a:gd name="connsiteX27" fmla="*/ 340708 w 523588"/>
                <a:gd name="connsiteY27" fmla="*/ 75156 h 290604"/>
                <a:gd name="connsiteX28" fmla="*/ 343213 w 523588"/>
                <a:gd name="connsiteY28" fmla="*/ 45094 h 290604"/>
                <a:gd name="connsiteX29" fmla="*/ 335697 w 523588"/>
                <a:gd name="connsiteY29" fmla="*/ 22547 h 290604"/>
                <a:gd name="connsiteX30" fmla="*/ 303129 w 523588"/>
                <a:gd name="connsiteY30" fmla="*/ 0 h 290604"/>
                <a:gd name="connsiteX31" fmla="*/ 270562 w 523588"/>
                <a:gd name="connsiteY31" fmla="*/ 37578 h 290604"/>
                <a:gd name="connsiteX32" fmla="*/ 250520 w 523588"/>
                <a:gd name="connsiteY32" fmla="*/ 62630 h 290604"/>
                <a:gd name="connsiteX33" fmla="*/ 115239 w 523588"/>
                <a:gd name="connsiteY33" fmla="*/ 110229 h 290604"/>
                <a:gd name="connsiteX34" fmla="*/ 115239 w 523588"/>
                <a:gd name="connsiteY34" fmla="*/ 122755 h 290604"/>
                <a:gd name="connsiteX35" fmla="*/ 0 w 523588"/>
                <a:gd name="connsiteY35" fmla="*/ 137787 h 290604"/>
                <a:gd name="connsiteX0" fmla="*/ 0 w 523588"/>
                <a:gd name="connsiteY0" fmla="*/ 137787 h 290604"/>
                <a:gd name="connsiteX1" fmla="*/ 5010 w 523588"/>
                <a:gd name="connsiteY1" fmla="*/ 217953 h 290604"/>
                <a:gd name="connsiteX2" fmla="*/ 17536 w 523588"/>
                <a:gd name="connsiteY2" fmla="*/ 250521 h 290604"/>
                <a:gd name="connsiteX3" fmla="*/ 20041 w 523588"/>
                <a:gd name="connsiteY3" fmla="*/ 290604 h 290604"/>
                <a:gd name="connsiteX4" fmla="*/ 303129 w 523588"/>
                <a:gd name="connsiteY4" fmla="*/ 170354 h 290604"/>
                <a:gd name="connsiteX5" fmla="*/ 360749 w 523588"/>
                <a:gd name="connsiteY5" fmla="*/ 237995 h 290604"/>
                <a:gd name="connsiteX6" fmla="*/ 383296 w 523588"/>
                <a:gd name="connsiteY6" fmla="*/ 253026 h 290604"/>
                <a:gd name="connsiteX7" fmla="*/ 383296 w 523588"/>
                <a:gd name="connsiteY7" fmla="*/ 253026 h 290604"/>
                <a:gd name="connsiteX8" fmla="*/ 403338 w 523588"/>
                <a:gd name="connsiteY8" fmla="*/ 210437 h 290604"/>
                <a:gd name="connsiteX9" fmla="*/ 408348 w 523588"/>
                <a:gd name="connsiteY9" fmla="*/ 190396 h 290604"/>
                <a:gd name="connsiteX10" fmla="*/ 428390 w 523588"/>
                <a:gd name="connsiteY10" fmla="*/ 195406 h 290604"/>
                <a:gd name="connsiteX11" fmla="*/ 455947 w 523588"/>
                <a:gd name="connsiteY11" fmla="*/ 202922 h 290604"/>
                <a:gd name="connsiteX12" fmla="*/ 470978 w 523588"/>
                <a:gd name="connsiteY12" fmla="*/ 190396 h 290604"/>
                <a:gd name="connsiteX13" fmla="*/ 478494 w 523588"/>
                <a:gd name="connsiteY13" fmla="*/ 177870 h 290604"/>
                <a:gd name="connsiteX14" fmla="*/ 523588 w 523588"/>
                <a:gd name="connsiteY14" fmla="*/ 140292 h 290604"/>
                <a:gd name="connsiteX15" fmla="*/ 523588 w 523588"/>
                <a:gd name="connsiteY15" fmla="*/ 115240 h 290604"/>
                <a:gd name="connsiteX16" fmla="*/ 503546 w 523588"/>
                <a:gd name="connsiteY16" fmla="*/ 97703 h 290604"/>
                <a:gd name="connsiteX17" fmla="*/ 478494 w 523588"/>
                <a:gd name="connsiteY17" fmla="*/ 87682 h 290604"/>
                <a:gd name="connsiteX18" fmla="*/ 455947 w 523588"/>
                <a:gd name="connsiteY18" fmla="*/ 87682 h 290604"/>
                <a:gd name="connsiteX19" fmla="*/ 465968 w 523588"/>
                <a:gd name="connsiteY19" fmla="*/ 102714 h 290604"/>
                <a:gd name="connsiteX20" fmla="*/ 480999 w 523588"/>
                <a:gd name="connsiteY20" fmla="*/ 120250 h 290604"/>
                <a:gd name="connsiteX21" fmla="*/ 488515 w 523588"/>
                <a:gd name="connsiteY21" fmla="*/ 130271 h 290604"/>
                <a:gd name="connsiteX22" fmla="*/ 478494 w 523588"/>
                <a:gd name="connsiteY22" fmla="*/ 162839 h 290604"/>
                <a:gd name="connsiteX23" fmla="*/ 445926 w 523588"/>
                <a:gd name="connsiteY23" fmla="*/ 170354 h 290604"/>
                <a:gd name="connsiteX24" fmla="*/ 425885 w 523588"/>
                <a:gd name="connsiteY24" fmla="*/ 160333 h 290604"/>
                <a:gd name="connsiteX25" fmla="*/ 408348 w 523588"/>
                <a:gd name="connsiteY25" fmla="*/ 137787 h 290604"/>
                <a:gd name="connsiteX26" fmla="*/ 395822 w 523588"/>
                <a:gd name="connsiteY26" fmla="*/ 117745 h 290604"/>
                <a:gd name="connsiteX27" fmla="*/ 340708 w 523588"/>
                <a:gd name="connsiteY27" fmla="*/ 75156 h 290604"/>
                <a:gd name="connsiteX28" fmla="*/ 343213 w 523588"/>
                <a:gd name="connsiteY28" fmla="*/ 45094 h 290604"/>
                <a:gd name="connsiteX29" fmla="*/ 335697 w 523588"/>
                <a:gd name="connsiteY29" fmla="*/ 22547 h 290604"/>
                <a:gd name="connsiteX30" fmla="*/ 303129 w 523588"/>
                <a:gd name="connsiteY30" fmla="*/ 0 h 290604"/>
                <a:gd name="connsiteX31" fmla="*/ 270562 w 523588"/>
                <a:gd name="connsiteY31" fmla="*/ 37578 h 290604"/>
                <a:gd name="connsiteX32" fmla="*/ 115239 w 523588"/>
                <a:gd name="connsiteY32" fmla="*/ 110229 h 290604"/>
                <a:gd name="connsiteX33" fmla="*/ 115239 w 523588"/>
                <a:gd name="connsiteY33" fmla="*/ 122755 h 290604"/>
                <a:gd name="connsiteX34" fmla="*/ 0 w 523588"/>
                <a:gd name="connsiteY34" fmla="*/ 137787 h 290604"/>
                <a:gd name="connsiteX0" fmla="*/ 0 w 523588"/>
                <a:gd name="connsiteY0" fmla="*/ 137787 h 290604"/>
                <a:gd name="connsiteX1" fmla="*/ 5010 w 523588"/>
                <a:gd name="connsiteY1" fmla="*/ 217953 h 290604"/>
                <a:gd name="connsiteX2" fmla="*/ 17536 w 523588"/>
                <a:gd name="connsiteY2" fmla="*/ 250521 h 290604"/>
                <a:gd name="connsiteX3" fmla="*/ 20041 w 523588"/>
                <a:gd name="connsiteY3" fmla="*/ 290604 h 290604"/>
                <a:gd name="connsiteX4" fmla="*/ 303129 w 523588"/>
                <a:gd name="connsiteY4" fmla="*/ 170354 h 290604"/>
                <a:gd name="connsiteX5" fmla="*/ 360749 w 523588"/>
                <a:gd name="connsiteY5" fmla="*/ 237995 h 290604"/>
                <a:gd name="connsiteX6" fmla="*/ 383296 w 523588"/>
                <a:gd name="connsiteY6" fmla="*/ 253026 h 290604"/>
                <a:gd name="connsiteX7" fmla="*/ 383296 w 523588"/>
                <a:gd name="connsiteY7" fmla="*/ 253026 h 290604"/>
                <a:gd name="connsiteX8" fmla="*/ 403338 w 523588"/>
                <a:gd name="connsiteY8" fmla="*/ 210437 h 290604"/>
                <a:gd name="connsiteX9" fmla="*/ 408348 w 523588"/>
                <a:gd name="connsiteY9" fmla="*/ 190396 h 290604"/>
                <a:gd name="connsiteX10" fmla="*/ 428390 w 523588"/>
                <a:gd name="connsiteY10" fmla="*/ 195406 h 290604"/>
                <a:gd name="connsiteX11" fmla="*/ 455947 w 523588"/>
                <a:gd name="connsiteY11" fmla="*/ 202922 h 290604"/>
                <a:gd name="connsiteX12" fmla="*/ 470978 w 523588"/>
                <a:gd name="connsiteY12" fmla="*/ 190396 h 290604"/>
                <a:gd name="connsiteX13" fmla="*/ 478494 w 523588"/>
                <a:gd name="connsiteY13" fmla="*/ 177870 h 290604"/>
                <a:gd name="connsiteX14" fmla="*/ 523588 w 523588"/>
                <a:gd name="connsiteY14" fmla="*/ 140292 h 290604"/>
                <a:gd name="connsiteX15" fmla="*/ 523588 w 523588"/>
                <a:gd name="connsiteY15" fmla="*/ 115240 h 290604"/>
                <a:gd name="connsiteX16" fmla="*/ 503546 w 523588"/>
                <a:gd name="connsiteY16" fmla="*/ 97703 h 290604"/>
                <a:gd name="connsiteX17" fmla="*/ 478494 w 523588"/>
                <a:gd name="connsiteY17" fmla="*/ 87682 h 290604"/>
                <a:gd name="connsiteX18" fmla="*/ 455947 w 523588"/>
                <a:gd name="connsiteY18" fmla="*/ 87682 h 290604"/>
                <a:gd name="connsiteX19" fmla="*/ 465968 w 523588"/>
                <a:gd name="connsiteY19" fmla="*/ 102714 h 290604"/>
                <a:gd name="connsiteX20" fmla="*/ 480999 w 523588"/>
                <a:gd name="connsiteY20" fmla="*/ 120250 h 290604"/>
                <a:gd name="connsiteX21" fmla="*/ 488515 w 523588"/>
                <a:gd name="connsiteY21" fmla="*/ 130271 h 290604"/>
                <a:gd name="connsiteX22" fmla="*/ 478494 w 523588"/>
                <a:gd name="connsiteY22" fmla="*/ 162839 h 290604"/>
                <a:gd name="connsiteX23" fmla="*/ 445926 w 523588"/>
                <a:gd name="connsiteY23" fmla="*/ 170354 h 290604"/>
                <a:gd name="connsiteX24" fmla="*/ 425885 w 523588"/>
                <a:gd name="connsiteY24" fmla="*/ 160333 h 290604"/>
                <a:gd name="connsiteX25" fmla="*/ 408348 w 523588"/>
                <a:gd name="connsiteY25" fmla="*/ 137787 h 290604"/>
                <a:gd name="connsiteX26" fmla="*/ 395822 w 523588"/>
                <a:gd name="connsiteY26" fmla="*/ 117745 h 290604"/>
                <a:gd name="connsiteX27" fmla="*/ 340708 w 523588"/>
                <a:gd name="connsiteY27" fmla="*/ 75156 h 290604"/>
                <a:gd name="connsiteX28" fmla="*/ 343213 w 523588"/>
                <a:gd name="connsiteY28" fmla="*/ 45094 h 290604"/>
                <a:gd name="connsiteX29" fmla="*/ 335697 w 523588"/>
                <a:gd name="connsiteY29" fmla="*/ 22547 h 290604"/>
                <a:gd name="connsiteX30" fmla="*/ 303129 w 523588"/>
                <a:gd name="connsiteY30" fmla="*/ 0 h 290604"/>
                <a:gd name="connsiteX31" fmla="*/ 270562 w 523588"/>
                <a:gd name="connsiteY31" fmla="*/ 37578 h 290604"/>
                <a:gd name="connsiteX32" fmla="*/ 115239 w 523588"/>
                <a:gd name="connsiteY32" fmla="*/ 110229 h 290604"/>
                <a:gd name="connsiteX33" fmla="*/ 98529 w 523588"/>
                <a:gd name="connsiteY33" fmla="*/ 117990 h 290604"/>
                <a:gd name="connsiteX34" fmla="*/ 0 w 523588"/>
                <a:gd name="connsiteY34" fmla="*/ 137787 h 290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23588" h="290604">
                  <a:moveTo>
                    <a:pt x="0" y="137787"/>
                  </a:moveTo>
                  <a:lnTo>
                    <a:pt x="5010" y="217953"/>
                  </a:lnTo>
                  <a:lnTo>
                    <a:pt x="17536" y="250521"/>
                  </a:lnTo>
                  <a:lnTo>
                    <a:pt x="20041" y="290604"/>
                  </a:lnTo>
                  <a:lnTo>
                    <a:pt x="303129" y="170354"/>
                  </a:lnTo>
                  <a:lnTo>
                    <a:pt x="360749" y="237995"/>
                  </a:lnTo>
                  <a:lnTo>
                    <a:pt x="383296" y="253026"/>
                  </a:lnTo>
                  <a:lnTo>
                    <a:pt x="383296" y="253026"/>
                  </a:lnTo>
                  <a:lnTo>
                    <a:pt x="403338" y="210437"/>
                  </a:lnTo>
                  <a:lnTo>
                    <a:pt x="408348" y="190396"/>
                  </a:lnTo>
                  <a:lnTo>
                    <a:pt x="428390" y="195406"/>
                  </a:lnTo>
                  <a:lnTo>
                    <a:pt x="455947" y="202922"/>
                  </a:lnTo>
                  <a:lnTo>
                    <a:pt x="470978" y="190396"/>
                  </a:lnTo>
                  <a:lnTo>
                    <a:pt x="478494" y="177870"/>
                  </a:lnTo>
                  <a:lnTo>
                    <a:pt x="523588" y="140292"/>
                  </a:lnTo>
                  <a:lnTo>
                    <a:pt x="523588" y="115240"/>
                  </a:lnTo>
                  <a:lnTo>
                    <a:pt x="503546" y="97703"/>
                  </a:lnTo>
                  <a:lnTo>
                    <a:pt x="478494" y="87682"/>
                  </a:lnTo>
                  <a:lnTo>
                    <a:pt x="455947" y="87682"/>
                  </a:lnTo>
                  <a:lnTo>
                    <a:pt x="465968" y="102714"/>
                  </a:lnTo>
                  <a:lnTo>
                    <a:pt x="480999" y="120250"/>
                  </a:lnTo>
                  <a:lnTo>
                    <a:pt x="488515" y="130271"/>
                  </a:lnTo>
                  <a:lnTo>
                    <a:pt x="478494" y="162839"/>
                  </a:lnTo>
                  <a:lnTo>
                    <a:pt x="445926" y="170354"/>
                  </a:lnTo>
                  <a:lnTo>
                    <a:pt x="425885" y="160333"/>
                  </a:lnTo>
                  <a:lnTo>
                    <a:pt x="408348" y="137787"/>
                  </a:lnTo>
                  <a:lnTo>
                    <a:pt x="395822" y="117745"/>
                  </a:lnTo>
                  <a:lnTo>
                    <a:pt x="340708" y="75156"/>
                  </a:lnTo>
                  <a:lnTo>
                    <a:pt x="343213" y="45094"/>
                  </a:lnTo>
                  <a:lnTo>
                    <a:pt x="335697" y="22547"/>
                  </a:lnTo>
                  <a:lnTo>
                    <a:pt x="303129" y="0"/>
                  </a:lnTo>
                  <a:lnTo>
                    <a:pt x="270562" y="37578"/>
                  </a:lnTo>
                  <a:lnTo>
                    <a:pt x="115239" y="110229"/>
                  </a:lnTo>
                  <a:lnTo>
                    <a:pt x="98529" y="117990"/>
                  </a:lnTo>
                  <a:lnTo>
                    <a:pt x="0" y="137787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7" name="Freeform 126"/>
            <p:cNvSpPr/>
            <p:nvPr/>
          </p:nvSpPr>
          <p:spPr>
            <a:xfrm>
              <a:off x="5239306" y="2473095"/>
              <a:ext cx="51001" cy="77762"/>
            </a:xfrm>
            <a:custGeom>
              <a:avLst/>
              <a:gdLst>
                <a:gd name="connsiteX0" fmla="*/ 0 w 71437"/>
                <a:gd name="connsiteY0" fmla="*/ 21431 h 123825"/>
                <a:gd name="connsiteX1" fmla="*/ 26193 w 71437"/>
                <a:gd name="connsiteY1" fmla="*/ 69056 h 123825"/>
                <a:gd name="connsiteX2" fmla="*/ 23812 w 71437"/>
                <a:gd name="connsiteY2" fmla="*/ 95250 h 123825"/>
                <a:gd name="connsiteX3" fmla="*/ 42862 w 71437"/>
                <a:gd name="connsiteY3" fmla="*/ 123825 h 123825"/>
                <a:gd name="connsiteX4" fmla="*/ 66675 w 71437"/>
                <a:gd name="connsiteY4" fmla="*/ 100013 h 123825"/>
                <a:gd name="connsiteX5" fmla="*/ 71437 w 71437"/>
                <a:gd name="connsiteY5" fmla="*/ 76200 h 123825"/>
                <a:gd name="connsiteX6" fmla="*/ 66675 w 71437"/>
                <a:gd name="connsiteY6" fmla="*/ 57150 h 123825"/>
                <a:gd name="connsiteX7" fmla="*/ 71437 w 71437"/>
                <a:gd name="connsiteY7" fmla="*/ 38100 h 123825"/>
                <a:gd name="connsiteX8" fmla="*/ 50006 w 71437"/>
                <a:gd name="connsiteY8" fmla="*/ 0 h 123825"/>
                <a:gd name="connsiteX9" fmla="*/ 0 w 71437"/>
                <a:gd name="connsiteY9" fmla="*/ 21431 h 123825"/>
                <a:gd name="connsiteX0" fmla="*/ 0 w 71437"/>
                <a:gd name="connsiteY0" fmla="*/ 28575 h 130969"/>
                <a:gd name="connsiteX1" fmla="*/ 26193 w 71437"/>
                <a:gd name="connsiteY1" fmla="*/ 76200 h 130969"/>
                <a:gd name="connsiteX2" fmla="*/ 23812 w 71437"/>
                <a:gd name="connsiteY2" fmla="*/ 102394 h 130969"/>
                <a:gd name="connsiteX3" fmla="*/ 42862 w 71437"/>
                <a:gd name="connsiteY3" fmla="*/ 130969 h 130969"/>
                <a:gd name="connsiteX4" fmla="*/ 66675 w 71437"/>
                <a:gd name="connsiteY4" fmla="*/ 107157 h 130969"/>
                <a:gd name="connsiteX5" fmla="*/ 71437 w 71437"/>
                <a:gd name="connsiteY5" fmla="*/ 83344 h 130969"/>
                <a:gd name="connsiteX6" fmla="*/ 66675 w 71437"/>
                <a:gd name="connsiteY6" fmla="*/ 64294 h 130969"/>
                <a:gd name="connsiteX7" fmla="*/ 71437 w 71437"/>
                <a:gd name="connsiteY7" fmla="*/ 45244 h 130969"/>
                <a:gd name="connsiteX8" fmla="*/ 42862 w 71437"/>
                <a:gd name="connsiteY8" fmla="*/ 0 h 130969"/>
                <a:gd name="connsiteX9" fmla="*/ 0 w 71437"/>
                <a:gd name="connsiteY9" fmla="*/ 28575 h 130969"/>
                <a:gd name="connsiteX0" fmla="*/ 0 w 80962"/>
                <a:gd name="connsiteY0" fmla="*/ 26194 h 130969"/>
                <a:gd name="connsiteX1" fmla="*/ 35718 w 80962"/>
                <a:gd name="connsiteY1" fmla="*/ 76200 h 130969"/>
                <a:gd name="connsiteX2" fmla="*/ 33337 w 80962"/>
                <a:gd name="connsiteY2" fmla="*/ 102394 h 130969"/>
                <a:gd name="connsiteX3" fmla="*/ 52387 w 80962"/>
                <a:gd name="connsiteY3" fmla="*/ 130969 h 130969"/>
                <a:gd name="connsiteX4" fmla="*/ 76200 w 80962"/>
                <a:gd name="connsiteY4" fmla="*/ 107157 h 130969"/>
                <a:gd name="connsiteX5" fmla="*/ 80962 w 80962"/>
                <a:gd name="connsiteY5" fmla="*/ 83344 h 130969"/>
                <a:gd name="connsiteX6" fmla="*/ 76200 w 80962"/>
                <a:gd name="connsiteY6" fmla="*/ 64294 h 130969"/>
                <a:gd name="connsiteX7" fmla="*/ 80962 w 80962"/>
                <a:gd name="connsiteY7" fmla="*/ 45244 h 130969"/>
                <a:gd name="connsiteX8" fmla="*/ 52387 w 80962"/>
                <a:gd name="connsiteY8" fmla="*/ 0 h 130969"/>
                <a:gd name="connsiteX9" fmla="*/ 0 w 80962"/>
                <a:gd name="connsiteY9" fmla="*/ 26194 h 130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962" h="130969">
                  <a:moveTo>
                    <a:pt x="0" y="26194"/>
                  </a:moveTo>
                  <a:lnTo>
                    <a:pt x="35718" y="76200"/>
                  </a:lnTo>
                  <a:lnTo>
                    <a:pt x="33337" y="102394"/>
                  </a:lnTo>
                  <a:lnTo>
                    <a:pt x="52387" y="130969"/>
                  </a:lnTo>
                  <a:lnTo>
                    <a:pt x="76200" y="107157"/>
                  </a:lnTo>
                  <a:lnTo>
                    <a:pt x="80962" y="83344"/>
                  </a:lnTo>
                  <a:lnTo>
                    <a:pt x="76200" y="64294"/>
                  </a:lnTo>
                  <a:lnTo>
                    <a:pt x="80962" y="45244"/>
                  </a:lnTo>
                  <a:lnTo>
                    <a:pt x="52387" y="0"/>
                  </a:lnTo>
                  <a:lnTo>
                    <a:pt x="0" y="26194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8" name="Freeform 127"/>
            <p:cNvSpPr/>
            <p:nvPr/>
          </p:nvSpPr>
          <p:spPr>
            <a:xfrm>
              <a:off x="5097304" y="2489022"/>
              <a:ext cx="173004" cy="142408"/>
            </a:xfrm>
            <a:custGeom>
              <a:avLst/>
              <a:gdLst>
                <a:gd name="connsiteX0" fmla="*/ 0 w 273844"/>
                <a:gd name="connsiteY0" fmla="*/ 85725 h 235743"/>
                <a:gd name="connsiteX1" fmla="*/ 11906 w 273844"/>
                <a:gd name="connsiteY1" fmla="*/ 142875 h 235743"/>
                <a:gd name="connsiteX2" fmla="*/ 64294 w 273844"/>
                <a:gd name="connsiteY2" fmla="*/ 235743 h 235743"/>
                <a:gd name="connsiteX3" fmla="*/ 109538 w 273844"/>
                <a:gd name="connsiteY3" fmla="*/ 214312 h 235743"/>
                <a:gd name="connsiteX4" fmla="*/ 121444 w 273844"/>
                <a:gd name="connsiteY4" fmla="*/ 192881 h 235743"/>
                <a:gd name="connsiteX5" fmla="*/ 145256 w 273844"/>
                <a:gd name="connsiteY5" fmla="*/ 164306 h 235743"/>
                <a:gd name="connsiteX6" fmla="*/ 188119 w 273844"/>
                <a:gd name="connsiteY6" fmla="*/ 161925 h 235743"/>
                <a:gd name="connsiteX7" fmla="*/ 207169 w 273844"/>
                <a:gd name="connsiteY7" fmla="*/ 152400 h 235743"/>
                <a:gd name="connsiteX8" fmla="*/ 216694 w 273844"/>
                <a:gd name="connsiteY8" fmla="*/ 126206 h 235743"/>
                <a:gd name="connsiteX9" fmla="*/ 269081 w 273844"/>
                <a:gd name="connsiteY9" fmla="*/ 111918 h 235743"/>
                <a:gd name="connsiteX10" fmla="*/ 273844 w 273844"/>
                <a:gd name="connsiteY10" fmla="*/ 102393 h 235743"/>
                <a:gd name="connsiteX11" fmla="*/ 259556 w 273844"/>
                <a:gd name="connsiteY11" fmla="*/ 69056 h 235743"/>
                <a:gd name="connsiteX12" fmla="*/ 259556 w 273844"/>
                <a:gd name="connsiteY12" fmla="*/ 30956 h 235743"/>
                <a:gd name="connsiteX13" fmla="*/ 223838 w 273844"/>
                <a:gd name="connsiteY13" fmla="*/ 0 h 235743"/>
                <a:gd name="connsiteX14" fmla="*/ 0 w 273844"/>
                <a:gd name="connsiteY14" fmla="*/ 85725 h 235743"/>
                <a:gd name="connsiteX0" fmla="*/ 0 w 273844"/>
                <a:gd name="connsiteY0" fmla="*/ 92893 h 242911"/>
                <a:gd name="connsiteX1" fmla="*/ 11906 w 273844"/>
                <a:gd name="connsiteY1" fmla="*/ 150043 h 242911"/>
                <a:gd name="connsiteX2" fmla="*/ 64294 w 273844"/>
                <a:gd name="connsiteY2" fmla="*/ 242911 h 242911"/>
                <a:gd name="connsiteX3" fmla="*/ 109538 w 273844"/>
                <a:gd name="connsiteY3" fmla="*/ 221480 h 242911"/>
                <a:gd name="connsiteX4" fmla="*/ 121444 w 273844"/>
                <a:gd name="connsiteY4" fmla="*/ 200049 h 242911"/>
                <a:gd name="connsiteX5" fmla="*/ 145256 w 273844"/>
                <a:gd name="connsiteY5" fmla="*/ 171474 h 242911"/>
                <a:gd name="connsiteX6" fmla="*/ 188119 w 273844"/>
                <a:gd name="connsiteY6" fmla="*/ 169093 h 242911"/>
                <a:gd name="connsiteX7" fmla="*/ 207169 w 273844"/>
                <a:gd name="connsiteY7" fmla="*/ 159568 h 242911"/>
                <a:gd name="connsiteX8" fmla="*/ 216694 w 273844"/>
                <a:gd name="connsiteY8" fmla="*/ 133374 h 242911"/>
                <a:gd name="connsiteX9" fmla="*/ 269081 w 273844"/>
                <a:gd name="connsiteY9" fmla="*/ 119086 h 242911"/>
                <a:gd name="connsiteX10" fmla="*/ 273844 w 273844"/>
                <a:gd name="connsiteY10" fmla="*/ 109561 h 242911"/>
                <a:gd name="connsiteX11" fmla="*/ 259556 w 273844"/>
                <a:gd name="connsiteY11" fmla="*/ 76224 h 242911"/>
                <a:gd name="connsiteX12" fmla="*/ 259556 w 273844"/>
                <a:gd name="connsiteY12" fmla="*/ 38124 h 242911"/>
                <a:gd name="connsiteX13" fmla="*/ 219089 w 273844"/>
                <a:gd name="connsiteY13" fmla="*/ 0 h 242911"/>
                <a:gd name="connsiteX14" fmla="*/ 0 w 273844"/>
                <a:gd name="connsiteY14" fmla="*/ 92893 h 242911"/>
                <a:gd name="connsiteX0" fmla="*/ 0 w 273844"/>
                <a:gd name="connsiteY0" fmla="*/ 92893 h 242911"/>
                <a:gd name="connsiteX1" fmla="*/ 2409 w 273844"/>
                <a:gd name="connsiteY1" fmla="*/ 150043 h 242911"/>
                <a:gd name="connsiteX2" fmla="*/ 64294 w 273844"/>
                <a:gd name="connsiteY2" fmla="*/ 242911 h 242911"/>
                <a:gd name="connsiteX3" fmla="*/ 109538 w 273844"/>
                <a:gd name="connsiteY3" fmla="*/ 221480 h 242911"/>
                <a:gd name="connsiteX4" fmla="*/ 121444 w 273844"/>
                <a:gd name="connsiteY4" fmla="*/ 200049 h 242911"/>
                <a:gd name="connsiteX5" fmla="*/ 145256 w 273844"/>
                <a:gd name="connsiteY5" fmla="*/ 171474 h 242911"/>
                <a:gd name="connsiteX6" fmla="*/ 188119 w 273844"/>
                <a:gd name="connsiteY6" fmla="*/ 169093 h 242911"/>
                <a:gd name="connsiteX7" fmla="*/ 207169 w 273844"/>
                <a:gd name="connsiteY7" fmla="*/ 159568 h 242911"/>
                <a:gd name="connsiteX8" fmla="*/ 216694 w 273844"/>
                <a:gd name="connsiteY8" fmla="*/ 133374 h 242911"/>
                <a:gd name="connsiteX9" fmla="*/ 269081 w 273844"/>
                <a:gd name="connsiteY9" fmla="*/ 119086 h 242911"/>
                <a:gd name="connsiteX10" fmla="*/ 273844 w 273844"/>
                <a:gd name="connsiteY10" fmla="*/ 109561 h 242911"/>
                <a:gd name="connsiteX11" fmla="*/ 259556 w 273844"/>
                <a:gd name="connsiteY11" fmla="*/ 76224 h 242911"/>
                <a:gd name="connsiteX12" fmla="*/ 259556 w 273844"/>
                <a:gd name="connsiteY12" fmla="*/ 38124 h 242911"/>
                <a:gd name="connsiteX13" fmla="*/ 219089 w 273844"/>
                <a:gd name="connsiteY13" fmla="*/ 0 h 242911"/>
                <a:gd name="connsiteX14" fmla="*/ 0 w 273844"/>
                <a:gd name="connsiteY14" fmla="*/ 92893 h 24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73844" h="242911">
                  <a:moveTo>
                    <a:pt x="0" y="92893"/>
                  </a:moveTo>
                  <a:lnTo>
                    <a:pt x="2409" y="150043"/>
                  </a:lnTo>
                  <a:lnTo>
                    <a:pt x="64294" y="242911"/>
                  </a:lnTo>
                  <a:lnTo>
                    <a:pt x="109538" y="221480"/>
                  </a:lnTo>
                  <a:lnTo>
                    <a:pt x="121444" y="200049"/>
                  </a:lnTo>
                  <a:lnTo>
                    <a:pt x="145256" y="171474"/>
                  </a:lnTo>
                  <a:lnTo>
                    <a:pt x="188119" y="169093"/>
                  </a:lnTo>
                  <a:lnTo>
                    <a:pt x="207169" y="159568"/>
                  </a:lnTo>
                  <a:lnTo>
                    <a:pt x="216694" y="133374"/>
                  </a:lnTo>
                  <a:lnTo>
                    <a:pt x="269081" y="119086"/>
                  </a:lnTo>
                  <a:lnTo>
                    <a:pt x="273844" y="109561"/>
                  </a:lnTo>
                  <a:lnTo>
                    <a:pt x="259556" y="76224"/>
                  </a:lnTo>
                  <a:lnTo>
                    <a:pt x="259556" y="38124"/>
                  </a:lnTo>
                  <a:lnTo>
                    <a:pt x="219089" y="0"/>
                  </a:lnTo>
                  <a:lnTo>
                    <a:pt x="0" y="92893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9" name="Freeform 128"/>
            <p:cNvSpPr/>
            <p:nvPr/>
          </p:nvSpPr>
          <p:spPr>
            <a:xfrm>
              <a:off x="4989302" y="2647357"/>
              <a:ext cx="138002" cy="269826"/>
            </a:xfrm>
            <a:custGeom>
              <a:avLst/>
              <a:gdLst>
                <a:gd name="connsiteX0" fmla="*/ 21431 w 219075"/>
                <a:gd name="connsiteY0" fmla="*/ 0 h 457200"/>
                <a:gd name="connsiteX1" fmla="*/ 7144 w 219075"/>
                <a:gd name="connsiteY1" fmla="*/ 64294 h 457200"/>
                <a:gd name="connsiteX2" fmla="*/ 0 w 219075"/>
                <a:gd name="connsiteY2" fmla="*/ 97631 h 457200"/>
                <a:gd name="connsiteX3" fmla="*/ 14288 w 219075"/>
                <a:gd name="connsiteY3" fmla="*/ 138113 h 457200"/>
                <a:gd name="connsiteX4" fmla="*/ 16669 w 219075"/>
                <a:gd name="connsiteY4" fmla="*/ 176213 h 457200"/>
                <a:gd name="connsiteX5" fmla="*/ 45244 w 219075"/>
                <a:gd name="connsiteY5" fmla="*/ 185738 h 457200"/>
                <a:gd name="connsiteX6" fmla="*/ 88106 w 219075"/>
                <a:gd name="connsiteY6" fmla="*/ 200025 h 457200"/>
                <a:gd name="connsiteX7" fmla="*/ 90488 w 219075"/>
                <a:gd name="connsiteY7" fmla="*/ 242888 h 457200"/>
                <a:gd name="connsiteX8" fmla="*/ 52388 w 219075"/>
                <a:gd name="connsiteY8" fmla="*/ 302419 h 457200"/>
                <a:gd name="connsiteX9" fmla="*/ 30956 w 219075"/>
                <a:gd name="connsiteY9" fmla="*/ 350044 h 457200"/>
                <a:gd name="connsiteX10" fmla="*/ 42863 w 219075"/>
                <a:gd name="connsiteY10" fmla="*/ 383381 h 457200"/>
                <a:gd name="connsiteX11" fmla="*/ 83344 w 219075"/>
                <a:gd name="connsiteY11" fmla="*/ 400050 h 457200"/>
                <a:gd name="connsiteX12" fmla="*/ 126206 w 219075"/>
                <a:gd name="connsiteY12" fmla="*/ 407194 h 457200"/>
                <a:gd name="connsiteX13" fmla="*/ 130969 w 219075"/>
                <a:gd name="connsiteY13" fmla="*/ 435769 h 457200"/>
                <a:gd name="connsiteX14" fmla="*/ 150019 w 219075"/>
                <a:gd name="connsiteY14" fmla="*/ 457200 h 457200"/>
                <a:gd name="connsiteX15" fmla="*/ 161925 w 219075"/>
                <a:gd name="connsiteY15" fmla="*/ 438150 h 457200"/>
                <a:gd name="connsiteX16" fmla="*/ 166688 w 219075"/>
                <a:gd name="connsiteY16" fmla="*/ 397669 h 457200"/>
                <a:gd name="connsiteX17" fmla="*/ 171450 w 219075"/>
                <a:gd name="connsiteY17" fmla="*/ 383381 h 457200"/>
                <a:gd name="connsiteX18" fmla="*/ 183356 w 219075"/>
                <a:gd name="connsiteY18" fmla="*/ 354806 h 457200"/>
                <a:gd name="connsiteX19" fmla="*/ 185738 w 219075"/>
                <a:gd name="connsiteY19" fmla="*/ 311944 h 457200"/>
                <a:gd name="connsiteX20" fmla="*/ 202406 w 219075"/>
                <a:gd name="connsiteY20" fmla="*/ 283369 h 457200"/>
                <a:gd name="connsiteX21" fmla="*/ 200025 w 219075"/>
                <a:gd name="connsiteY21" fmla="*/ 264319 h 457200"/>
                <a:gd name="connsiteX22" fmla="*/ 216694 w 219075"/>
                <a:gd name="connsiteY22" fmla="*/ 207169 h 457200"/>
                <a:gd name="connsiteX23" fmla="*/ 219075 w 219075"/>
                <a:gd name="connsiteY23" fmla="*/ 169069 h 457200"/>
                <a:gd name="connsiteX24" fmla="*/ 192881 w 219075"/>
                <a:gd name="connsiteY24" fmla="*/ 145256 h 457200"/>
                <a:gd name="connsiteX25" fmla="*/ 171450 w 219075"/>
                <a:gd name="connsiteY25" fmla="*/ 147638 h 457200"/>
                <a:gd name="connsiteX26" fmla="*/ 166688 w 219075"/>
                <a:gd name="connsiteY26" fmla="*/ 138113 h 457200"/>
                <a:gd name="connsiteX27" fmla="*/ 159544 w 219075"/>
                <a:gd name="connsiteY27" fmla="*/ 119063 h 457200"/>
                <a:gd name="connsiteX28" fmla="*/ 171450 w 219075"/>
                <a:gd name="connsiteY28" fmla="*/ 73819 h 457200"/>
                <a:gd name="connsiteX29" fmla="*/ 192881 w 219075"/>
                <a:gd name="connsiteY29" fmla="*/ 38100 h 457200"/>
                <a:gd name="connsiteX30" fmla="*/ 164306 w 219075"/>
                <a:gd name="connsiteY30" fmla="*/ 16669 h 457200"/>
                <a:gd name="connsiteX31" fmla="*/ 111919 w 219075"/>
                <a:gd name="connsiteY31" fmla="*/ 21431 h 457200"/>
                <a:gd name="connsiteX32" fmla="*/ 21431 w 219075"/>
                <a:gd name="connsiteY32" fmla="*/ 0 h 457200"/>
                <a:gd name="connsiteX0" fmla="*/ 11906 w 219075"/>
                <a:gd name="connsiteY0" fmla="*/ 0 h 457200"/>
                <a:gd name="connsiteX1" fmla="*/ 7144 w 219075"/>
                <a:gd name="connsiteY1" fmla="*/ 64294 h 457200"/>
                <a:gd name="connsiteX2" fmla="*/ 0 w 219075"/>
                <a:gd name="connsiteY2" fmla="*/ 97631 h 457200"/>
                <a:gd name="connsiteX3" fmla="*/ 14288 w 219075"/>
                <a:gd name="connsiteY3" fmla="*/ 138113 h 457200"/>
                <a:gd name="connsiteX4" fmla="*/ 16669 w 219075"/>
                <a:gd name="connsiteY4" fmla="*/ 176213 h 457200"/>
                <a:gd name="connsiteX5" fmla="*/ 45244 w 219075"/>
                <a:gd name="connsiteY5" fmla="*/ 185738 h 457200"/>
                <a:gd name="connsiteX6" fmla="*/ 88106 w 219075"/>
                <a:gd name="connsiteY6" fmla="*/ 200025 h 457200"/>
                <a:gd name="connsiteX7" fmla="*/ 90488 w 219075"/>
                <a:gd name="connsiteY7" fmla="*/ 242888 h 457200"/>
                <a:gd name="connsiteX8" fmla="*/ 52388 w 219075"/>
                <a:gd name="connsiteY8" fmla="*/ 302419 h 457200"/>
                <a:gd name="connsiteX9" fmla="*/ 30956 w 219075"/>
                <a:gd name="connsiteY9" fmla="*/ 350044 h 457200"/>
                <a:gd name="connsiteX10" fmla="*/ 42863 w 219075"/>
                <a:gd name="connsiteY10" fmla="*/ 383381 h 457200"/>
                <a:gd name="connsiteX11" fmla="*/ 83344 w 219075"/>
                <a:gd name="connsiteY11" fmla="*/ 400050 h 457200"/>
                <a:gd name="connsiteX12" fmla="*/ 126206 w 219075"/>
                <a:gd name="connsiteY12" fmla="*/ 407194 h 457200"/>
                <a:gd name="connsiteX13" fmla="*/ 130969 w 219075"/>
                <a:gd name="connsiteY13" fmla="*/ 435769 h 457200"/>
                <a:gd name="connsiteX14" fmla="*/ 150019 w 219075"/>
                <a:gd name="connsiteY14" fmla="*/ 457200 h 457200"/>
                <a:gd name="connsiteX15" fmla="*/ 161925 w 219075"/>
                <a:gd name="connsiteY15" fmla="*/ 438150 h 457200"/>
                <a:gd name="connsiteX16" fmla="*/ 166688 w 219075"/>
                <a:gd name="connsiteY16" fmla="*/ 397669 h 457200"/>
                <a:gd name="connsiteX17" fmla="*/ 171450 w 219075"/>
                <a:gd name="connsiteY17" fmla="*/ 383381 h 457200"/>
                <a:gd name="connsiteX18" fmla="*/ 183356 w 219075"/>
                <a:gd name="connsiteY18" fmla="*/ 354806 h 457200"/>
                <a:gd name="connsiteX19" fmla="*/ 185738 w 219075"/>
                <a:gd name="connsiteY19" fmla="*/ 311944 h 457200"/>
                <a:gd name="connsiteX20" fmla="*/ 202406 w 219075"/>
                <a:gd name="connsiteY20" fmla="*/ 283369 h 457200"/>
                <a:gd name="connsiteX21" fmla="*/ 200025 w 219075"/>
                <a:gd name="connsiteY21" fmla="*/ 264319 h 457200"/>
                <a:gd name="connsiteX22" fmla="*/ 216694 w 219075"/>
                <a:gd name="connsiteY22" fmla="*/ 207169 h 457200"/>
                <a:gd name="connsiteX23" fmla="*/ 219075 w 219075"/>
                <a:gd name="connsiteY23" fmla="*/ 169069 h 457200"/>
                <a:gd name="connsiteX24" fmla="*/ 192881 w 219075"/>
                <a:gd name="connsiteY24" fmla="*/ 145256 h 457200"/>
                <a:gd name="connsiteX25" fmla="*/ 171450 w 219075"/>
                <a:gd name="connsiteY25" fmla="*/ 147638 h 457200"/>
                <a:gd name="connsiteX26" fmla="*/ 166688 w 219075"/>
                <a:gd name="connsiteY26" fmla="*/ 138113 h 457200"/>
                <a:gd name="connsiteX27" fmla="*/ 159544 w 219075"/>
                <a:gd name="connsiteY27" fmla="*/ 119063 h 457200"/>
                <a:gd name="connsiteX28" fmla="*/ 171450 w 219075"/>
                <a:gd name="connsiteY28" fmla="*/ 73819 h 457200"/>
                <a:gd name="connsiteX29" fmla="*/ 192881 w 219075"/>
                <a:gd name="connsiteY29" fmla="*/ 38100 h 457200"/>
                <a:gd name="connsiteX30" fmla="*/ 164306 w 219075"/>
                <a:gd name="connsiteY30" fmla="*/ 16669 h 457200"/>
                <a:gd name="connsiteX31" fmla="*/ 111919 w 219075"/>
                <a:gd name="connsiteY31" fmla="*/ 21431 h 457200"/>
                <a:gd name="connsiteX32" fmla="*/ 11906 w 219075"/>
                <a:gd name="connsiteY32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9075" h="457200">
                  <a:moveTo>
                    <a:pt x="11906" y="0"/>
                  </a:moveTo>
                  <a:lnTo>
                    <a:pt x="7144" y="64294"/>
                  </a:lnTo>
                  <a:lnTo>
                    <a:pt x="0" y="97631"/>
                  </a:lnTo>
                  <a:lnTo>
                    <a:pt x="14288" y="138113"/>
                  </a:lnTo>
                  <a:lnTo>
                    <a:pt x="16669" y="176213"/>
                  </a:lnTo>
                  <a:lnTo>
                    <a:pt x="45244" y="185738"/>
                  </a:lnTo>
                  <a:lnTo>
                    <a:pt x="88106" y="200025"/>
                  </a:lnTo>
                  <a:lnTo>
                    <a:pt x="90488" y="242888"/>
                  </a:lnTo>
                  <a:lnTo>
                    <a:pt x="52388" y="302419"/>
                  </a:lnTo>
                  <a:lnTo>
                    <a:pt x="30956" y="350044"/>
                  </a:lnTo>
                  <a:lnTo>
                    <a:pt x="42863" y="383381"/>
                  </a:lnTo>
                  <a:lnTo>
                    <a:pt x="83344" y="400050"/>
                  </a:lnTo>
                  <a:lnTo>
                    <a:pt x="126206" y="407194"/>
                  </a:lnTo>
                  <a:lnTo>
                    <a:pt x="130969" y="435769"/>
                  </a:lnTo>
                  <a:lnTo>
                    <a:pt x="150019" y="457200"/>
                  </a:lnTo>
                  <a:lnTo>
                    <a:pt x="161925" y="438150"/>
                  </a:lnTo>
                  <a:lnTo>
                    <a:pt x="166688" y="397669"/>
                  </a:lnTo>
                  <a:lnTo>
                    <a:pt x="171450" y="383381"/>
                  </a:lnTo>
                  <a:lnTo>
                    <a:pt x="183356" y="354806"/>
                  </a:lnTo>
                  <a:lnTo>
                    <a:pt x="185738" y="311944"/>
                  </a:lnTo>
                  <a:lnTo>
                    <a:pt x="202406" y="283369"/>
                  </a:lnTo>
                  <a:lnTo>
                    <a:pt x="200025" y="264319"/>
                  </a:lnTo>
                  <a:lnTo>
                    <a:pt x="216694" y="207169"/>
                  </a:lnTo>
                  <a:lnTo>
                    <a:pt x="219075" y="169069"/>
                  </a:lnTo>
                  <a:lnTo>
                    <a:pt x="192881" y="145256"/>
                  </a:lnTo>
                  <a:lnTo>
                    <a:pt x="171450" y="147638"/>
                  </a:lnTo>
                  <a:lnTo>
                    <a:pt x="166688" y="138113"/>
                  </a:lnTo>
                  <a:lnTo>
                    <a:pt x="159544" y="119063"/>
                  </a:lnTo>
                  <a:lnTo>
                    <a:pt x="171450" y="73819"/>
                  </a:lnTo>
                  <a:lnTo>
                    <a:pt x="192881" y="38100"/>
                  </a:lnTo>
                  <a:lnTo>
                    <a:pt x="164306" y="16669"/>
                  </a:lnTo>
                  <a:lnTo>
                    <a:pt x="111919" y="21431"/>
                  </a:lnTo>
                  <a:lnTo>
                    <a:pt x="11906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30" name="Freeform 129"/>
            <p:cNvSpPr/>
            <p:nvPr/>
          </p:nvSpPr>
          <p:spPr>
            <a:xfrm>
              <a:off x="4982302" y="2850664"/>
              <a:ext cx="97002" cy="148029"/>
            </a:xfrm>
            <a:custGeom>
              <a:avLst/>
              <a:gdLst>
                <a:gd name="connsiteX0" fmla="*/ 0 w 154781"/>
                <a:gd name="connsiteY0" fmla="*/ 0 h 235744"/>
                <a:gd name="connsiteX1" fmla="*/ 30956 w 154781"/>
                <a:gd name="connsiteY1" fmla="*/ 66675 h 235744"/>
                <a:gd name="connsiteX2" fmla="*/ 28575 w 154781"/>
                <a:gd name="connsiteY2" fmla="*/ 85725 h 235744"/>
                <a:gd name="connsiteX3" fmla="*/ 52387 w 154781"/>
                <a:gd name="connsiteY3" fmla="*/ 126206 h 235744"/>
                <a:gd name="connsiteX4" fmla="*/ 47625 w 154781"/>
                <a:gd name="connsiteY4" fmla="*/ 142875 h 235744"/>
                <a:gd name="connsiteX5" fmla="*/ 66675 w 154781"/>
                <a:gd name="connsiteY5" fmla="*/ 183356 h 235744"/>
                <a:gd name="connsiteX6" fmla="*/ 69056 w 154781"/>
                <a:gd name="connsiteY6" fmla="*/ 207169 h 235744"/>
                <a:gd name="connsiteX7" fmla="*/ 78581 w 154781"/>
                <a:gd name="connsiteY7" fmla="*/ 235744 h 235744"/>
                <a:gd name="connsiteX8" fmla="*/ 92869 w 154781"/>
                <a:gd name="connsiteY8" fmla="*/ 221456 h 235744"/>
                <a:gd name="connsiteX9" fmla="*/ 114300 w 154781"/>
                <a:gd name="connsiteY9" fmla="*/ 214312 h 235744"/>
                <a:gd name="connsiteX10" fmla="*/ 114300 w 154781"/>
                <a:gd name="connsiteY10" fmla="*/ 214312 h 235744"/>
                <a:gd name="connsiteX11" fmla="*/ 152400 w 154781"/>
                <a:gd name="connsiteY11" fmla="*/ 195262 h 235744"/>
                <a:gd name="connsiteX12" fmla="*/ 154781 w 154781"/>
                <a:gd name="connsiteY12" fmla="*/ 159544 h 235744"/>
                <a:gd name="connsiteX13" fmla="*/ 147637 w 154781"/>
                <a:gd name="connsiteY13" fmla="*/ 135731 h 235744"/>
                <a:gd name="connsiteX14" fmla="*/ 128587 w 154781"/>
                <a:gd name="connsiteY14" fmla="*/ 119062 h 235744"/>
                <a:gd name="connsiteX15" fmla="*/ 121444 w 154781"/>
                <a:gd name="connsiteY15" fmla="*/ 126206 h 235744"/>
                <a:gd name="connsiteX16" fmla="*/ 102394 w 154781"/>
                <a:gd name="connsiteY16" fmla="*/ 116681 h 235744"/>
                <a:gd name="connsiteX17" fmla="*/ 83344 w 154781"/>
                <a:gd name="connsiteY17" fmla="*/ 95250 h 235744"/>
                <a:gd name="connsiteX18" fmla="*/ 71437 w 154781"/>
                <a:gd name="connsiteY18" fmla="*/ 76200 h 235744"/>
                <a:gd name="connsiteX19" fmla="*/ 45244 w 154781"/>
                <a:gd name="connsiteY19" fmla="*/ 33337 h 235744"/>
                <a:gd name="connsiteX20" fmla="*/ 0 w 154781"/>
                <a:gd name="connsiteY20" fmla="*/ 0 h 235744"/>
                <a:gd name="connsiteX0" fmla="*/ 0 w 154781"/>
                <a:gd name="connsiteY0" fmla="*/ 14288 h 250032"/>
                <a:gd name="connsiteX1" fmla="*/ 30956 w 154781"/>
                <a:gd name="connsiteY1" fmla="*/ 80963 h 250032"/>
                <a:gd name="connsiteX2" fmla="*/ 28575 w 154781"/>
                <a:gd name="connsiteY2" fmla="*/ 100013 h 250032"/>
                <a:gd name="connsiteX3" fmla="*/ 52387 w 154781"/>
                <a:gd name="connsiteY3" fmla="*/ 140494 h 250032"/>
                <a:gd name="connsiteX4" fmla="*/ 47625 w 154781"/>
                <a:gd name="connsiteY4" fmla="*/ 157163 h 250032"/>
                <a:gd name="connsiteX5" fmla="*/ 66675 w 154781"/>
                <a:gd name="connsiteY5" fmla="*/ 197644 h 250032"/>
                <a:gd name="connsiteX6" fmla="*/ 69056 w 154781"/>
                <a:gd name="connsiteY6" fmla="*/ 221457 h 250032"/>
                <a:gd name="connsiteX7" fmla="*/ 78581 w 154781"/>
                <a:gd name="connsiteY7" fmla="*/ 250032 h 250032"/>
                <a:gd name="connsiteX8" fmla="*/ 92869 w 154781"/>
                <a:gd name="connsiteY8" fmla="*/ 235744 h 250032"/>
                <a:gd name="connsiteX9" fmla="*/ 114300 w 154781"/>
                <a:gd name="connsiteY9" fmla="*/ 228600 h 250032"/>
                <a:gd name="connsiteX10" fmla="*/ 114300 w 154781"/>
                <a:gd name="connsiteY10" fmla="*/ 228600 h 250032"/>
                <a:gd name="connsiteX11" fmla="*/ 152400 w 154781"/>
                <a:gd name="connsiteY11" fmla="*/ 209550 h 250032"/>
                <a:gd name="connsiteX12" fmla="*/ 154781 w 154781"/>
                <a:gd name="connsiteY12" fmla="*/ 173832 h 250032"/>
                <a:gd name="connsiteX13" fmla="*/ 147637 w 154781"/>
                <a:gd name="connsiteY13" fmla="*/ 150019 h 250032"/>
                <a:gd name="connsiteX14" fmla="*/ 128587 w 154781"/>
                <a:gd name="connsiteY14" fmla="*/ 133350 h 250032"/>
                <a:gd name="connsiteX15" fmla="*/ 121444 w 154781"/>
                <a:gd name="connsiteY15" fmla="*/ 140494 h 250032"/>
                <a:gd name="connsiteX16" fmla="*/ 102394 w 154781"/>
                <a:gd name="connsiteY16" fmla="*/ 130969 h 250032"/>
                <a:gd name="connsiteX17" fmla="*/ 83344 w 154781"/>
                <a:gd name="connsiteY17" fmla="*/ 109538 h 250032"/>
                <a:gd name="connsiteX18" fmla="*/ 71437 w 154781"/>
                <a:gd name="connsiteY18" fmla="*/ 90488 h 250032"/>
                <a:gd name="connsiteX19" fmla="*/ 30957 w 154781"/>
                <a:gd name="connsiteY19" fmla="*/ 0 h 250032"/>
                <a:gd name="connsiteX20" fmla="*/ 0 w 154781"/>
                <a:gd name="connsiteY20" fmla="*/ 14288 h 250032"/>
                <a:gd name="connsiteX0" fmla="*/ 0 w 154793"/>
                <a:gd name="connsiteY0" fmla="*/ 14288 h 250032"/>
                <a:gd name="connsiteX1" fmla="*/ 30956 w 154793"/>
                <a:gd name="connsiteY1" fmla="*/ 80963 h 250032"/>
                <a:gd name="connsiteX2" fmla="*/ 28575 w 154793"/>
                <a:gd name="connsiteY2" fmla="*/ 100013 h 250032"/>
                <a:gd name="connsiteX3" fmla="*/ 52387 w 154793"/>
                <a:gd name="connsiteY3" fmla="*/ 140494 h 250032"/>
                <a:gd name="connsiteX4" fmla="*/ 47625 w 154793"/>
                <a:gd name="connsiteY4" fmla="*/ 157163 h 250032"/>
                <a:gd name="connsiteX5" fmla="*/ 66675 w 154793"/>
                <a:gd name="connsiteY5" fmla="*/ 197644 h 250032"/>
                <a:gd name="connsiteX6" fmla="*/ 69056 w 154793"/>
                <a:gd name="connsiteY6" fmla="*/ 221457 h 250032"/>
                <a:gd name="connsiteX7" fmla="*/ 78581 w 154793"/>
                <a:gd name="connsiteY7" fmla="*/ 250032 h 250032"/>
                <a:gd name="connsiteX8" fmla="*/ 92869 w 154793"/>
                <a:gd name="connsiteY8" fmla="*/ 235744 h 250032"/>
                <a:gd name="connsiteX9" fmla="*/ 114300 w 154793"/>
                <a:gd name="connsiteY9" fmla="*/ 228600 h 250032"/>
                <a:gd name="connsiteX10" fmla="*/ 114300 w 154793"/>
                <a:gd name="connsiteY10" fmla="*/ 228600 h 250032"/>
                <a:gd name="connsiteX11" fmla="*/ 154793 w 154793"/>
                <a:gd name="connsiteY11" fmla="*/ 230914 h 250032"/>
                <a:gd name="connsiteX12" fmla="*/ 154781 w 154793"/>
                <a:gd name="connsiteY12" fmla="*/ 173832 h 250032"/>
                <a:gd name="connsiteX13" fmla="*/ 147637 w 154793"/>
                <a:gd name="connsiteY13" fmla="*/ 150019 h 250032"/>
                <a:gd name="connsiteX14" fmla="*/ 128587 w 154793"/>
                <a:gd name="connsiteY14" fmla="*/ 133350 h 250032"/>
                <a:gd name="connsiteX15" fmla="*/ 121444 w 154793"/>
                <a:gd name="connsiteY15" fmla="*/ 140494 h 250032"/>
                <a:gd name="connsiteX16" fmla="*/ 102394 w 154793"/>
                <a:gd name="connsiteY16" fmla="*/ 130969 h 250032"/>
                <a:gd name="connsiteX17" fmla="*/ 83344 w 154793"/>
                <a:gd name="connsiteY17" fmla="*/ 109538 h 250032"/>
                <a:gd name="connsiteX18" fmla="*/ 71437 w 154793"/>
                <a:gd name="connsiteY18" fmla="*/ 90488 h 250032"/>
                <a:gd name="connsiteX19" fmla="*/ 30957 w 154793"/>
                <a:gd name="connsiteY19" fmla="*/ 0 h 250032"/>
                <a:gd name="connsiteX20" fmla="*/ 0 w 154793"/>
                <a:gd name="connsiteY20" fmla="*/ 14288 h 250032"/>
                <a:gd name="connsiteX0" fmla="*/ 0 w 154793"/>
                <a:gd name="connsiteY0" fmla="*/ 14288 h 250032"/>
                <a:gd name="connsiteX1" fmla="*/ 30956 w 154793"/>
                <a:gd name="connsiteY1" fmla="*/ 80963 h 250032"/>
                <a:gd name="connsiteX2" fmla="*/ 28575 w 154793"/>
                <a:gd name="connsiteY2" fmla="*/ 100013 h 250032"/>
                <a:gd name="connsiteX3" fmla="*/ 52387 w 154793"/>
                <a:gd name="connsiteY3" fmla="*/ 140494 h 250032"/>
                <a:gd name="connsiteX4" fmla="*/ 47625 w 154793"/>
                <a:gd name="connsiteY4" fmla="*/ 157163 h 250032"/>
                <a:gd name="connsiteX5" fmla="*/ 66675 w 154793"/>
                <a:gd name="connsiteY5" fmla="*/ 197644 h 250032"/>
                <a:gd name="connsiteX6" fmla="*/ 69056 w 154793"/>
                <a:gd name="connsiteY6" fmla="*/ 221457 h 250032"/>
                <a:gd name="connsiteX7" fmla="*/ 78581 w 154793"/>
                <a:gd name="connsiteY7" fmla="*/ 250032 h 250032"/>
                <a:gd name="connsiteX8" fmla="*/ 92869 w 154793"/>
                <a:gd name="connsiteY8" fmla="*/ 235744 h 250032"/>
                <a:gd name="connsiteX9" fmla="*/ 114300 w 154793"/>
                <a:gd name="connsiteY9" fmla="*/ 228600 h 250032"/>
                <a:gd name="connsiteX10" fmla="*/ 116694 w 154793"/>
                <a:gd name="connsiteY10" fmla="*/ 242843 h 250032"/>
                <a:gd name="connsiteX11" fmla="*/ 154793 w 154793"/>
                <a:gd name="connsiteY11" fmla="*/ 230914 h 250032"/>
                <a:gd name="connsiteX12" fmla="*/ 154781 w 154793"/>
                <a:gd name="connsiteY12" fmla="*/ 173832 h 250032"/>
                <a:gd name="connsiteX13" fmla="*/ 147637 w 154793"/>
                <a:gd name="connsiteY13" fmla="*/ 150019 h 250032"/>
                <a:gd name="connsiteX14" fmla="*/ 128587 w 154793"/>
                <a:gd name="connsiteY14" fmla="*/ 133350 h 250032"/>
                <a:gd name="connsiteX15" fmla="*/ 121444 w 154793"/>
                <a:gd name="connsiteY15" fmla="*/ 140494 h 250032"/>
                <a:gd name="connsiteX16" fmla="*/ 102394 w 154793"/>
                <a:gd name="connsiteY16" fmla="*/ 130969 h 250032"/>
                <a:gd name="connsiteX17" fmla="*/ 83344 w 154793"/>
                <a:gd name="connsiteY17" fmla="*/ 109538 h 250032"/>
                <a:gd name="connsiteX18" fmla="*/ 71437 w 154793"/>
                <a:gd name="connsiteY18" fmla="*/ 90488 h 250032"/>
                <a:gd name="connsiteX19" fmla="*/ 30957 w 154793"/>
                <a:gd name="connsiteY19" fmla="*/ 0 h 250032"/>
                <a:gd name="connsiteX20" fmla="*/ 0 w 154793"/>
                <a:gd name="connsiteY20" fmla="*/ 14288 h 25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4793" h="250032">
                  <a:moveTo>
                    <a:pt x="0" y="14288"/>
                  </a:moveTo>
                  <a:lnTo>
                    <a:pt x="30956" y="80963"/>
                  </a:lnTo>
                  <a:lnTo>
                    <a:pt x="28575" y="100013"/>
                  </a:lnTo>
                  <a:lnTo>
                    <a:pt x="52387" y="140494"/>
                  </a:lnTo>
                  <a:lnTo>
                    <a:pt x="47625" y="157163"/>
                  </a:lnTo>
                  <a:lnTo>
                    <a:pt x="66675" y="197644"/>
                  </a:lnTo>
                  <a:lnTo>
                    <a:pt x="69056" y="221457"/>
                  </a:lnTo>
                  <a:lnTo>
                    <a:pt x="78581" y="250032"/>
                  </a:lnTo>
                  <a:lnTo>
                    <a:pt x="92869" y="235744"/>
                  </a:lnTo>
                  <a:lnTo>
                    <a:pt x="114300" y="228600"/>
                  </a:lnTo>
                  <a:lnTo>
                    <a:pt x="116694" y="242843"/>
                  </a:lnTo>
                  <a:lnTo>
                    <a:pt x="154793" y="230914"/>
                  </a:lnTo>
                  <a:cubicBezTo>
                    <a:pt x="154789" y="211887"/>
                    <a:pt x="154785" y="192859"/>
                    <a:pt x="154781" y="173832"/>
                  </a:cubicBezTo>
                  <a:lnTo>
                    <a:pt x="147637" y="150019"/>
                  </a:lnTo>
                  <a:lnTo>
                    <a:pt x="128587" y="133350"/>
                  </a:lnTo>
                  <a:lnTo>
                    <a:pt x="121444" y="140494"/>
                  </a:lnTo>
                  <a:lnTo>
                    <a:pt x="102394" y="130969"/>
                  </a:lnTo>
                  <a:lnTo>
                    <a:pt x="83344" y="109538"/>
                  </a:lnTo>
                  <a:lnTo>
                    <a:pt x="71437" y="90488"/>
                  </a:lnTo>
                  <a:lnTo>
                    <a:pt x="30957" y="0"/>
                  </a:lnTo>
                  <a:lnTo>
                    <a:pt x="0" y="14288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31" name="Freeform 130"/>
            <p:cNvSpPr/>
            <p:nvPr/>
          </p:nvSpPr>
          <p:spPr>
            <a:xfrm>
              <a:off x="4401291" y="2876896"/>
              <a:ext cx="419008" cy="429097"/>
            </a:xfrm>
            <a:custGeom>
              <a:avLst/>
              <a:gdLst>
                <a:gd name="connsiteX0" fmla="*/ 190500 w 664369"/>
                <a:gd name="connsiteY0" fmla="*/ 0 h 704850"/>
                <a:gd name="connsiteX1" fmla="*/ 195263 w 664369"/>
                <a:gd name="connsiteY1" fmla="*/ 73819 h 704850"/>
                <a:gd name="connsiteX2" fmla="*/ 195263 w 664369"/>
                <a:gd name="connsiteY2" fmla="*/ 178594 h 704850"/>
                <a:gd name="connsiteX3" fmla="*/ 147638 w 664369"/>
                <a:gd name="connsiteY3" fmla="*/ 264319 h 704850"/>
                <a:gd name="connsiteX4" fmla="*/ 111919 w 664369"/>
                <a:gd name="connsiteY4" fmla="*/ 285750 h 704850"/>
                <a:gd name="connsiteX5" fmla="*/ 92869 w 664369"/>
                <a:gd name="connsiteY5" fmla="*/ 297657 h 704850"/>
                <a:gd name="connsiteX6" fmla="*/ 90488 w 664369"/>
                <a:gd name="connsiteY6" fmla="*/ 326232 h 704850"/>
                <a:gd name="connsiteX7" fmla="*/ 102394 w 664369"/>
                <a:gd name="connsiteY7" fmla="*/ 330994 h 704850"/>
                <a:gd name="connsiteX8" fmla="*/ 100013 w 664369"/>
                <a:gd name="connsiteY8" fmla="*/ 354807 h 704850"/>
                <a:gd name="connsiteX9" fmla="*/ 104775 w 664369"/>
                <a:gd name="connsiteY9" fmla="*/ 369094 h 704850"/>
                <a:gd name="connsiteX10" fmla="*/ 83344 w 664369"/>
                <a:gd name="connsiteY10" fmla="*/ 388144 h 704850"/>
                <a:gd name="connsiteX11" fmla="*/ 80963 w 664369"/>
                <a:gd name="connsiteY11" fmla="*/ 392907 h 704850"/>
                <a:gd name="connsiteX12" fmla="*/ 69056 w 664369"/>
                <a:gd name="connsiteY12" fmla="*/ 369094 h 704850"/>
                <a:gd name="connsiteX13" fmla="*/ 45244 w 664369"/>
                <a:gd name="connsiteY13" fmla="*/ 381000 h 704850"/>
                <a:gd name="connsiteX14" fmla="*/ 45244 w 664369"/>
                <a:gd name="connsiteY14" fmla="*/ 421482 h 704850"/>
                <a:gd name="connsiteX15" fmla="*/ 52388 w 664369"/>
                <a:gd name="connsiteY15" fmla="*/ 438150 h 704850"/>
                <a:gd name="connsiteX16" fmla="*/ 0 w 664369"/>
                <a:gd name="connsiteY16" fmla="*/ 502444 h 704850"/>
                <a:gd name="connsiteX17" fmla="*/ 33338 w 664369"/>
                <a:gd name="connsiteY17" fmla="*/ 607219 h 704850"/>
                <a:gd name="connsiteX18" fmla="*/ 88106 w 664369"/>
                <a:gd name="connsiteY18" fmla="*/ 642938 h 704850"/>
                <a:gd name="connsiteX19" fmla="*/ 104775 w 664369"/>
                <a:gd name="connsiteY19" fmla="*/ 638175 h 704850"/>
                <a:gd name="connsiteX20" fmla="*/ 152400 w 664369"/>
                <a:gd name="connsiteY20" fmla="*/ 685800 h 704850"/>
                <a:gd name="connsiteX21" fmla="*/ 169069 w 664369"/>
                <a:gd name="connsiteY21" fmla="*/ 685800 h 704850"/>
                <a:gd name="connsiteX22" fmla="*/ 214313 w 664369"/>
                <a:gd name="connsiteY22" fmla="*/ 704850 h 704850"/>
                <a:gd name="connsiteX23" fmla="*/ 230981 w 664369"/>
                <a:gd name="connsiteY23" fmla="*/ 666750 h 704850"/>
                <a:gd name="connsiteX24" fmla="*/ 264319 w 664369"/>
                <a:gd name="connsiteY24" fmla="*/ 647700 h 704850"/>
                <a:gd name="connsiteX25" fmla="*/ 285750 w 664369"/>
                <a:gd name="connsiteY25" fmla="*/ 645319 h 704850"/>
                <a:gd name="connsiteX26" fmla="*/ 352425 w 664369"/>
                <a:gd name="connsiteY26" fmla="*/ 604838 h 704850"/>
                <a:gd name="connsiteX27" fmla="*/ 369094 w 664369"/>
                <a:gd name="connsiteY27" fmla="*/ 597694 h 704850"/>
                <a:gd name="connsiteX28" fmla="*/ 366713 w 664369"/>
                <a:gd name="connsiteY28" fmla="*/ 559594 h 704850"/>
                <a:gd name="connsiteX29" fmla="*/ 369094 w 664369"/>
                <a:gd name="connsiteY29" fmla="*/ 528638 h 704850"/>
                <a:gd name="connsiteX30" fmla="*/ 373856 w 664369"/>
                <a:gd name="connsiteY30" fmla="*/ 497682 h 704850"/>
                <a:gd name="connsiteX31" fmla="*/ 381000 w 664369"/>
                <a:gd name="connsiteY31" fmla="*/ 473869 h 704850"/>
                <a:gd name="connsiteX32" fmla="*/ 407194 w 664369"/>
                <a:gd name="connsiteY32" fmla="*/ 435769 h 704850"/>
                <a:gd name="connsiteX33" fmla="*/ 428625 w 664369"/>
                <a:gd name="connsiteY33" fmla="*/ 385763 h 704850"/>
                <a:gd name="connsiteX34" fmla="*/ 428625 w 664369"/>
                <a:gd name="connsiteY34" fmla="*/ 385763 h 704850"/>
                <a:gd name="connsiteX35" fmla="*/ 476250 w 664369"/>
                <a:gd name="connsiteY35" fmla="*/ 354807 h 704850"/>
                <a:gd name="connsiteX36" fmla="*/ 502444 w 664369"/>
                <a:gd name="connsiteY36" fmla="*/ 330994 h 704850"/>
                <a:gd name="connsiteX37" fmla="*/ 507206 w 664369"/>
                <a:gd name="connsiteY37" fmla="*/ 292894 h 704850"/>
                <a:gd name="connsiteX38" fmla="*/ 573881 w 664369"/>
                <a:gd name="connsiteY38" fmla="*/ 188119 h 704850"/>
                <a:gd name="connsiteX39" fmla="*/ 571500 w 664369"/>
                <a:gd name="connsiteY39" fmla="*/ 169069 h 704850"/>
                <a:gd name="connsiteX40" fmla="*/ 573881 w 664369"/>
                <a:gd name="connsiteY40" fmla="*/ 159544 h 704850"/>
                <a:gd name="connsiteX41" fmla="*/ 614363 w 664369"/>
                <a:gd name="connsiteY41" fmla="*/ 150019 h 704850"/>
                <a:gd name="connsiteX42" fmla="*/ 628650 w 664369"/>
                <a:gd name="connsiteY42" fmla="*/ 159544 h 704850"/>
                <a:gd name="connsiteX43" fmla="*/ 647700 w 664369"/>
                <a:gd name="connsiteY43" fmla="*/ 161925 h 704850"/>
                <a:gd name="connsiteX44" fmla="*/ 659606 w 664369"/>
                <a:gd name="connsiteY44" fmla="*/ 133350 h 704850"/>
                <a:gd name="connsiteX45" fmla="*/ 664369 w 664369"/>
                <a:gd name="connsiteY45" fmla="*/ 119063 h 704850"/>
                <a:gd name="connsiteX46" fmla="*/ 645319 w 664369"/>
                <a:gd name="connsiteY46" fmla="*/ 104775 h 704850"/>
                <a:gd name="connsiteX47" fmla="*/ 642938 w 664369"/>
                <a:gd name="connsiteY47" fmla="*/ 92869 h 704850"/>
                <a:gd name="connsiteX48" fmla="*/ 621506 w 664369"/>
                <a:gd name="connsiteY48" fmla="*/ 83344 h 704850"/>
                <a:gd name="connsiteX49" fmla="*/ 590550 w 664369"/>
                <a:gd name="connsiteY49" fmla="*/ 88107 h 704850"/>
                <a:gd name="connsiteX50" fmla="*/ 573881 w 664369"/>
                <a:gd name="connsiteY50" fmla="*/ 104775 h 704850"/>
                <a:gd name="connsiteX51" fmla="*/ 564356 w 664369"/>
                <a:gd name="connsiteY51" fmla="*/ 116682 h 704850"/>
                <a:gd name="connsiteX52" fmla="*/ 547688 w 664369"/>
                <a:gd name="connsiteY52" fmla="*/ 126207 h 704850"/>
                <a:gd name="connsiteX53" fmla="*/ 528638 w 664369"/>
                <a:gd name="connsiteY53" fmla="*/ 133350 h 704850"/>
                <a:gd name="connsiteX54" fmla="*/ 516731 w 664369"/>
                <a:gd name="connsiteY54" fmla="*/ 128588 h 704850"/>
                <a:gd name="connsiteX55" fmla="*/ 502444 w 664369"/>
                <a:gd name="connsiteY55" fmla="*/ 128588 h 704850"/>
                <a:gd name="connsiteX56" fmla="*/ 495300 w 664369"/>
                <a:gd name="connsiteY56" fmla="*/ 121444 h 704850"/>
                <a:gd name="connsiteX57" fmla="*/ 478631 w 664369"/>
                <a:gd name="connsiteY57" fmla="*/ 164307 h 704850"/>
                <a:gd name="connsiteX58" fmla="*/ 469106 w 664369"/>
                <a:gd name="connsiteY58" fmla="*/ 173832 h 704850"/>
                <a:gd name="connsiteX59" fmla="*/ 459581 w 664369"/>
                <a:gd name="connsiteY59" fmla="*/ 173832 h 704850"/>
                <a:gd name="connsiteX60" fmla="*/ 459581 w 664369"/>
                <a:gd name="connsiteY60" fmla="*/ 173832 h 704850"/>
                <a:gd name="connsiteX61" fmla="*/ 445294 w 664369"/>
                <a:gd name="connsiteY61" fmla="*/ 188119 h 704850"/>
                <a:gd name="connsiteX62" fmla="*/ 431006 w 664369"/>
                <a:gd name="connsiteY62" fmla="*/ 200025 h 704850"/>
                <a:gd name="connsiteX63" fmla="*/ 421481 w 664369"/>
                <a:gd name="connsiteY63" fmla="*/ 207169 h 704850"/>
                <a:gd name="connsiteX64" fmla="*/ 411956 w 664369"/>
                <a:gd name="connsiteY64" fmla="*/ 185738 h 704850"/>
                <a:gd name="connsiteX65" fmla="*/ 397669 w 664369"/>
                <a:gd name="connsiteY65" fmla="*/ 164307 h 704850"/>
                <a:gd name="connsiteX66" fmla="*/ 385763 w 664369"/>
                <a:gd name="connsiteY66" fmla="*/ 145257 h 704850"/>
                <a:gd name="connsiteX67" fmla="*/ 247650 w 664369"/>
                <a:gd name="connsiteY67" fmla="*/ 180975 h 704850"/>
                <a:gd name="connsiteX68" fmla="*/ 190500 w 664369"/>
                <a:gd name="connsiteY68" fmla="*/ 0 h 704850"/>
                <a:gd name="connsiteX0" fmla="*/ 190500 w 664369"/>
                <a:gd name="connsiteY0" fmla="*/ 0 h 704850"/>
                <a:gd name="connsiteX1" fmla="*/ 195263 w 664369"/>
                <a:gd name="connsiteY1" fmla="*/ 73819 h 704850"/>
                <a:gd name="connsiteX2" fmla="*/ 195263 w 664369"/>
                <a:gd name="connsiteY2" fmla="*/ 178594 h 704850"/>
                <a:gd name="connsiteX3" fmla="*/ 147638 w 664369"/>
                <a:gd name="connsiteY3" fmla="*/ 264319 h 704850"/>
                <a:gd name="connsiteX4" fmla="*/ 111919 w 664369"/>
                <a:gd name="connsiteY4" fmla="*/ 285750 h 704850"/>
                <a:gd name="connsiteX5" fmla="*/ 92869 w 664369"/>
                <a:gd name="connsiteY5" fmla="*/ 297657 h 704850"/>
                <a:gd name="connsiteX6" fmla="*/ 90488 w 664369"/>
                <a:gd name="connsiteY6" fmla="*/ 326232 h 704850"/>
                <a:gd name="connsiteX7" fmla="*/ 102394 w 664369"/>
                <a:gd name="connsiteY7" fmla="*/ 330994 h 704850"/>
                <a:gd name="connsiteX8" fmla="*/ 100013 w 664369"/>
                <a:gd name="connsiteY8" fmla="*/ 354807 h 704850"/>
                <a:gd name="connsiteX9" fmla="*/ 104775 w 664369"/>
                <a:gd name="connsiteY9" fmla="*/ 369094 h 704850"/>
                <a:gd name="connsiteX10" fmla="*/ 83344 w 664369"/>
                <a:gd name="connsiteY10" fmla="*/ 388144 h 704850"/>
                <a:gd name="connsiteX11" fmla="*/ 80963 w 664369"/>
                <a:gd name="connsiteY11" fmla="*/ 392907 h 704850"/>
                <a:gd name="connsiteX12" fmla="*/ 69056 w 664369"/>
                <a:gd name="connsiteY12" fmla="*/ 369094 h 704850"/>
                <a:gd name="connsiteX13" fmla="*/ 45244 w 664369"/>
                <a:gd name="connsiteY13" fmla="*/ 381000 h 704850"/>
                <a:gd name="connsiteX14" fmla="*/ 45244 w 664369"/>
                <a:gd name="connsiteY14" fmla="*/ 421482 h 704850"/>
                <a:gd name="connsiteX15" fmla="*/ 52388 w 664369"/>
                <a:gd name="connsiteY15" fmla="*/ 438150 h 704850"/>
                <a:gd name="connsiteX16" fmla="*/ 0 w 664369"/>
                <a:gd name="connsiteY16" fmla="*/ 502444 h 704850"/>
                <a:gd name="connsiteX17" fmla="*/ 33338 w 664369"/>
                <a:gd name="connsiteY17" fmla="*/ 607219 h 704850"/>
                <a:gd name="connsiteX18" fmla="*/ 88106 w 664369"/>
                <a:gd name="connsiteY18" fmla="*/ 642938 h 704850"/>
                <a:gd name="connsiteX19" fmla="*/ 104775 w 664369"/>
                <a:gd name="connsiteY19" fmla="*/ 638175 h 704850"/>
                <a:gd name="connsiteX20" fmla="*/ 152400 w 664369"/>
                <a:gd name="connsiteY20" fmla="*/ 685800 h 704850"/>
                <a:gd name="connsiteX21" fmla="*/ 169069 w 664369"/>
                <a:gd name="connsiteY21" fmla="*/ 685800 h 704850"/>
                <a:gd name="connsiteX22" fmla="*/ 214313 w 664369"/>
                <a:gd name="connsiteY22" fmla="*/ 704850 h 704850"/>
                <a:gd name="connsiteX23" fmla="*/ 230981 w 664369"/>
                <a:gd name="connsiteY23" fmla="*/ 666750 h 704850"/>
                <a:gd name="connsiteX24" fmla="*/ 264319 w 664369"/>
                <a:gd name="connsiteY24" fmla="*/ 647700 h 704850"/>
                <a:gd name="connsiteX25" fmla="*/ 285750 w 664369"/>
                <a:gd name="connsiteY25" fmla="*/ 645319 h 704850"/>
                <a:gd name="connsiteX26" fmla="*/ 352425 w 664369"/>
                <a:gd name="connsiteY26" fmla="*/ 604838 h 704850"/>
                <a:gd name="connsiteX27" fmla="*/ 369094 w 664369"/>
                <a:gd name="connsiteY27" fmla="*/ 597694 h 704850"/>
                <a:gd name="connsiteX28" fmla="*/ 366713 w 664369"/>
                <a:gd name="connsiteY28" fmla="*/ 559594 h 704850"/>
                <a:gd name="connsiteX29" fmla="*/ 369094 w 664369"/>
                <a:gd name="connsiteY29" fmla="*/ 528638 h 704850"/>
                <a:gd name="connsiteX30" fmla="*/ 373856 w 664369"/>
                <a:gd name="connsiteY30" fmla="*/ 497682 h 704850"/>
                <a:gd name="connsiteX31" fmla="*/ 381000 w 664369"/>
                <a:gd name="connsiteY31" fmla="*/ 473869 h 704850"/>
                <a:gd name="connsiteX32" fmla="*/ 407194 w 664369"/>
                <a:gd name="connsiteY32" fmla="*/ 435769 h 704850"/>
                <a:gd name="connsiteX33" fmla="*/ 428625 w 664369"/>
                <a:gd name="connsiteY33" fmla="*/ 385763 h 704850"/>
                <a:gd name="connsiteX34" fmla="*/ 428625 w 664369"/>
                <a:gd name="connsiteY34" fmla="*/ 385763 h 704850"/>
                <a:gd name="connsiteX35" fmla="*/ 476250 w 664369"/>
                <a:gd name="connsiteY35" fmla="*/ 354807 h 704850"/>
                <a:gd name="connsiteX36" fmla="*/ 502444 w 664369"/>
                <a:gd name="connsiteY36" fmla="*/ 330994 h 704850"/>
                <a:gd name="connsiteX37" fmla="*/ 507206 w 664369"/>
                <a:gd name="connsiteY37" fmla="*/ 292894 h 704850"/>
                <a:gd name="connsiteX38" fmla="*/ 573881 w 664369"/>
                <a:gd name="connsiteY38" fmla="*/ 188119 h 704850"/>
                <a:gd name="connsiteX39" fmla="*/ 571500 w 664369"/>
                <a:gd name="connsiteY39" fmla="*/ 169069 h 704850"/>
                <a:gd name="connsiteX40" fmla="*/ 573881 w 664369"/>
                <a:gd name="connsiteY40" fmla="*/ 159544 h 704850"/>
                <a:gd name="connsiteX41" fmla="*/ 614363 w 664369"/>
                <a:gd name="connsiteY41" fmla="*/ 150019 h 704850"/>
                <a:gd name="connsiteX42" fmla="*/ 628650 w 664369"/>
                <a:gd name="connsiteY42" fmla="*/ 159544 h 704850"/>
                <a:gd name="connsiteX43" fmla="*/ 647700 w 664369"/>
                <a:gd name="connsiteY43" fmla="*/ 161925 h 704850"/>
                <a:gd name="connsiteX44" fmla="*/ 659606 w 664369"/>
                <a:gd name="connsiteY44" fmla="*/ 133350 h 704850"/>
                <a:gd name="connsiteX45" fmla="*/ 664369 w 664369"/>
                <a:gd name="connsiteY45" fmla="*/ 119063 h 704850"/>
                <a:gd name="connsiteX46" fmla="*/ 645319 w 664369"/>
                <a:gd name="connsiteY46" fmla="*/ 104775 h 704850"/>
                <a:gd name="connsiteX47" fmla="*/ 642938 w 664369"/>
                <a:gd name="connsiteY47" fmla="*/ 92869 h 704850"/>
                <a:gd name="connsiteX48" fmla="*/ 621506 w 664369"/>
                <a:gd name="connsiteY48" fmla="*/ 83344 h 704850"/>
                <a:gd name="connsiteX49" fmla="*/ 590550 w 664369"/>
                <a:gd name="connsiteY49" fmla="*/ 88107 h 704850"/>
                <a:gd name="connsiteX50" fmla="*/ 573881 w 664369"/>
                <a:gd name="connsiteY50" fmla="*/ 104775 h 704850"/>
                <a:gd name="connsiteX51" fmla="*/ 564356 w 664369"/>
                <a:gd name="connsiteY51" fmla="*/ 116682 h 704850"/>
                <a:gd name="connsiteX52" fmla="*/ 547688 w 664369"/>
                <a:gd name="connsiteY52" fmla="*/ 126207 h 704850"/>
                <a:gd name="connsiteX53" fmla="*/ 528638 w 664369"/>
                <a:gd name="connsiteY53" fmla="*/ 133350 h 704850"/>
                <a:gd name="connsiteX54" fmla="*/ 516731 w 664369"/>
                <a:gd name="connsiteY54" fmla="*/ 128588 h 704850"/>
                <a:gd name="connsiteX55" fmla="*/ 502444 w 664369"/>
                <a:gd name="connsiteY55" fmla="*/ 128588 h 704850"/>
                <a:gd name="connsiteX56" fmla="*/ 495300 w 664369"/>
                <a:gd name="connsiteY56" fmla="*/ 121444 h 704850"/>
                <a:gd name="connsiteX57" fmla="*/ 478631 w 664369"/>
                <a:gd name="connsiteY57" fmla="*/ 164307 h 704850"/>
                <a:gd name="connsiteX58" fmla="*/ 469106 w 664369"/>
                <a:gd name="connsiteY58" fmla="*/ 173832 h 704850"/>
                <a:gd name="connsiteX59" fmla="*/ 459581 w 664369"/>
                <a:gd name="connsiteY59" fmla="*/ 173832 h 704850"/>
                <a:gd name="connsiteX60" fmla="*/ 459581 w 664369"/>
                <a:gd name="connsiteY60" fmla="*/ 173832 h 704850"/>
                <a:gd name="connsiteX61" fmla="*/ 445294 w 664369"/>
                <a:gd name="connsiteY61" fmla="*/ 188119 h 704850"/>
                <a:gd name="connsiteX62" fmla="*/ 431006 w 664369"/>
                <a:gd name="connsiteY62" fmla="*/ 200025 h 704850"/>
                <a:gd name="connsiteX63" fmla="*/ 421481 w 664369"/>
                <a:gd name="connsiteY63" fmla="*/ 207169 h 704850"/>
                <a:gd name="connsiteX64" fmla="*/ 411956 w 664369"/>
                <a:gd name="connsiteY64" fmla="*/ 185738 h 704850"/>
                <a:gd name="connsiteX65" fmla="*/ 397669 w 664369"/>
                <a:gd name="connsiteY65" fmla="*/ 164307 h 704850"/>
                <a:gd name="connsiteX66" fmla="*/ 385763 w 664369"/>
                <a:gd name="connsiteY66" fmla="*/ 145257 h 704850"/>
                <a:gd name="connsiteX67" fmla="*/ 247650 w 664369"/>
                <a:gd name="connsiteY67" fmla="*/ 180975 h 704850"/>
                <a:gd name="connsiteX68" fmla="*/ 204788 w 664369"/>
                <a:gd name="connsiteY68" fmla="*/ 54769 h 704850"/>
                <a:gd name="connsiteX69" fmla="*/ 190500 w 664369"/>
                <a:gd name="connsiteY69" fmla="*/ 0 h 704850"/>
                <a:gd name="connsiteX0" fmla="*/ 190500 w 664369"/>
                <a:gd name="connsiteY0" fmla="*/ 4762 h 709612"/>
                <a:gd name="connsiteX1" fmla="*/ 195263 w 664369"/>
                <a:gd name="connsiteY1" fmla="*/ 78581 h 709612"/>
                <a:gd name="connsiteX2" fmla="*/ 195263 w 664369"/>
                <a:gd name="connsiteY2" fmla="*/ 183356 h 709612"/>
                <a:gd name="connsiteX3" fmla="*/ 147638 w 664369"/>
                <a:gd name="connsiteY3" fmla="*/ 269081 h 709612"/>
                <a:gd name="connsiteX4" fmla="*/ 111919 w 664369"/>
                <a:gd name="connsiteY4" fmla="*/ 290512 h 709612"/>
                <a:gd name="connsiteX5" fmla="*/ 92869 w 664369"/>
                <a:gd name="connsiteY5" fmla="*/ 302419 h 709612"/>
                <a:gd name="connsiteX6" fmla="*/ 90488 w 664369"/>
                <a:gd name="connsiteY6" fmla="*/ 330994 h 709612"/>
                <a:gd name="connsiteX7" fmla="*/ 102394 w 664369"/>
                <a:gd name="connsiteY7" fmla="*/ 335756 h 709612"/>
                <a:gd name="connsiteX8" fmla="*/ 100013 w 664369"/>
                <a:gd name="connsiteY8" fmla="*/ 359569 h 709612"/>
                <a:gd name="connsiteX9" fmla="*/ 104775 w 664369"/>
                <a:gd name="connsiteY9" fmla="*/ 373856 h 709612"/>
                <a:gd name="connsiteX10" fmla="*/ 83344 w 664369"/>
                <a:gd name="connsiteY10" fmla="*/ 392906 h 709612"/>
                <a:gd name="connsiteX11" fmla="*/ 80963 w 664369"/>
                <a:gd name="connsiteY11" fmla="*/ 397669 h 709612"/>
                <a:gd name="connsiteX12" fmla="*/ 69056 w 664369"/>
                <a:gd name="connsiteY12" fmla="*/ 373856 h 709612"/>
                <a:gd name="connsiteX13" fmla="*/ 45244 w 664369"/>
                <a:gd name="connsiteY13" fmla="*/ 385762 h 709612"/>
                <a:gd name="connsiteX14" fmla="*/ 45244 w 664369"/>
                <a:gd name="connsiteY14" fmla="*/ 426244 h 709612"/>
                <a:gd name="connsiteX15" fmla="*/ 52388 w 664369"/>
                <a:gd name="connsiteY15" fmla="*/ 442912 h 709612"/>
                <a:gd name="connsiteX16" fmla="*/ 0 w 664369"/>
                <a:gd name="connsiteY16" fmla="*/ 507206 h 709612"/>
                <a:gd name="connsiteX17" fmla="*/ 33338 w 664369"/>
                <a:gd name="connsiteY17" fmla="*/ 611981 h 709612"/>
                <a:gd name="connsiteX18" fmla="*/ 88106 w 664369"/>
                <a:gd name="connsiteY18" fmla="*/ 647700 h 709612"/>
                <a:gd name="connsiteX19" fmla="*/ 104775 w 664369"/>
                <a:gd name="connsiteY19" fmla="*/ 642937 h 709612"/>
                <a:gd name="connsiteX20" fmla="*/ 152400 w 664369"/>
                <a:gd name="connsiteY20" fmla="*/ 690562 h 709612"/>
                <a:gd name="connsiteX21" fmla="*/ 169069 w 664369"/>
                <a:gd name="connsiteY21" fmla="*/ 690562 h 709612"/>
                <a:gd name="connsiteX22" fmla="*/ 214313 w 664369"/>
                <a:gd name="connsiteY22" fmla="*/ 709612 h 709612"/>
                <a:gd name="connsiteX23" fmla="*/ 230981 w 664369"/>
                <a:gd name="connsiteY23" fmla="*/ 671512 h 709612"/>
                <a:gd name="connsiteX24" fmla="*/ 264319 w 664369"/>
                <a:gd name="connsiteY24" fmla="*/ 652462 h 709612"/>
                <a:gd name="connsiteX25" fmla="*/ 285750 w 664369"/>
                <a:gd name="connsiteY25" fmla="*/ 650081 h 709612"/>
                <a:gd name="connsiteX26" fmla="*/ 352425 w 664369"/>
                <a:gd name="connsiteY26" fmla="*/ 609600 h 709612"/>
                <a:gd name="connsiteX27" fmla="*/ 369094 w 664369"/>
                <a:gd name="connsiteY27" fmla="*/ 602456 h 709612"/>
                <a:gd name="connsiteX28" fmla="*/ 366713 w 664369"/>
                <a:gd name="connsiteY28" fmla="*/ 564356 h 709612"/>
                <a:gd name="connsiteX29" fmla="*/ 369094 w 664369"/>
                <a:gd name="connsiteY29" fmla="*/ 533400 h 709612"/>
                <a:gd name="connsiteX30" fmla="*/ 373856 w 664369"/>
                <a:gd name="connsiteY30" fmla="*/ 502444 h 709612"/>
                <a:gd name="connsiteX31" fmla="*/ 381000 w 664369"/>
                <a:gd name="connsiteY31" fmla="*/ 478631 h 709612"/>
                <a:gd name="connsiteX32" fmla="*/ 407194 w 664369"/>
                <a:gd name="connsiteY32" fmla="*/ 440531 h 709612"/>
                <a:gd name="connsiteX33" fmla="*/ 428625 w 664369"/>
                <a:gd name="connsiteY33" fmla="*/ 390525 h 709612"/>
                <a:gd name="connsiteX34" fmla="*/ 428625 w 664369"/>
                <a:gd name="connsiteY34" fmla="*/ 390525 h 709612"/>
                <a:gd name="connsiteX35" fmla="*/ 476250 w 664369"/>
                <a:gd name="connsiteY35" fmla="*/ 359569 h 709612"/>
                <a:gd name="connsiteX36" fmla="*/ 502444 w 664369"/>
                <a:gd name="connsiteY36" fmla="*/ 335756 h 709612"/>
                <a:gd name="connsiteX37" fmla="*/ 507206 w 664369"/>
                <a:gd name="connsiteY37" fmla="*/ 297656 h 709612"/>
                <a:gd name="connsiteX38" fmla="*/ 573881 w 664369"/>
                <a:gd name="connsiteY38" fmla="*/ 192881 h 709612"/>
                <a:gd name="connsiteX39" fmla="*/ 571500 w 664369"/>
                <a:gd name="connsiteY39" fmla="*/ 173831 h 709612"/>
                <a:gd name="connsiteX40" fmla="*/ 573881 w 664369"/>
                <a:gd name="connsiteY40" fmla="*/ 164306 h 709612"/>
                <a:gd name="connsiteX41" fmla="*/ 614363 w 664369"/>
                <a:gd name="connsiteY41" fmla="*/ 154781 h 709612"/>
                <a:gd name="connsiteX42" fmla="*/ 628650 w 664369"/>
                <a:gd name="connsiteY42" fmla="*/ 164306 h 709612"/>
                <a:gd name="connsiteX43" fmla="*/ 647700 w 664369"/>
                <a:gd name="connsiteY43" fmla="*/ 166687 h 709612"/>
                <a:gd name="connsiteX44" fmla="*/ 659606 w 664369"/>
                <a:gd name="connsiteY44" fmla="*/ 138112 h 709612"/>
                <a:gd name="connsiteX45" fmla="*/ 664369 w 664369"/>
                <a:gd name="connsiteY45" fmla="*/ 123825 h 709612"/>
                <a:gd name="connsiteX46" fmla="*/ 645319 w 664369"/>
                <a:gd name="connsiteY46" fmla="*/ 109537 h 709612"/>
                <a:gd name="connsiteX47" fmla="*/ 642938 w 664369"/>
                <a:gd name="connsiteY47" fmla="*/ 97631 h 709612"/>
                <a:gd name="connsiteX48" fmla="*/ 621506 w 664369"/>
                <a:gd name="connsiteY48" fmla="*/ 88106 h 709612"/>
                <a:gd name="connsiteX49" fmla="*/ 590550 w 664369"/>
                <a:gd name="connsiteY49" fmla="*/ 92869 h 709612"/>
                <a:gd name="connsiteX50" fmla="*/ 573881 w 664369"/>
                <a:gd name="connsiteY50" fmla="*/ 109537 h 709612"/>
                <a:gd name="connsiteX51" fmla="*/ 564356 w 664369"/>
                <a:gd name="connsiteY51" fmla="*/ 121444 h 709612"/>
                <a:gd name="connsiteX52" fmla="*/ 547688 w 664369"/>
                <a:gd name="connsiteY52" fmla="*/ 130969 h 709612"/>
                <a:gd name="connsiteX53" fmla="*/ 528638 w 664369"/>
                <a:gd name="connsiteY53" fmla="*/ 138112 h 709612"/>
                <a:gd name="connsiteX54" fmla="*/ 516731 w 664369"/>
                <a:gd name="connsiteY54" fmla="*/ 133350 h 709612"/>
                <a:gd name="connsiteX55" fmla="*/ 502444 w 664369"/>
                <a:gd name="connsiteY55" fmla="*/ 133350 h 709612"/>
                <a:gd name="connsiteX56" fmla="*/ 495300 w 664369"/>
                <a:gd name="connsiteY56" fmla="*/ 126206 h 709612"/>
                <a:gd name="connsiteX57" fmla="*/ 478631 w 664369"/>
                <a:gd name="connsiteY57" fmla="*/ 169069 h 709612"/>
                <a:gd name="connsiteX58" fmla="*/ 469106 w 664369"/>
                <a:gd name="connsiteY58" fmla="*/ 178594 h 709612"/>
                <a:gd name="connsiteX59" fmla="*/ 459581 w 664369"/>
                <a:gd name="connsiteY59" fmla="*/ 178594 h 709612"/>
                <a:gd name="connsiteX60" fmla="*/ 459581 w 664369"/>
                <a:gd name="connsiteY60" fmla="*/ 178594 h 709612"/>
                <a:gd name="connsiteX61" fmla="*/ 445294 w 664369"/>
                <a:gd name="connsiteY61" fmla="*/ 192881 h 709612"/>
                <a:gd name="connsiteX62" fmla="*/ 431006 w 664369"/>
                <a:gd name="connsiteY62" fmla="*/ 204787 h 709612"/>
                <a:gd name="connsiteX63" fmla="*/ 421481 w 664369"/>
                <a:gd name="connsiteY63" fmla="*/ 211931 h 709612"/>
                <a:gd name="connsiteX64" fmla="*/ 411956 w 664369"/>
                <a:gd name="connsiteY64" fmla="*/ 190500 h 709612"/>
                <a:gd name="connsiteX65" fmla="*/ 397669 w 664369"/>
                <a:gd name="connsiteY65" fmla="*/ 169069 h 709612"/>
                <a:gd name="connsiteX66" fmla="*/ 385763 w 664369"/>
                <a:gd name="connsiteY66" fmla="*/ 150019 h 709612"/>
                <a:gd name="connsiteX67" fmla="*/ 247650 w 664369"/>
                <a:gd name="connsiteY67" fmla="*/ 185737 h 709612"/>
                <a:gd name="connsiteX68" fmla="*/ 202406 w 664369"/>
                <a:gd name="connsiteY68" fmla="*/ 0 h 709612"/>
                <a:gd name="connsiteX69" fmla="*/ 190500 w 664369"/>
                <a:gd name="connsiteY69" fmla="*/ 4762 h 709612"/>
                <a:gd name="connsiteX0" fmla="*/ 190500 w 664369"/>
                <a:gd name="connsiteY0" fmla="*/ 4762 h 728705"/>
                <a:gd name="connsiteX1" fmla="*/ 195263 w 664369"/>
                <a:gd name="connsiteY1" fmla="*/ 78581 h 728705"/>
                <a:gd name="connsiteX2" fmla="*/ 195263 w 664369"/>
                <a:gd name="connsiteY2" fmla="*/ 183356 h 728705"/>
                <a:gd name="connsiteX3" fmla="*/ 147638 w 664369"/>
                <a:gd name="connsiteY3" fmla="*/ 269081 h 728705"/>
                <a:gd name="connsiteX4" fmla="*/ 111919 w 664369"/>
                <a:gd name="connsiteY4" fmla="*/ 290512 h 728705"/>
                <a:gd name="connsiteX5" fmla="*/ 92869 w 664369"/>
                <a:gd name="connsiteY5" fmla="*/ 302419 h 728705"/>
                <a:gd name="connsiteX6" fmla="*/ 90488 w 664369"/>
                <a:gd name="connsiteY6" fmla="*/ 330994 h 728705"/>
                <a:gd name="connsiteX7" fmla="*/ 102394 w 664369"/>
                <a:gd name="connsiteY7" fmla="*/ 335756 h 728705"/>
                <a:gd name="connsiteX8" fmla="*/ 100013 w 664369"/>
                <a:gd name="connsiteY8" fmla="*/ 359569 h 728705"/>
                <a:gd name="connsiteX9" fmla="*/ 104775 w 664369"/>
                <a:gd name="connsiteY9" fmla="*/ 373856 h 728705"/>
                <a:gd name="connsiteX10" fmla="*/ 83344 w 664369"/>
                <a:gd name="connsiteY10" fmla="*/ 392906 h 728705"/>
                <a:gd name="connsiteX11" fmla="*/ 80963 w 664369"/>
                <a:gd name="connsiteY11" fmla="*/ 397669 h 728705"/>
                <a:gd name="connsiteX12" fmla="*/ 69056 w 664369"/>
                <a:gd name="connsiteY12" fmla="*/ 373856 h 728705"/>
                <a:gd name="connsiteX13" fmla="*/ 45244 w 664369"/>
                <a:gd name="connsiteY13" fmla="*/ 385762 h 728705"/>
                <a:gd name="connsiteX14" fmla="*/ 45244 w 664369"/>
                <a:gd name="connsiteY14" fmla="*/ 426244 h 728705"/>
                <a:gd name="connsiteX15" fmla="*/ 52388 w 664369"/>
                <a:gd name="connsiteY15" fmla="*/ 442912 h 728705"/>
                <a:gd name="connsiteX16" fmla="*/ 0 w 664369"/>
                <a:gd name="connsiteY16" fmla="*/ 507206 h 728705"/>
                <a:gd name="connsiteX17" fmla="*/ 33338 w 664369"/>
                <a:gd name="connsiteY17" fmla="*/ 611981 h 728705"/>
                <a:gd name="connsiteX18" fmla="*/ 88106 w 664369"/>
                <a:gd name="connsiteY18" fmla="*/ 647700 h 728705"/>
                <a:gd name="connsiteX19" fmla="*/ 104775 w 664369"/>
                <a:gd name="connsiteY19" fmla="*/ 642937 h 728705"/>
                <a:gd name="connsiteX20" fmla="*/ 152400 w 664369"/>
                <a:gd name="connsiteY20" fmla="*/ 690562 h 728705"/>
                <a:gd name="connsiteX21" fmla="*/ 169069 w 664369"/>
                <a:gd name="connsiteY21" fmla="*/ 690562 h 728705"/>
                <a:gd name="connsiteX22" fmla="*/ 214313 w 664369"/>
                <a:gd name="connsiteY22" fmla="*/ 728705 h 728705"/>
                <a:gd name="connsiteX23" fmla="*/ 230981 w 664369"/>
                <a:gd name="connsiteY23" fmla="*/ 671512 h 728705"/>
                <a:gd name="connsiteX24" fmla="*/ 264319 w 664369"/>
                <a:gd name="connsiteY24" fmla="*/ 652462 h 728705"/>
                <a:gd name="connsiteX25" fmla="*/ 285750 w 664369"/>
                <a:gd name="connsiteY25" fmla="*/ 650081 h 728705"/>
                <a:gd name="connsiteX26" fmla="*/ 352425 w 664369"/>
                <a:gd name="connsiteY26" fmla="*/ 609600 h 728705"/>
                <a:gd name="connsiteX27" fmla="*/ 369094 w 664369"/>
                <a:gd name="connsiteY27" fmla="*/ 602456 h 728705"/>
                <a:gd name="connsiteX28" fmla="*/ 366713 w 664369"/>
                <a:gd name="connsiteY28" fmla="*/ 564356 h 728705"/>
                <a:gd name="connsiteX29" fmla="*/ 369094 w 664369"/>
                <a:gd name="connsiteY29" fmla="*/ 533400 h 728705"/>
                <a:gd name="connsiteX30" fmla="*/ 373856 w 664369"/>
                <a:gd name="connsiteY30" fmla="*/ 502444 h 728705"/>
                <a:gd name="connsiteX31" fmla="*/ 381000 w 664369"/>
                <a:gd name="connsiteY31" fmla="*/ 478631 h 728705"/>
                <a:gd name="connsiteX32" fmla="*/ 407194 w 664369"/>
                <a:gd name="connsiteY32" fmla="*/ 440531 h 728705"/>
                <a:gd name="connsiteX33" fmla="*/ 428625 w 664369"/>
                <a:gd name="connsiteY33" fmla="*/ 390525 h 728705"/>
                <a:gd name="connsiteX34" fmla="*/ 428625 w 664369"/>
                <a:gd name="connsiteY34" fmla="*/ 390525 h 728705"/>
                <a:gd name="connsiteX35" fmla="*/ 476250 w 664369"/>
                <a:gd name="connsiteY35" fmla="*/ 359569 h 728705"/>
                <a:gd name="connsiteX36" fmla="*/ 502444 w 664369"/>
                <a:gd name="connsiteY36" fmla="*/ 335756 h 728705"/>
                <a:gd name="connsiteX37" fmla="*/ 507206 w 664369"/>
                <a:gd name="connsiteY37" fmla="*/ 297656 h 728705"/>
                <a:gd name="connsiteX38" fmla="*/ 573881 w 664369"/>
                <a:gd name="connsiteY38" fmla="*/ 192881 h 728705"/>
                <a:gd name="connsiteX39" fmla="*/ 571500 w 664369"/>
                <a:gd name="connsiteY39" fmla="*/ 173831 h 728705"/>
                <a:gd name="connsiteX40" fmla="*/ 573881 w 664369"/>
                <a:gd name="connsiteY40" fmla="*/ 164306 h 728705"/>
                <a:gd name="connsiteX41" fmla="*/ 614363 w 664369"/>
                <a:gd name="connsiteY41" fmla="*/ 154781 h 728705"/>
                <a:gd name="connsiteX42" fmla="*/ 628650 w 664369"/>
                <a:gd name="connsiteY42" fmla="*/ 164306 h 728705"/>
                <a:gd name="connsiteX43" fmla="*/ 647700 w 664369"/>
                <a:gd name="connsiteY43" fmla="*/ 166687 h 728705"/>
                <a:gd name="connsiteX44" fmla="*/ 659606 w 664369"/>
                <a:gd name="connsiteY44" fmla="*/ 138112 h 728705"/>
                <a:gd name="connsiteX45" fmla="*/ 664369 w 664369"/>
                <a:gd name="connsiteY45" fmla="*/ 123825 h 728705"/>
                <a:gd name="connsiteX46" fmla="*/ 645319 w 664369"/>
                <a:gd name="connsiteY46" fmla="*/ 109537 h 728705"/>
                <a:gd name="connsiteX47" fmla="*/ 642938 w 664369"/>
                <a:gd name="connsiteY47" fmla="*/ 97631 h 728705"/>
                <a:gd name="connsiteX48" fmla="*/ 621506 w 664369"/>
                <a:gd name="connsiteY48" fmla="*/ 88106 h 728705"/>
                <a:gd name="connsiteX49" fmla="*/ 590550 w 664369"/>
                <a:gd name="connsiteY49" fmla="*/ 92869 h 728705"/>
                <a:gd name="connsiteX50" fmla="*/ 573881 w 664369"/>
                <a:gd name="connsiteY50" fmla="*/ 109537 h 728705"/>
                <a:gd name="connsiteX51" fmla="*/ 564356 w 664369"/>
                <a:gd name="connsiteY51" fmla="*/ 121444 h 728705"/>
                <a:gd name="connsiteX52" fmla="*/ 547688 w 664369"/>
                <a:gd name="connsiteY52" fmla="*/ 130969 h 728705"/>
                <a:gd name="connsiteX53" fmla="*/ 528638 w 664369"/>
                <a:gd name="connsiteY53" fmla="*/ 138112 h 728705"/>
                <a:gd name="connsiteX54" fmla="*/ 516731 w 664369"/>
                <a:gd name="connsiteY54" fmla="*/ 133350 h 728705"/>
                <a:gd name="connsiteX55" fmla="*/ 502444 w 664369"/>
                <a:gd name="connsiteY55" fmla="*/ 133350 h 728705"/>
                <a:gd name="connsiteX56" fmla="*/ 495300 w 664369"/>
                <a:gd name="connsiteY56" fmla="*/ 126206 h 728705"/>
                <a:gd name="connsiteX57" fmla="*/ 478631 w 664369"/>
                <a:gd name="connsiteY57" fmla="*/ 169069 h 728705"/>
                <a:gd name="connsiteX58" fmla="*/ 469106 w 664369"/>
                <a:gd name="connsiteY58" fmla="*/ 178594 h 728705"/>
                <a:gd name="connsiteX59" fmla="*/ 459581 w 664369"/>
                <a:gd name="connsiteY59" fmla="*/ 178594 h 728705"/>
                <a:gd name="connsiteX60" fmla="*/ 459581 w 664369"/>
                <a:gd name="connsiteY60" fmla="*/ 178594 h 728705"/>
                <a:gd name="connsiteX61" fmla="*/ 445294 w 664369"/>
                <a:gd name="connsiteY61" fmla="*/ 192881 h 728705"/>
                <a:gd name="connsiteX62" fmla="*/ 431006 w 664369"/>
                <a:gd name="connsiteY62" fmla="*/ 204787 h 728705"/>
                <a:gd name="connsiteX63" fmla="*/ 421481 w 664369"/>
                <a:gd name="connsiteY63" fmla="*/ 211931 h 728705"/>
                <a:gd name="connsiteX64" fmla="*/ 411956 w 664369"/>
                <a:gd name="connsiteY64" fmla="*/ 190500 h 728705"/>
                <a:gd name="connsiteX65" fmla="*/ 397669 w 664369"/>
                <a:gd name="connsiteY65" fmla="*/ 169069 h 728705"/>
                <a:gd name="connsiteX66" fmla="*/ 385763 w 664369"/>
                <a:gd name="connsiteY66" fmla="*/ 150019 h 728705"/>
                <a:gd name="connsiteX67" fmla="*/ 247650 w 664369"/>
                <a:gd name="connsiteY67" fmla="*/ 185737 h 728705"/>
                <a:gd name="connsiteX68" fmla="*/ 202406 w 664369"/>
                <a:gd name="connsiteY68" fmla="*/ 0 h 728705"/>
                <a:gd name="connsiteX69" fmla="*/ 190500 w 664369"/>
                <a:gd name="connsiteY69" fmla="*/ 4762 h 728705"/>
                <a:gd name="connsiteX0" fmla="*/ 190500 w 664369"/>
                <a:gd name="connsiteY0" fmla="*/ 4762 h 728705"/>
                <a:gd name="connsiteX1" fmla="*/ 195263 w 664369"/>
                <a:gd name="connsiteY1" fmla="*/ 78581 h 728705"/>
                <a:gd name="connsiteX2" fmla="*/ 195263 w 664369"/>
                <a:gd name="connsiteY2" fmla="*/ 183356 h 728705"/>
                <a:gd name="connsiteX3" fmla="*/ 147638 w 664369"/>
                <a:gd name="connsiteY3" fmla="*/ 269081 h 728705"/>
                <a:gd name="connsiteX4" fmla="*/ 111919 w 664369"/>
                <a:gd name="connsiteY4" fmla="*/ 290512 h 728705"/>
                <a:gd name="connsiteX5" fmla="*/ 92869 w 664369"/>
                <a:gd name="connsiteY5" fmla="*/ 302419 h 728705"/>
                <a:gd name="connsiteX6" fmla="*/ 90488 w 664369"/>
                <a:gd name="connsiteY6" fmla="*/ 330994 h 728705"/>
                <a:gd name="connsiteX7" fmla="*/ 102394 w 664369"/>
                <a:gd name="connsiteY7" fmla="*/ 335756 h 728705"/>
                <a:gd name="connsiteX8" fmla="*/ 100013 w 664369"/>
                <a:gd name="connsiteY8" fmla="*/ 359569 h 728705"/>
                <a:gd name="connsiteX9" fmla="*/ 104775 w 664369"/>
                <a:gd name="connsiteY9" fmla="*/ 373856 h 728705"/>
                <a:gd name="connsiteX10" fmla="*/ 83344 w 664369"/>
                <a:gd name="connsiteY10" fmla="*/ 392906 h 728705"/>
                <a:gd name="connsiteX11" fmla="*/ 80963 w 664369"/>
                <a:gd name="connsiteY11" fmla="*/ 397669 h 728705"/>
                <a:gd name="connsiteX12" fmla="*/ 69056 w 664369"/>
                <a:gd name="connsiteY12" fmla="*/ 373856 h 728705"/>
                <a:gd name="connsiteX13" fmla="*/ 45244 w 664369"/>
                <a:gd name="connsiteY13" fmla="*/ 385762 h 728705"/>
                <a:gd name="connsiteX14" fmla="*/ 45244 w 664369"/>
                <a:gd name="connsiteY14" fmla="*/ 426244 h 728705"/>
                <a:gd name="connsiteX15" fmla="*/ 52388 w 664369"/>
                <a:gd name="connsiteY15" fmla="*/ 442912 h 728705"/>
                <a:gd name="connsiteX16" fmla="*/ 0 w 664369"/>
                <a:gd name="connsiteY16" fmla="*/ 507206 h 728705"/>
                <a:gd name="connsiteX17" fmla="*/ 33338 w 664369"/>
                <a:gd name="connsiteY17" fmla="*/ 611981 h 728705"/>
                <a:gd name="connsiteX18" fmla="*/ 88106 w 664369"/>
                <a:gd name="connsiteY18" fmla="*/ 647700 h 728705"/>
                <a:gd name="connsiteX19" fmla="*/ 104775 w 664369"/>
                <a:gd name="connsiteY19" fmla="*/ 642937 h 728705"/>
                <a:gd name="connsiteX20" fmla="*/ 152400 w 664369"/>
                <a:gd name="connsiteY20" fmla="*/ 690562 h 728705"/>
                <a:gd name="connsiteX21" fmla="*/ 169069 w 664369"/>
                <a:gd name="connsiteY21" fmla="*/ 690562 h 728705"/>
                <a:gd name="connsiteX22" fmla="*/ 214313 w 664369"/>
                <a:gd name="connsiteY22" fmla="*/ 728705 h 728705"/>
                <a:gd name="connsiteX23" fmla="*/ 230981 w 664369"/>
                <a:gd name="connsiteY23" fmla="*/ 671512 h 728705"/>
                <a:gd name="connsiteX24" fmla="*/ 264319 w 664369"/>
                <a:gd name="connsiteY24" fmla="*/ 652462 h 728705"/>
                <a:gd name="connsiteX25" fmla="*/ 285750 w 664369"/>
                <a:gd name="connsiteY25" fmla="*/ 650081 h 728705"/>
                <a:gd name="connsiteX26" fmla="*/ 354803 w 664369"/>
                <a:gd name="connsiteY26" fmla="*/ 628692 h 728705"/>
                <a:gd name="connsiteX27" fmla="*/ 369094 w 664369"/>
                <a:gd name="connsiteY27" fmla="*/ 602456 h 728705"/>
                <a:gd name="connsiteX28" fmla="*/ 366713 w 664369"/>
                <a:gd name="connsiteY28" fmla="*/ 564356 h 728705"/>
                <a:gd name="connsiteX29" fmla="*/ 369094 w 664369"/>
                <a:gd name="connsiteY29" fmla="*/ 533400 h 728705"/>
                <a:gd name="connsiteX30" fmla="*/ 373856 w 664369"/>
                <a:gd name="connsiteY30" fmla="*/ 502444 h 728705"/>
                <a:gd name="connsiteX31" fmla="*/ 381000 w 664369"/>
                <a:gd name="connsiteY31" fmla="*/ 478631 h 728705"/>
                <a:gd name="connsiteX32" fmla="*/ 407194 w 664369"/>
                <a:gd name="connsiteY32" fmla="*/ 440531 h 728705"/>
                <a:gd name="connsiteX33" fmla="*/ 428625 w 664369"/>
                <a:gd name="connsiteY33" fmla="*/ 390525 h 728705"/>
                <a:gd name="connsiteX34" fmla="*/ 428625 w 664369"/>
                <a:gd name="connsiteY34" fmla="*/ 390525 h 728705"/>
                <a:gd name="connsiteX35" fmla="*/ 476250 w 664369"/>
                <a:gd name="connsiteY35" fmla="*/ 359569 h 728705"/>
                <a:gd name="connsiteX36" fmla="*/ 502444 w 664369"/>
                <a:gd name="connsiteY36" fmla="*/ 335756 h 728705"/>
                <a:gd name="connsiteX37" fmla="*/ 507206 w 664369"/>
                <a:gd name="connsiteY37" fmla="*/ 297656 h 728705"/>
                <a:gd name="connsiteX38" fmla="*/ 573881 w 664369"/>
                <a:gd name="connsiteY38" fmla="*/ 192881 h 728705"/>
                <a:gd name="connsiteX39" fmla="*/ 571500 w 664369"/>
                <a:gd name="connsiteY39" fmla="*/ 173831 h 728705"/>
                <a:gd name="connsiteX40" fmla="*/ 573881 w 664369"/>
                <a:gd name="connsiteY40" fmla="*/ 164306 h 728705"/>
                <a:gd name="connsiteX41" fmla="*/ 614363 w 664369"/>
                <a:gd name="connsiteY41" fmla="*/ 154781 h 728705"/>
                <a:gd name="connsiteX42" fmla="*/ 628650 w 664369"/>
                <a:gd name="connsiteY42" fmla="*/ 164306 h 728705"/>
                <a:gd name="connsiteX43" fmla="*/ 647700 w 664369"/>
                <a:gd name="connsiteY43" fmla="*/ 166687 h 728705"/>
                <a:gd name="connsiteX44" fmla="*/ 659606 w 664369"/>
                <a:gd name="connsiteY44" fmla="*/ 138112 h 728705"/>
                <a:gd name="connsiteX45" fmla="*/ 664369 w 664369"/>
                <a:gd name="connsiteY45" fmla="*/ 123825 h 728705"/>
                <a:gd name="connsiteX46" fmla="*/ 645319 w 664369"/>
                <a:gd name="connsiteY46" fmla="*/ 109537 h 728705"/>
                <a:gd name="connsiteX47" fmla="*/ 642938 w 664369"/>
                <a:gd name="connsiteY47" fmla="*/ 97631 h 728705"/>
                <a:gd name="connsiteX48" fmla="*/ 621506 w 664369"/>
                <a:gd name="connsiteY48" fmla="*/ 88106 h 728705"/>
                <a:gd name="connsiteX49" fmla="*/ 590550 w 664369"/>
                <a:gd name="connsiteY49" fmla="*/ 92869 h 728705"/>
                <a:gd name="connsiteX50" fmla="*/ 573881 w 664369"/>
                <a:gd name="connsiteY50" fmla="*/ 109537 h 728705"/>
                <a:gd name="connsiteX51" fmla="*/ 564356 w 664369"/>
                <a:gd name="connsiteY51" fmla="*/ 121444 h 728705"/>
                <a:gd name="connsiteX52" fmla="*/ 547688 w 664369"/>
                <a:gd name="connsiteY52" fmla="*/ 130969 h 728705"/>
                <a:gd name="connsiteX53" fmla="*/ 528638 w 664369"/>
                <a:gd name="connsiteY53" fmla="*/ 138112 h 728705"/>
                <a:gd name="connsiteX54" fmla="*/ 516731 w 664369"/>
                <a:gd name="connsiteY54" fmla="*/ 133350 h 728705"/>
                <a:gd name="connsiteX55" fmla="*/ 502444 w 664369"/>
                <a:gd name="connsiteY55" fmla="*/ 133350 h 728705"/>
                <a:gd name="connsiteX56" fmla="*/ 495300 w 664369"/>
                <a:gd name="connsiteY56" fmla="*/ 126206 h 728705"/>
                <a:gd name="connsiteX57" fmla="*/ 478631 w 664369"/>
                <a:gd name="connsiteY57" fmla="*/ 169069 h 728705"/>
                <a:gd name="connsiteX58" fmla="*/ 469106 w 664369"/>
                <a:gd name="connsiteY58" fmla="*/ 178594 h 728705"/>
                <a:gd name="connsiteX59" fmla="*/ 459581 w 664369"/>
                <a:gd name="connsiteY59" fmla="*/ 178594 h 728705"/>
                <a:gd name="connsiteX60" fmla="*/ 459581 w 664369"/>
                <a:gd name="connsiteY60" fmla="*/ 178594 h 728705"/>
                <a:gd name="connsiteX61" fmla="*/ 445294 w 664369"/>
                <a:gd name="connsiteY61" fmla="*/ 192881 h 728705"/>
                <a:gd name="connsiteX62" fmla="*/ 431006 w 664369"/>
                <a:gd name="connsiteY62" fmla="*/ 204787 h 728705"/>
                <a:gd name="connsiteX63" fmla="*/ 421481 w 664369"/>
                <a:gd name="connsiteY63" fmla="*/ 211931 h 728705"/>
                <a:gd name="connsiteX64" fmla="*/ 411956 w 664369"/>
                <a:gd name="connsiteY64" fmla="*/ 190500 h 728705"/>
                <a:gd name="connsiteX65" fmla="*/ 397669 w 664369"/>
                <a:gd name="connsiteY65" fmla="*/ 169069 h 728705"/>
                <a:gd name="connsiteX66" fmla="*/ 385763 w 664369"/>
                <a:gd name="connsiteY66" fmla="*/ 150019 h 728705"/>
                <a:gd name="connsiteX67" fmla="*/ 247650 w 664369"/>
                <a:gd name="connsiteY67" fmla="*/ 185737 h 728705"/>
                <a:gd name="connsiteX68" fmla="*/ 202406 w 664369"/>
                <a:gd name="connsiteY68" fmla="*/ 0 h 728705"/>
                <a:gd name="connsiteX69" fmla="*/ 190500 w 664369"/>
                <a:gd name="connsiteY69" fmla="*/ 4762 h 728705"/>
                <a:gd name="connsiteX0" fmla="*/ 190500 w 664369"/>
                <a:gd name="connsiteY0" fmla="*/ 4762 h 728705"/>
                <a:gd name="connsiteX1" fmla="*/ 195263 w 664369"/>
                <a:gd name="connsiteY1" fmla="*/ 78581 h 728705"/>
                <a:gd name="connsiteX2" fmla="*/ 195263 w 664369"/>
                <a:gd name="connsiteY2" fmla="*/ 183356 h 728705"/>
                <a:gd name="connsiteX3" fmla="*/ 147638 w 664369"/>
                <a:gd name="connsiteY3" fmla="*/ 269081 h 728705"/>
                <a:gd name="connsiteX4" fmla="*/ 111919 w 664369"/>
                <a:gd name="connsiteY4" fmla="*/ 290512 h 728705"/>
                <a:gd name="connsiteX5" fmla="*/ 92869 w 664369"/>
                <a:gd name="connsiteY5" fmla="*/ 302419 h 728705"/>
                <a:gd name="connsiteX6" fmla="*/ 90488 w 664369"/>
                <a:gd name="connsiteY6" fmla="*/ 330994 h 728705"/>
                <a:gd name="connsiteX7" fmla="*/ 102394 w 664369"/>
                <a:gd name="connsiteY7" fmla="*/ 335756 h 728705"/>
                <a:gd name="connsiteX8" fmla="*/ 100013 w 664369"/>
                <a:gd name="connsiteY8" fmla="*/ 359569 h 728705"/>
                <a:gd name="connsiteX9" fmla="*/ 104775 w 664369"/>
                <a:gd name="connsiteY9" fmla="*/ 373856 h 728705"/>
                <a:gd name="connsiteX10" fmla="*/ 83344 w 664369"/>
                <a:gd name="connsiteY10" fmla="*/ 392906 h 728705"/>
                <a:gd name="connsiteX11" fmla="*/ 80963 w 664369"/>
                <a:gd name="connsiteY11" fmla="*/ 397669 h 728705"/>
                <a:gd name="connsiteX12" fmla="*/ 69056 w 664369"/>
                <a:gd name="connsiteY12" fmla="*/ 373856 h 728705"/>
                <a:gd name="connsiteX13" fmla="*/ 45244 w 664369"/>
                <a:gd name="connsiteY13" fmla="*/ 385762 h 728705"/>
                <a:gd name="connsiteX14" fmla="*/ 45244 w 664369"/>
                <a:gd name="connsiteY14" fmla="*/ 426244 h 728705"/>
                <a:gd name="connsiteX15" fmla="*/ 52388 w 664369"/>
                <a:gd name="connsiteY15" fmla="*/ 442912 h 728705"/>
                <a:gd name="connsiteX16" fmla="*/ 0 w 664369"/>
                <a:gd name="connsiteY16" fmla="*/ 507206 h 728705"/>
                <a:gd name="connsiteX17" fmla="*/ 33338 w 664369"/>
                <a:gd name="connsiteY17" fmla="*/ 611981 h 728705"/>
                <a:gd name="connsiteX18" fmla="*/ 88106 w 664369"/>
                <a:gd name="connsiteY18" fmla="*/ 647700 h 728705"/>
                <a:gd name="connsiteX19" fmla="*/ 104775 w 664369"/>
                <a:gd name="connsiteY19" fmla="*/ 642937 h 728705"/>
                <a:gd name="connsiteX20" fmla="*/ 152400 w 664369"/>
                <a:gd name="connsiteY20" fmla="*/ 690562 h 728705"/>
                <a:gd name="connsiteX21" fmla="*/ 169069 w 664369"/>
                <a:gd name="connsiteY21" fmla="*/ 690562 h 728705"/>
                <a:gd name="connsiteX22" fmla="*/ 214313 w 664369"/>
                <a:gd name="connsiteY22" fmla="*/ 728705 h 728705"/>
                <a:gd name="connsiteX23" fmla="*/ 230981 w 664369"/>
                <a:gd name="connsiteY23" fmla="*/ 671512 h 728705"/>
                <a:gd name="connsiteX24" fmla="*/ 285750 w 664369"/>
                <a:gd name="connsiteY24" fmla="*/ 650081 h 728705"/>
                <a:gd name="connsiteX25" fmla="*/ 354803 w 664369"/>
                <a:gd name="connsiteY25" fmla="*/ 628692 h 728705"/>
                <a:gd name="connsiteX26" fmla="*/ 369094 w 664369"/>
                <a:gd name="connsiteY26" fmla="*/ 602456 h 728705"/>
                <a:gd name="connsiteX27" fmla="*/ 366713 w 664369"/>
                <a:gd name="connsiteY27" fmla="*/ 564356 h 728705"/>
                <a:gd name="connsiteX28" fmla="*/ 369094 w 664369"/>
                <a:gd name="connsiteY28" fmla="*/ 533400 h 728705"/>
                <a:gd name="connsiteX29" fmla="*/ 373856 w 664369"/>
                <a:gd name="connsiteY29" fmla="*/ 502444 h 728705"/>
                <a:gd name="connsiteX30" fmla="*/ 381000 w 664369"/>
                <a:gd name="connsiteY30" fmla="*/ 478631 h 728705"/>
                <a:gd name="connsiteX31" fmla="*/ 407194 w 664369"/>
                <a:gd name="connsiteY31" fmla="*/ 440531 h 728705"/>
                <a:gd name="connsiteX32" fmla="*/ 428625 w 664369"/>
                <a:gd name="connsiteY32" fmla="*/ 390525 h 728705"/>
                <a:gd name="connsiteX33" fmla="*/ 428625 w 664369"/>
                <a:gd name="connsiteY33" fmla="*/ 390525 h 728705"/>
                <a:gd name="connsiteX34" fmla="*/ 476250 w 664369"/>
                <a:gd name="connsiteY34" fmla="*/ 359569 h 728705"/>
                <a:gd name="connsiteX35" fmla="*/ 502444 w 664369"/>
                <a:gd name="connsiteY35" fmla="*/ 335756 h 728705"/>
                <a:gd name="connsiteX36" fmla="*/ 507206 w 664369"/>
                <a:gd name="connsiteY36" fmla="*/ 297656 h 728705"/>
                <a:gd name="connsiteX37" fmla="*/ 573881 w 664369"/>
                <a:gd name="connsiteY37" fmla="*/ 192881 h 728705"/>
                <a:gd name="connsiteX38" fmla="*/ 571500 w 664369"/>
                <a:gd name="connsiteY38" fmla="*/ 173831 h 728705"/>
                <a:gd name="connsiteX39" fmla="*/ 573881 w 664369"/>
                <a:gd name="connsiteY39" fmla="*/ 164306 h 728705"/>
                <a:gd name="connsiteX40" fmla="*/ 614363 w 664369"/>
                <a:gd name="connsiteY40" fmla="*/ 154781 h 728705"/>
                <a:gd name="connsiteX41" fmla="*/ 628650 w 664369"/>
                <a:gd name="connsiteY41" fmla="*/ 164306 h 728705"/>
                <a:gd name="connsiteX42" fmla="*/ 647700 w 664369"/>
                <a:gd name="connsiteY42" fmla="*/ 166687 h 728705"/>
                <a:gd name="connsiteX43" fmla="*/ 659606 w 664369"/>
                <a:gd name="connsiteY43" fmla="*/ 138112 h 728705"/>
                <a:gd name="connsiteX44" fmla="*/ 664369 w 664369"/>
                <a:gd name="connsiteY44" fmla="*/ 123825 h 728705"/>
                <a:gd name="connsiteX45" fmla="*/ 645319 w 664369"/>
                <a:gd name="connsiteY45" fmla="*/ 109537 h 728705"/>
                <a:gd name="connsiteX46" fmla="*/ 642938 w 664369"/>
                <a:gd name="connsiteY46" fmla="*/ 97631 h 728705"/>
                <a:gd name="connsiteX47" fmla="*/ 621506 w 664369"/>
                <a:gd name="connsiteY47" fmla="*/ 88106 h 728705"/>
                <a:gd name="connsiteX48" fmla="*/ 590550 w 664369"/>
                <a:gd name="connsiteY48" fmla="*/ 92869 h 728705"/>
                <a:gd name="connsiteX49" fmla="*/ 573881 w 664369"/>
                <a:gd name="connsiteY49" fmla="*/ 109537 h 728705"/>
                <a:gd name="connsiteX50" fmla="*/ 564356 w 664369"/>
                <a:gd name="connsiteY50" fmla="*/ 121444 h 728705"/>
                <a:gd name="connsiteX51" fmla="*/ 547688 w 664369"/>
                <a:gd name="connsiteY51" fmla="*/ 130969 h 728705"/>
                <a:gd name="connsiteX52" fmla="*/ 528638 w 664369"/>
                <a:gd name="connsiteY52" fmla="*/ 138112 h 728705"/>
                <a:gd name="connsiteX53" fmla="*/ 516731 w 664369"/>
                <a:gd name="connsiteY53" fmla="*/ 133350 h 728705"/>
                <a:gd name="connsiteX54" fmla="*/ 502444 w 664369"/>
                <a:gd name="connsiteY54" fmla="*/ 133350 h 728705"/>
                <a:gd name="connsiteX55" fmla="*/ 495300 w 664369"/>
                <a:gd name="connsiteY55" fmla="*/ 126206 h 728705"/>
                <a:gd name="connsiteX56" fmla="*/ 478631 w 664369"/>
                <a:gd name="connsiteY56" fmla="*/ 169069 h 728705"/>
                <a:gd name="connsiteX57" fmla="*/ 469106 w 664369"/>
                <a:gd name="connsiteY57" fmla="*/ 178594 h 728705"/>
                <a:gd name="connsiteX58" fmla="*/ 459581 w 664369"/>
                <a:gd name="connsiteY58" fmla="*/ 178594 h 728705"/>
                <a:gd name="connsiteX59" fmla="*/ 459581 w 664369"/>
                <a:gd name="connsiteY59" fmla="*/ 178594 h 728705"/>
                <a:gd name="connsiteX60" fmla="*/ 445294 w 664369"/>
                <a:gd name="connsiteY60" fmla="*/ 192881 h 728705"/>
                <a:gd name="connsiteX61" fmla="*/ 431006 w 664369"/>
                <a:gd name="connsiteY61" fmla="*/ 204787 h 728705"/>
                <a:gd name="connsiteX62" fmla="*/ 421481 w 664369"/>
                <a:gd name="connsiteY62" fmla="*/ 211931 h 728705"/>
                <a:gd name="connsiteX63" fmla="*/ 411956 w 664369"/>
                <a:gd name="connsiteY63" fmla="*/ 190500 h 728705"/>
                <a:gd name="connsiteX64" fmla="*/ 397669 w 664369"/>
                <a:gd name="connsiteY64" fmla="*/ 169069 h 728705"/>
                <a:gd name="connsiteX65" fmla="*/ 385763 w 664369"/>
                <a:gd name="connsiteY65" fmla="*/ 150019 h 728705"/>
                <a:gd name="connsiteX66" fmla="*/ 247650 w 664369"/>
                <a:gd name="connsiteY66" fmla="*/ 185737 h 728705"/>
                <a:gd name="connsiteX67" fmla="*/ 202406 w 664369"/>
                <a:gd name="connsiteY67" fmla="*/ 0 h 728705"/>
                <a:gd name="connsiteX68" fmla="*/ 190500 w 664369"/>
                <a:gd name="connsiteY68" fmla="*/ 4762 h 728705"/>
                <a:gd name="connsiteX0" fmla="*/ 190500 w 664369"/>
                <a:gd name="connsiteY0" fmla="*/ 4762 h 728705"/>
                <a:gd name="connsiteX1" fmla="*/ 195263 w 664369"/>
                <a:gd name="connsiteY1" fmla="*/ 78581 h 728705"/>
                <a:gd name="connsiteX2" fmla="*/ 195263 w 664369"/>
                <a:gd name="connsiteY2" fmla="*/ 183356 h 728705"/>
                <a:gd name="connsiteX3" fmla="*/ 147638 w 664369"/>
                <a:gd name="connsiteY3" fmla="*/ 269081 h 728705"/>
                <a:gd name="connsiteX4" fmla="*/ 111919 w 664369"/>
                <a:gd name="connsiteY4" fmla="*/ 290512 h 728705"/>
                <a:gd name="connsiteX5" fmla="*/ 92869 w 664369"/>
                <a:gd name="connsiteY5" fmla="*/ 302419 h 728705"/>
                <a:gd name="connsiteX6" fmla="*/ 90488 w 664369"/>
                <a:gd name="connsiteY6" fmla="*/ 330994 h 728705"/>
                <a:gd name="connsiteX7" fmla="*/ 102394 w 664369"/>
                <a:gd name="connsiteY7" fmla="*/ 335756 h 728705"/>
                <a:gd name="connsiteX8" fmla="*/ 100013 w 664369"/>
                <a:gd name="connsiteY8" fmla="*/ 359569 h 728705"/>
                <a:gd name="connsiteX9" fmla="*/ 104775 w 664369"/>
                <a:gd name="connsiteY9" fmla="*/ 373856 h 728705"/>
                <a:gd name="connsiteX10" fmla="*/ 83344 w 664369"/>
                <a:gd name="connsiteY10" fmla="*/ 392906 h 728705"/>
                <a:gd name="connsiteX11" fmla="*/ 80963 w 664369"/>
                <a:gd name="connsiteY11" fmla="*/ 397669 h 728705"/>
                <a:gd name="connsiteX12" fmla="*/ 69056 w 664369"/>
                <a:gd name="connsiteY12" fmla="*/ 373856 h 728705"/>
                <a:gd name="connsiteX13" fmla="*/ 45244 w 664369"/>
                <a:gd name="connsiteY13" fmla="*/ 385762 h 728705"/>
                <a:gd name="connsiteX14" fmla="*/ 45244 w 664369"/>
                <a:gd name="connsiteY14" fmla="*/ 426244 h 728705"/>
                <a:gd name="connsiteX15" fmla="*/ 52388 w 664369"/>
                <a:gd name="connsiteY15" fmla="*/ 442912 h 728705"/>
                <a:gd name="connsiteX16" fmla="*/ 0 w 664369"/>
                <a:gd name="connsiteY16" fmla="*/ 507206 h 728705"/>
                <a:gd name="connsiteX17" fmla="*/ 33338 w 664369"/>
                <a:gd name="connsiteY17" fmla="*/ 611981 h 728705"/>
                <a:gd name="connsiteX18" fmla="*/ 88106 w 664369"/>
                <a:gd name="connsiteY18" fmla="*/ 647700 h 728705"/>
                <a:gd name="connsiteX19" fmla="*/ 104775 w 664369"/>
                <a:gd name="connsiteY19" fmla="*/ 642937 h 728705"/>
                <a:gd name="connsiteX20" fmla="*/ 152400 w 664369"/>
                <a:gd name="connsiteY20" fmla="*/ 690562 h 728705"/>
                <a:gd name="connsiteX21" fmla="*/ 214313 w 664369"/>
                <a:gd name="connsiteY21" fmla="*/ 728705 h 728705"/>
                <a:gd name="connsiteX22" fmla="*/ 230981 w 664369"/>
                <a:gd name="connsiteY22" fmla="*/ 671512 h 728705"/>
                <a:gd name="connsiteX23" fmla="*/ 285750 w 664369"/>
                <a:gd name="connsiteY23" fmla="*/ 650081 h 728705"/>
                <a:gd name="connsiteX24" fmla="*/ 354803 w 664369"/>
                <a:gd name="connsiteY24" fmla="*/ 628692 h 728705"/>
                <a:gd name="connsiteX25" fmla="*/ 369094 w 664369"/>
                <a:gd name="connsiteY25" fmla="*/ 602456 h 728705"/>
                <a:gd name="connsiteX26" fmla="*/ 366713 w 664369"/>
                <a:gd name="connsiteY26" fmla="*/ 564356 h 728705"/>
                <a:gd name="connsiteX27" fmla="*/ 369094 w 664369"/>
                <a:gd name="connsiteY27" fmla="*/ 533400 h 728705"/>
                <a:gd name="connsiteX28" fmla="*/ 373856 w 664369"/>
                <a:gd name="connsiteY28" fmla="*/ 502444 h 728705"/>
                <a:gd name="connsiteX29" fmla="*/ 381000 w 664369"/>
                <a:gd name="connsiteY29" fmla="*/ 478631 h 728705"/>
                <a:gd name="connsiteX30" fmla="*/ 407194 w 664369"/>
                <a:gd name="connsiteY30" fmla="*/ 440531 h 728705"/>
                <a:gd name="connsiteX31" fmla="*/ 428625 w 664369"/>
                <a:gd name="connsiteY31" fmla="*/ 390525 h 728705"/>
                <a:gd name="connsiteX32" fmla="*/ 428625 w 664369"/>
                <a:gd name="connsiteY32" fmla="*/ 390525 h 728705"/>
                <a:gd name="connsiteX33" fmla="*/ 476250 w 664369"/>
                <a:gd name="connsiteY33" fmla="*/ 359569 h 728705"/>
                <a:gd name="connsiteX34" fmla="*/ 502444 w 664369"/>
                <a:gd name="connsiteY34" fmla="*/ 335756 h 728705"/>
                <a:gd name="connsiteX35" fmla="*/ 507206 w 664369"/>
                <a:gd name="connsiteY35" fmla="*/ 297656 h 728705"/>
                <a:gd name="connsiteX36" fmla="*/ 573881 w 664369"/>
                <a:gd name="connsiteY36" fmla="*/ 192881 h 728705"/>
                <a:gd name="connsiteX37" fmla="*/ 571500 w 664369"/>
                <a:gd name="connsiteY37" fmla="*/ 173831 h 728705"/>
                <a:gd name="connsiteX38" fmla="*/ 573881 w 664369"/>
                <a:gd name="connsiteY38" fmla="*/ 164306 h 728705"/>
                <a:gd name="connsiteX39" fmla="*/ 614363 w 664369"/>
                <a:gd name="connsiteY39" fmla="*/ 154781 h 728705"/>
                <a:gd name="connsiteX40" fmla="*/ 628650 w 664369"/>
                <a:gd name="connsiteY40" fmla="*/ 164306 h 728705"/>
                <a:gd name="connsiteX41" fmla="*/ 647700 w 664369"/>
                <a:gd name="connsiteY41" fmla="*/ 166687 h 728705"/>
                <a:gd name="connsiteX42" fmla="*/ 659606 w 664369"/>
                <a:gd name="connsiteY42" fmla="*/ 138112 h 728705"/>
                <a:gd name="connsiteX43" fmla="*/ 664369 w 664369"/>
                <a:gd name="connsiteY43" fmla="*/ 123825 h 728705"/>
                <a:gd name="connsiteX44" fmla="*/ 645319 w 664369"/>
                <a:gd name="connsiteY44" fmla="*/ 109537 h 728705"/>
                <a:gd name="connsiteX45" fmla="*/ 642938 w 664369"/>
                <a:gd name="connsiteY45" fmla="*/ 97631 h 728705"/>
                <a:gd name="connsiteX46" fmla="*/ 621506 w 664369"/>
                <a:gd name="connsiteY46" fmla="*/ 88106 h 728705"/>
                <a:gd name="connsiteX47" fmla="*/ 590550 w 664369"/>
                <a:gd name="connsiteY47" fmla="*/ 92869 h 728705"/>
                <a:gd name="connsiteX48" fmla="*/ 573881 w 664369"/>
                <a:gd name="connsiteY48" fmla="*/ 109537 h 728705"/>
                <a:gd name="connsiteX49" fmla="*/ 564356 w 664369"/>
                <a:gd name="connsiteY49" fmla="*/ 121444 h 728705"/>
                <a:gd name="connsiteX50" fmla="*/ 547688 w 664369"/>
                <a:gd name="connsiteY50" fmla="*/ 130969 h 728705"/>
                <a:gd name="connsiteX51" fmla="*/ 528638 w 664369"/>
                <a:gd name="connsiteY51" fmla="*/ 138112 h 728705"/>
                <a:gd name="connsiteX52" fmla="*/ 516731 w 664369"/>
                <a:gd name="connsiteY52" fmla="*/ 133350 h 728705"/>
                <a:gd name="connsiteX53" fmla="*/ 502444 w 664369"/>
                <a:gd name="connsiteY53" fmla="*/ 133350 h 728705"/>
                <a:gd name="connsiteX54" fmla="*/ 495300 w 664369"/>
                <a:gd name="connsiteY54" fmla="*/ 126206 h 728705"/>
                <a:gd name="connsiteX55" fmla="*/ 478631 w 664369"/>
                <a:gd name="connsiteY55" fmla="*/ 169069 h 728705"/>
                <a:gd name="connsiteX56" fmla="*/ 469106 w 664369"/>
                <a:gd name="connsiteY56" fmla="*/ 178594 h 728705"/>
                <a:gd name="connsiteX57" fmla="*/ 459581 w 664369"/>
                <a:gd name="connsiteY57" fmla="*/ 178594 h 728705"/>
                <a:gd name="connsiteX58" fmla="*/ 459581 w 664369"/>
                <a:gd name="connsiteY58" fmla="*/ 178594 h 728705"/>
                <a:gd name="connsiteX59" fmla="*/ 445294 w 664369"/>
                <a:gd name="connsiteY59" fmla="*/ 192881 h 728705"/>
                <a:gd name="connsiteX60" fmla="*/ 431006 w 664369"/>
                <a:gd name="connsiteY60" fmla="*/ 204787 h 728705"/>
                <a:gd name="connsiteX61" fmla="*/ 421481 w 664369"/>
                <a:gd name="connsiteY61" fmla="*/ 211931 h 728705"/>
                <a:gd name="connsiteX62" fmla="*/ 411956 w 664369"/>
                <a:gd name="connsiteY62" fmla="*/ 190500 h 728705"/>
                <a:gd name="connsiteX63" fmla="*/ 397669 w 664369"/>
                <a:gd name="connsiteY63" fmla="*/ 169069 h 728705"/>
                <a:gd name="connsiteX64" fmla="*/ 385763 w 664369"/>
                <a:gd name="connsiteY64" fmla="*/ 150019 h 728705"/>
                <a:gd name="connsiteX65" fmla="*/ 247650 w 664369"/>
                <a:gd name="connsiteY65" fmla="*/ 185737 h 728705"/>
                <a:gd name="connsiteX66" fmla="*/ 202406 w 664369"/>
                <a:gd name="connsiteY66" fmla="*/ 0 h 728705"/>
                <a:gd name="connsiteX67" fmla="*/ 190500 w 664369"/>
                <a:gd name="connsiteY67" fmla="*/ 4762 h 728705"/>
                <a:gd name="connsiteX0" fmla="*/ 190500 w 664369"/>
                <a:gd name="connsiteY0" fmla="*/ 4762 h 728705"/>
                <a:gd name="connsiteX1" fmla="*/ 195263 w 664369"/>
                <a:gd name="connsiteY1" fmla="*/ 78581 h 728705"/>
                <a:gd name="connsiteX2" fmla="*/ 195263 w 664369"/>
                <a:gd name="connsiteY2" fmla="*/ 183356 h 728705"/>
                <a:gd name="connsiteX3" fmla="*/ 147638 w 664369"/>
                <a:gd name="connsiteY3" fmla="*/ 269081 h 728705"/>
                <a:gd name="connsiteX4" fmla="*/ 111919 w 664369"/>
                <a:gd name="connsiteY4" fmla="*/ 290512 h 728705"/>
                <a:gd name="connsiteX5" fmla="*/ 92869 w 664369"/>
                <a:gd name="connsiteY5" fmla="*/ 302419 h 728705"/>
                <a:gd name="connsiteX6" fmla="*/ 90488 w 664369"/>
                <a:gd name="connsiteY6" fmla="*/ 330994 h 728705"/>
                <a:gd name="connsiteX7" fmla="*/ 102394 w 664369"/>
                <a:gd name="connsiteY7" fmla="*/ 335756 h 728705"/>
                <a:gd name="connsiteX8" fmla="*/ 100013 w 664369"/>
                <a:gd name="connsiteY8" fmla="*/ 359569 h 728705"/>
                <a:gd name="connsiteX9" fmla="*/ 104775 w 664369"/>
                <a:gd name="connsiteY9" fmla="*/ 373856 h 728705"/>
                <a:gd name="connsiteX10" fmla="*/ 83344 w 664369"/>
                <a:gd name="connsiteY10" fmla="*/ 392906 h 728705"/>
                <a:gd name="connsiteX11" fmla="*/ 80963 w 664369"/>
                <a:gd name="connsiteY11" fmla="*/ 397669 h 728705"/>
                <a:gd name="connsiteX12" fmla="*/ 76191 w 664369"/>
                <a:gd name="connsiteY12" fmla="*/ 366696 h 728705"/>
                <a:gd name="connsiteX13" fmla="*/ 45244 w 664369"/>
                <a:gd name="connsiteY13" fmla="*/ 385762 h 728705"/>
                <a:gd name="connsiteX14" fmla="*/ 45244 w 664369"/>
                <a:gd name="connsiteY14" fmla="*/ 426244 h 728705"/>
                <a:gd name="connsiteX15" fmla="*/ 52388 w 664369"/>
                <a:gd name="connsiteY15" fmla="*/ 442912 h 728705"/>
                <a:gd name="connsiteX16" fmla="*/ 0 w 664369"/>
                <a:gd name="connsiteY16" fmla="*/ 507206 h 728705"/>
                <a:gd name="connsiteX17" fmla="*/ 33338 w 664369"/>
                <a:gd name="connsiteY17" fmla="*/ 611981 h 728705"/>
                <a:gd name="connsiteX18" fmla="*/ 88106 w 664369"/>
                <a:gd name="connsiteY18" fmla="*/ 647700 h 728705"/>
                <a:gd name="connsiteX19" fmla="*/ 104775 w 664369"/>
                <a:gd name="connsiteY19" fmla="*/ 642937 h 728705"/>
                <a:gd name="connsiteX20" fmla="*/ 152400 w 664369"/>
                <a:gd name="connsiteY20" fmla="*/ 690562 h 728705"/>
                <a:gd name="connsiteX21" fmla="*/ 214313 w 664369"/>
                <a:gd name="connsiteY21" fmla="*/ 728705 h 728705"/>
                <a:gd name="connsiteX22" fmla="*/ 230981 w 664369"/>
                <a:gd name="connsiteY22" fmla="*/ 671512 h 728705"/>
                <a:gd name="connsiteX23" fmla="*/ 285750 w 664369"/>
                <a:gd name="connsiteY23" fmla="*/ 650081 h 728705"/>
                <a:gd name="connsiteX24" fmla="*/ 354803 w 664369"/>
                <a:gd name="connsiteY24" fmla="*/ 628692 h 728705"/>
                <a:gd name="connsiteX25" fmla="*/ 369094 w 664369"/>
                <a:gd name="connsiteY25" fmla="*/ 602456 h 728705"/>
                <a:gd name="connsiteX26" fmla="*/ 366713 w 664369"/>
                <a:gd name="connsiteY26" fmla="*/ 564356 h 728705"/>
                <a:gd name="connsiteX27" fmla="*/ 369094 w 664369"/>
                <a:gd name="connsiteY27" fmla="*/ 533400 h 728705"/>
                <a:gd name="connsiteX28" fmla="*/ 373856 w 664369"/>
                <a:gd name="connsiteY28" fmla="*/ 502444 h 728705"/>
                <a:gd name="connsiteX29" fmla="*/ 381000 w 664369"/>
                <a:gd name="connsiteY29" fmla="*/ 478631 h 728705"/>
                <a:gd name="connsiteX30" fmla="*/ 407194 w 664369"/>
                <a:gd name="connsiteY30" fmla="*/ 440531 h 728705"/>
                <a:gd name="connsiteX31" fmla="*/ 428625 w 664369"/>
                <a:gd name="connsiteY31" fmla="*/ 390525 h 728705"/>
                <a:gd name="connsiteX32" fmla="*/ 428625 w 664369"/>
                <a:gd name="connsiteY32" fmla="*/ 390525 h 728705"/>
                <a:gd name="connsiteX33" fmla="*/ 476250 w 664369"/>
                <a:gd name="connsiteY33" fmla="*/ 359569 h 728705"/>
                <a:gd name="connsiteX34" fmla="*/ 502444 w 664369"/>
                <a:gd name="connsiteY34" fmla="*/ 335756 h 728705"/>
                <a:gd name="connsiteX35" fmla="*/ 507206 w 664369"/>
                <a:gd name="connsiteY35" fmla="*/ 297656 h 728705"/>
                <a:gd name="connsiteX36" fmla="*/ 573881 w 664369"/>
                <a:gd name="connsiteY36" fmla="*/ 192881 h 728705"/>
                <a:gd name="connsiteX37" fmla="*/ 571500 w 664369"/>
                <a:gd name="connsiteY37" fmla="*/ 173831 h 728705"/>
                <a:gd name="connsiteX38" fmla="*/ 573881 w 664369"/>
                <a:gd name="connsiteY38" fmla="*/ 164306 h 728705"/>
                <a:gd name="connsiteX39" fmla="*/ 614363 w 664369"/>
                <a:gd name="connsiteY39" fmla="*/ 154781 h 728705"/>
                <a:gd name="connsiteX40" fmla="*/ 628650 w 664369"/>
                <a:gd name="connsiteY40" fmla="*/ 164306 h 728705"/>
                <a:gd name="connsiteX41" fmla="*/ 647700 w 664369"/>
                <a:gd name="connsiteY41" fmla="*/ 166687 h 728705"/>
                <a:gd name="connsiteX42" fmla="*/ 659606 w 664369"/>
                <a:gd name="connsiteY42" fmla="*/ 138112 h 728705"/>
                <a:gd name="connsiteX43" fmla="*/ 664369 w 664369"/>
                <a:gd name="connsiteY43" fmla="*/ 123825 h 728705"/>
                <a:gd name="connsiteX44" fmla="*/ 645319 w 664369"/>
                <a:gd name="connsiteY44" fmla="*/ 109537 h 728705"/>
                <a:gd name="connsiteX45" fmla="*/ 642938 w 664369"/>
                <a:gd name="connsiteY45" fmla="*/ 97631 h 728705"/>
                <a:gd name="connsiteX46" fmla="*/ 621506 w 664369"/>
                <a:gd name="connsiteY46" fmla="*/ 88106 h 728705"/>
                <a:gd name="connsiteX47" fmla="*/ 590550 w 664369"/>
                <a:gd name="connsiteY47" fmla="*/ 92869 h 728705"/>
                <a:gd name="connsiteX48" fmla="*/ 573881 w 664369"/>
                <a:gd name="connsiteY48" fmla="*/ 109537 h 728705"/>
                <a:gd name="connsiteX49" fmla="*/ 564356 w 664369"/>
                <a:gd name="connsiteY49" fmla="*/ 121444 h 728705"/>
                <a:gd name="connsiteX50" fmla="*/ 547688 w 664369"/>
                <a:gd name="connsiteY50" fmla="*/ 130969 h 728705"/>
                <a:gd name="connsiteX51" fmla="*/ 528638 w 664369"/>
                <a:gd name="connsiteY51" fmla="*/ 138112 h 728705"/>
                <a:gd name="connsiteX52" fmla="*/ 516731 w 664369"/>
                <a:gd name="connsiteY52" fmla="*/ 133350 h 728705"/>
                <a:gd name="connsiteX53" fmla="*/ 502444 w 664369"/>
                <a:gd name="connsiteY53" fmla="*/ 133350 h 728705"/>
                <a:gd name="connsiteX54" fmla="*/ 495300 w 664369"/>
                <a:gd name="connsiteY54" fmla="*/ 126206 h 728705"/>
                <a:gd name="connsiteX55" fmla="*/ 478631 w 664369"/>
                <a:gd name="connsiteY55" fmla="*/ 169069 h 728705"/>
                <a:gd name="connsiteX56" fmla="*/ 469106 w 664369"/>
                <a:gd name="connsiteY56" fmla="*/ 178594 h 728705"/>
                <a:gd name="connsiteX57" fmla="*/ 459581 w 664369"/>
                <a:gd name="connsiteY57" fmla="*/ 178594 h 728705"/>
                <a:gd name="connsiteX58" fmla="*/ 459581 w 664369"/>
                <a:gd name="connsiteY58" fmla="*/ 178594 h 728705"/>
                <a:gd name="connsiteX59" fmla="*/ 445294 w 664369"/>
                <a:gd name="connsiteY59" fmla="*/ 192881 h 728705"/>
                <a:gd name="connsiteX60" fmla="*/ 431006 w 664369"/>
                <a:gd name="connsiteY60" fmla="*/ 204787 h 728705"/>
                <a:gd name="connsiteX61" fmla="*/ 421481 w 664369"/>
                <a:gd name="connsiteY61" fmla="*/ 211931 h 728705"/>
                <a:gd name="connsiteX62" fmla="*/ 411956 w 664369"/>
                <a:gd name="connsiteY62" fmla="*/ 190500 h 728705"/>
                <a:gd name="connsiteX63" fmla="*/ 397669 w 664369"/>
                <a:gd name="connsiteY63" fmla="*/ 169069 h 728705"/>
                <a:gd name="connsiteX64" fmla="*/ 385763 w 664369"/>
                <a:gd name="connsiteY64" fmla="*/ 150019 h 728705"/>
                <a:gd name="connsiteX65" fmla="*/ 247650 w 664369"/>
                <a:gd name="connsiteY65" fmla="*/ 185737 h 728705"/>
                <a:gd name="connsiteX66" fmla="*/ 202406 w 664369"/>
                <a:gd name="connsiteY66" fmla="*/ 0 h 728705"/>
                <a:gd name="connsiteX67" fmla="*/ 190500 w 664369"/>
                <a:gd name="connsiteY67" fmla="*/ 4762 h 728705"/>
                <a:gd name="connsiteX0" fmla="*/ 190500 w 664369"/>
                <a:gd name="connsiteY0" fmla="*/ 4762 h 728705"/>
                <a:gd name="connsiteX1" fmla="*/ 195263 w 664369"/>
                <a:gd name="connsiteY1" fmla="*/ 78581 h 728705"/>
                <a:gd name="connsiteX2" fmla="*/ 195263 w 664369"/>
                <a:gd name="connsiteY2" fmla="*/ 183356 h 728705"/>
                <a:gd name="connsiteX3" fmla="*/ 147638 w 664369"/>
                <a:gd name="connsiteY3" fmla="*/ 269081 h 728705"/>
                <a:gd name="connsiteX4" fmla="*/ 111919 w 664369"/>
                <a:gd name="connsiteY4" fmla="*/ 290512 h 728705"/>
                <a:gd name="connsiteX5" fmla="*/ 92869 w 664369"/>
                <a:gd name="connsiteY5" fmla="*/ 302419 h 728705"/>
                <a:gd name="connsiteX6" fmla="*/ 90488 w 664369"/>
                <a:gd name="connsiteY6" fmla="*/ 330994 h 728705"/>
                <a:gd name="connsiteX7" fmla="*/ 102394 w 664369"/>
                <a:gd name="connsiteY7" fmla="*/ 335756 h 728705"/>
                <a:gd name="connsiteX8" fmla="*/ 100013 w 664369"/>
                <a:gd name="connsiteY8" fmla="*/ 359569 h 728705"/>
                <a:gd name="connsiteX9" fmla="*/ 104775 w 664369"/>
                <a:gd name="connsiteY9" fmla="*/ 373856 h 728705"/>
                <a:gd name="connsiteX10" fmla="*/ 83344 w 664369"/>
                <a:gd name="connsiteY10" fmla="*/ 392906 h 728705"/>
                <a:gd name="connsiteX11" fmla="*/ 133288 w 664369"/>
                <a:gd name="connsiteY11" fmla="*/ 443014 h 728705"/>
                <a:gd name="connsiteX12" fmla="*/ 76191 w 664369"/>
                <a:gd name="connsiteY12" fmla="*/ 366696 h 728705"/>
                <a:gd name="connsiteX13" fmla="*/ 45244 w 664369"/>
                <a:gd name="connsiteY13" fmla="*/ 385762 h 728705"/>
                <a:gd name="connsiteX14" fmla="*/ 45244 w 664369"/>
                <a:gd name="connsiteY14" fmla="*/ 426244 h 728705"/>
                <a:gd name="connsiteX15" fmla="*/ 52388 w 664369"/>
                <a:gd name="connsiteY15" fmla="*/ 442912 h 728705"/>
                <a:gd name="connsiteX16" fmla="*/ 0 w 664369"/>
                <a:gd name="connsiteY16" fmla="*/ 507206 h 728705"/>
                <a:gd name="connsiteX17" fmla="*/ 33338 w 664369"/>
                <a:gd name="connsiteY17" fmla="*/ 611981 h 728705"/>
                <a:gd name="connsiteX18" fmla="*/ 88106 w 664369"/>
                <a:gd name="connsiteY18" fmla="*/ 647700 h 728705"/>
                <a:gd name="connsiteX19" fmla="*/ 104775 w 664369"/>
                <a:gd name="connsiteY19" fmla="*/ 642937 h 728705"/>
                <a:gd name="connsiteX20" fmla="*/ 152400 w 664369"/>
                <a:gd name="connsiteY20" fmla="*/ 690562 h 728705"/>
                <a:gd name="connsiteX21" fmla="*/ 214313 w 664369"/>
                <a:gd name="connsiteY21" fmla="*/ 728705 h 728705"/>
                <a:gd name="connsiteX22" fmla="*/ 230981 w 664369"/>
                <a:gd name="connsiteY22" fmla="*/ 671512 h 728705"/>
                <a:gd name="connsiteX23" fmla="*/ 285750 w 664369"/>
                <a:gd name="connsiteY23" fmla="*/ 650081 h 728705"/>
                <a:gd name="connsiteX24" fmla="*/ 354803 w 664369"/>
                <a:gd name="connsiteY24" fmla="*/ 628692 h 728705"/>
                <a:gd name="connsiteX25" fmla="*/ 369094 w 664369"/>
                <a:gd name="connsiteY25" fmla="*/ 602456 h 728705"/>
                <a:gd name="connsiteX26" fmla="*/ 366713 w 664369"/>
                <a:gd name="connsiteY26" fmla="*/ 564356 h 728705"/>
                <a:gd name="connsiteX27" fmla="*/ 369094 w 664369"/>
                <a:gd name="connsiteY27" fmla="*/ 533400 h 728705"/>
                <a:gd name="connsiteX28" fmla="*/ 373856 w 664369"/>
                <a:gd name="connsiteY28" fmla="*/ 502444 h 728705"/>
                <a:gd name="connsiteX29" fmla="*/ 381000 w 664369"/>
                <a:gd name="connsiteY29" fmla="*/ 478631 h 728705"/>
                <a:gd name="connsiteX30" fmla="*/ 407194 w 664369"/>
                <a:gd name="connsiteY30" fmla="*/ 440531 h 728705"/>
                <a:gd name="connsiteX31" fmla="*/ 428625 w 664369"/>
                <a:gd name="connsiteY31" fmla="*/ 390525 h 728705"/>
                <a:gd name="connsiteX32" fmla="*/ 428625 w 664369"/>
                <a:gd name="connsiteY32" fmla="*/ 390525 h 728705"/>
                <a:gd name="connsiteX33" fmla="*/ 476250 w 664369"/>
                <a:gd name="connsiteY33" fmla="*/ 359569 h 728705"/>
                <a:gd name="connsiteX34" fmla="*/ 502444 w 664369"/>
                <a:gd name="connsiteY34" fmla="*/ 335756 h 728705"/>
                <a:gd name="connsiteX35" fmla="*/ 507206 w 664369"/>
                <a:gd name="connsiteY35" fmla="*/ 297656 h 728705"/>
                <a:gd name="connsiteX36" fmla="*/ 573881 w 664369"/>
                <a:gd name="connsiteY36" fmla="*/ 192881 h 728705"/>
                <a:gd name="connsiteX37" fmla="*/ 571500 w 664369"/>
                <a:gd name="connsiteY37" fmla="*/ 173831 h 728705"/>
                <a:gd name="connsiteX38" fmla="*/ 573881 w 664369"/>
                <a:gd name="connsiteY38" fmla="*/ 164306 h 728705"/>
                <a:gd name="connsiteX39" fmla="*/ 614363 w 664369"/>
                <a:gd name="connsiteY39" fmla="*/ 154781 h 728705"/>
                <a:gd name="connsiteX40" fmla="*/ 628650 w 664369"/>
                <a:gd name="connsiteY40" fmla="*/ 164306 h 728705"/>
                <a:gd name="connsiteX41" fmla="*/ 647700 w 664369"/>
                <a:gd name="connsiteY41" fmla="*/ 166687 h 728705"/>
                <a:gd name="connsiteX42" fmla="*/ 659606 w 664369"/>
                <a:gd name="connsiteY42" fmla="*/ 138112 h 728705"/>
                <a:gd name="connsiteX43" fmla="*/ 664369 w 664369"/>
                <a:gd name="connsiteY43" fmla="*/ 123825 h 728705"/>
                <a:gd name="connsiteX44" fmla="*/ 645319 w 664369"/>
                <a:gd name="connsiteY44" fmla="*/ 109537 h 728705"/>
                <a:gd name="connsiteX45" fmla="*/ 642938 w 664369"/>
                <a:gd name="connsiteY45" fmla="*/ 97631 h 728705"/>
                <a:gd name="connsiteX46" fmla="*/ 621506 w 664369"/>
                <a:gd name="connsiteY46" fmla="*/ 88106 h 728705"/>
                <a:gd name="connsiteX47" fmla="*/ 590550 w 664369"/>
                <a:gd name="connsiteY47" fmla="*/ 92869 h 728705"/>
                <a:gd name="connsiteX48" fmla="*/ 573881 w 664369"/>
                <a:gd name="connsiteY48" fmla="*/ 109537 h 728705"/>
                <a:gd name="connsiteX49" fmla="*/ 564356 w 664369"/>
                <a:gd name="connsiteY49" fmla="*/ 121444 h 728705"/>
                <a:gd name="connsiteX50" fmla="*/ 547688 w 664369"/>
                <a:gd name="connsiteY50" fmla="*/ 130969 h 728705"/>
                <a:gd name="connsiteX51" fmla="*/ 528638 w 664369"/>
                <a:gd name="connsiteY51" fmla="*/ 138112 h 728705"/>
                <a:gd name="connsiteX52" fmla="*/ 516731 w 664369"/>
                <a:gd name="connsiteY52" fmla="*/ 133350 h 728705"/>
                <a:gd name="connsiteX53" fmla="*/ 502444 w 664369"/>
                <a:gd name="connsiteY53" fmla="*/ 133350 h 728705"/>
                <a:gd name="connsiteX54" fmla="*/ 495300 w 664369"/>
                <a:gd name="connsiteY54" fmla="*/ 126206 h 728705"/>
                <a:gd name="connsiteX55" fmla="*/ 478631 w 664369"/>
                <a:gd name="connsiteY55" fmla="*/ 169069 h 728705"/>
                <a:gd name="connsiteX56" fmla="*/ 469106 w 664369"/>
                <a:gd name="connsiteY56" fmla="*/ 178594 h 728705"/>
                <a:gd name="connsiteX57" fmla="*/ 459581 w 664369"/>
                <a:gd name="connsiteY57" fmla="*/ 178594 h 728705"/>
                <a:gd name="connsiteX58" fmla="*/ 459581 w 664369"/>
                <a:gd name="connsiteY58" fmla="*/ 178594 h 728705"/>
                <a:gd name="connsiteX59" fmla="*/ 445294 w 664369"/>
                <a:gd name="connsiteY59" fmla="*/ 192881 h 728705"/>
                <a:gd name="connsiteX60" fmla="*/ 431006 w 664369"/>
                <a:gd name="connsiteY60" fmla="*/ 204787 h 728705"/>
                <a:gd name="connsiteX61" fmla="*/ 421481 w 664369"/>
                <a:gd name="connsiteY61" fmla="*/ 211931 h 728705"/>
                <a:gd name="connsiteX62" fmla="*/ 411956 w 664369"/>
                <a:gd name="connsiteY62" fmla="*/ 190500 h 728705"/>
                <a:gd name="connsiteX63" fmla="*/ 397669 w 664369"/>
                <a:gd name="connsiteY63" fmla="*/ 169069 h 728705"/>
                <a:gd name="connsiteX64" fmla="*/ 385763 w 664369"/>
                <a:gd name="connsiteY64" fmla="*/ 150019 h 728705"/>
                <a:gd name="connsiteX65" fmla="*/ 247650 w 664369"/>
                <a:gd name="connsiteY65" fmla="*/ 185737 h 728705"/>
                <a:gd name="connsiteX66" fmla="*/ 202406 w 664369"/>
                <a:gd name="connsiteY66" fmla="*/ 0 h 728705"/>
                <a:gd name="connsiteX67" fmla="*/ 190500 w 664369"/>
                <a:gd name="connsiteY67" fmla="*/ 4762 h 728705"/>
                <a:gd name="connsiteX0" fmla="*/ 190500 w 664369"/>
                <a:gd name="connsiteY0" fmla="*/ 4762 h 728705"/>
                <a:gd name="connsiteX1" fmla="*/ 195263 w 664369"/>
                <a:gd name="connsiteY1" fmla="*/ 78581 h 728705"/>
                <a:gd name="connsiteX2" fmla="*/ 195263 w 664369"/>
                <a:gd name="connsiteY2" fmla="*/ 183356 h 728705"/>
                <a:gd name="connsiteX3" fmla="*/ 147638 w 664369"/>
                <a:gd name="connsiteY3" fmla="*/ 269081 h 728705"/>
                <a:gd name="connsiteX4" fmla="*/ 111919 w 664369"/>
                <a:gd name="connsiteY4" fmla="*/ 290512 h 728705"/>
                <a:gd name="connsiteX5" fmla="*/ 92869 w 664369"/>
                <a:gd name="connsiteY5" fmla="*/ 302419 h 728705"/>
                <a:gd name="connsiteX6" fmla="*/ 90488 w 664369"/>
                <a:gd name="connsiteY6" fmla="*/ 330994 h 728705"/>
                <a:gd name="connsiteX7" fmla="*/ 102394 w 664369"/>
                <a:gd name="connsiteY7" fmla="*/ 335756 h 728705"/>
                <a:gd name="connsiteX8" fmla="*/ 100013 w 664369"/>
                <a:gd name="connsiteY8" fmla="*/ 359569 h 728705"/>
                <a:gd name="connsiteX9" fmla="*/ 104775 w 664369"/>
                <a:gd name="connsiteY9" fmla="*/ 373856 h 728705"/>
                <a:gd name="connsiteX10" fmla="*/ 83344 w 664369"/>
                <a:gd name="connsiteY10" fmla="*/ 392906 h 728705"/>
                <a:gd name="connsiteX11" fmla="*/ 76191 w 664369"/>
                <a:gd name="connsiteY11" fmla="*/ 366696 h 728705"/>
                <a:gd name="connsiteX12" fmla="*/ 45244 w 664369"/>
                <a:gd name="connsiteY12" fmla="*/ 385762 h 728705"/>
                <a:gd name="connsiteX13" fmla="*/ 45244 w 664369"/>
                <a:gd name="connsiteY13" fmla="*/ 426244 h 728705"/>
                <a:gd name="connsiteX14" fmla="*/ 52388 w 664369"/>
                <a:gd name="connsiteY14" fmla="*/ 442912 h 728705"/>
                <a:gd name="connsiteX15" fmla="*/ 0 w 664369"/>
                <a:gd name="connsiteY15" fmla="*/ 507206 h 728705"/>
                <a:gd name="connsiteX16" fmla="*/ 33338 w 664369"/>
                <a:gd name="connsiteY16" fmla="*/ 611981 h 728705"/>
                <a:gd name="connsiteX17" fmla="*/ 88106 w 664369"/>
                <a:gd name="connsiteY17" fmla="*/ 647700 h 728705"/>
                <a:gd name="connsiteX18" fmla="*/ 104775 w 664369"/>
                <a:gd name="connsiteY18" fmla="*/ 642937 h 728705"/>
                <a:gd name="connsiteX19" fmla="*/ 152400 w 664369"/>
                <a:gd name="connsiteY19" fmla="*/ 690562 h 728705"/>
                <a:gd name="connsiteX20" fmla="*/ 214313 w 664369"/>
                <a:gd name="connsiteY20" fmla="*/ 728705 h 728705"/>
                <a:gd name="connsiteX21" fmla="*/ 230981 w 664369"/>
                <a:gd name="connsiteY21" fmla="*/ 671512 h 728705"/>
                <a:gd name="connsiteX22" fmla="*/ 285750 w 664369"/>
                <a:gd name="connsiteY22" fmla="*/ 650081 h 728705"/>
                <a:gd name="connsiteX23" fmla="*/ 354803 w 664369"/>
                <a:gd name="connsiteY23" fmla="*/ 628692 h 728705"/>
                <a:gd name="connsiteX24" fmla="*/ 369094 w 664369"/>
                <a:gd name="connsiteY24" fmla="*/ 602456 h 728705"/>
                <a:gd name="connsiteX25" fmla="*/ 366713 w 664369"/>
                <a:gd name="connsiteY25" fmla="*/ 564356 h 728705"/>
                <a:gd name="connsiteX26" fmla="*/ 369094 w 664369"/>
                <a:gd name="connsiteY26" fmla="*/ 533400 h 728705"/>
                <a:gd name="connsiteX27" fmla="*/ 373856 w 664369"/>
                <a:gd name="connsiteY27" fmla="*/ 502444 h 728705"/>
                <a:gd name="connsiteX28" fmla="*/ 381000 w 664369"/>
                <a:gd name="connsiteY28" fmla="*/ 478631 h 728705"/>
                <a:gd name="connsiteX29" fmla="*/ 407194 w 664369"/>
                <a:gd name="connsiteY29" fmla="*/ 440531 h 728705"/>
                <a:gd name="connsiteX30" fmla="*/ 428625 w 664369"/>
                <a:gd name="connsiteY30" fmla="*/ 390525 h 728705"/>
                <a:gd name="connsiteX31" fmla="*/ 428625 w 664369"/>
                <a:gd name="connsiteY31" fmla="*/ 390525 h 728705"/>
                <a:gd name="connsiteX32" fmla="*/ 476250 w 664369"/>
                <a:gd name="connsiteY32" fmla="*/ 359569 h 728705"/>
                <a:gd name="connsiteX33" fmla="*/ 502444 w 664369"/>
                <a:gd name="connsiteY33" fmla="*/ 335756 h 728705"/>
                <a:gd name="connsiteX34" fmla="*/ 507206 w 664369"/>
                <a:gd name="connsiteY34" fmla="*/ 297656 h 728705"/>
                <a:gd name="connsiteX35" fmla="*/ 573881 w 664369"/>
                <a:gd name="connsiteY35" fmla="*/ 192881 h 728705"/>
                <a:gd name="connsiteX36" fmla="*/ 571500 w 664369"/>
                <a:gd name="connsiteY36" fmla="*/ 173831 h 728705"/>
                <a:gd name="connsiteX37" fmla="*/ 573881 w 664369"/>
                <a:gd name="connsiteY37" fmla="*/ 164306 h 728705"/>
                <a:gd name="connsiteX38" fmla="*/ 614363 w 664369"/>
                <a:gd name="connsiteY38" fmla="*/ 154781 h 728705"/>
                <a:gd name="connsiteX39" fmla="*/ 628650 w 664369"/>
                <a:gd name="connsiteY39" fmla="*/ 164306 h 728705"/>
                <a:gd name="connsiteX40" fmla="*/ 647700 w 664369"/>
                <a:gd name="connsiteY40" fmla="*/ 166687 h 728705"/>
                <a:gd name="connsiteX41" fmla="*/ 659606 w 664369"/>
                <a:gd name="connsiteY41" fmla="*/ 138112 h 728705"/>
                <a:gd name="connsiteX42" fmla="*/ 664369 w 664369"/>
                <a:gd name="connsiteY42" fmla="*/ 123825 h 728705"/>
                <a:gd name="connsiteX43" fmla="*/ 645319 w 664369"/>
                <a:gd name="connsiteY43" fmla="*/ 109537 h 728705"/>
                <a:gd name="connsiteX44" fmla="*/ 642938 w 664369"/>
                <a:gd name="connsiteY44" fmla="*/ 97631 h 728705"/>
                <a:gd name="connsiteX45" fmla="*/ 621506 w 664369"/>
                <a:gd name="connsiteY45" fmla="*/ 88106 h 728705"/>
                <a:gd name="connsiteX46" fmla="*/ 590550 w 664369"/>
                <a:gd name="connsiteY46" fmla="*/ 92869 h 728705"/>
                <a:gd name="connsiteX47" fmla="*/ 573881 w 664369"/>
                <a:gd name="connsiteY47" fmla="*/ 109537 h 728705"/>
                <a:gd name="connsiteX48" fmla="*/ 564356 w 664369"/>
                <a:gd name="connsiteY48" fmla="*/ 121444 h 728705"/>
                <a:gd name="connsiteX49" fmla="*/ 547688 w 664369"/>
                <a:gd name="connsiteY49" fmla="*/ 130969 h 728705"/>
                <a:gd name="connsiteX50" fmla="*/ 528638 w 664369"/>
                <a:gd name="connsiteY50" fmla="*/ 138112 h 728705"/>
                <a:gd name="connsiteX51" fmla="*/ 516731 w 664369"/>
                <a:gd name="connsiteY51" fmla="*/ 133350 h 728705"/>
                <a:gd name="connsiteX52" fmla="*/ 502444 w 664369"/>
                <a:gd name="connsiteY52" fmla="*/ 133350 h 728705"/>
                <a:gd name="connsiteX53" fmla="*/ 495300 w 664369"/>
                <a:gd name="connsiteY53" fmla="*/ 126206 h 728705"/>
                <a:gd name="connsiteX54" fmla="*/ 478631 w 664369"/>
                <a:gd name="connsiteY54" fmla="*/ 169069 h 728705"/>
                <a:gd name="connsiteX55" fmla="*/ 469106 w 664369"/>
                <a:gd name="connsiteY55" fmla="*/ 178594 h 728705"/>
                <a:gd name="connsiteX56" fmla="*/ 459581 w 664369"/>
                <a:gd name="connsiteY56" fmla="*/ 178594 h 728705"/>
                <a:gd name="connsiteX57" fmla="*/ 459581 w 664369"/>
                <a:gd name="connsiteY57" fmla="*/ 178594 h 728705"/>
                <a:gd name="connsiteX58" fmla="*/ 445294 w 664369"/>
                <a:gd name="connsiteY58" fmla="*/ 192881 h 728705"/>
                <a:gd name="connsiteX59" fmla="*/ 431006 w 664369"/>
                <a:gd name="connsiteY59" fmla="*/ 204787 h 728705"/>
                <a:gd name="connsiteX60" fmla="*/ 421481 w 664369"/>
                <a:gd name="connsiteY60" fmla="*/ 211931 h 728705"/>
                <a:gd name="connsiteX61" fmla="*/ 411956 w 664369"/>
                <a:gd name="connsiteY61" fmla="*/ 190500 h 728705"/>
                <a:gd name="connsiteX62" fmla="*/ 397669 w 664369"/>
                <a:gd name="connsiteY62" fmla="*/ 169069 h 728705"/>
                <a:gd name="connsiteX63" fmla="*/ 385763 w 664369"/>
                <a:gd name="connsiteY63" fmla="*/ 150019 h 728705"/>
                <a:gd name="connsiteX64" fmla="*/ 247650 w 664369"/>
                <a:gd name="connsiteY64" fmla="*/ 185737 h 728705"/>
                <a:gd name="connsiteX65" fmla="*/ 202406 w 664369"/>
                <a:gd name="connsiteY65" fmla="*/ 0 h 728705"/>
                <a:gd name="connsiteX66" fmla="*/ 190500 w 664369"/>
                <a:gd name="connsiteY66" fmla="*/ 4762 h 728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64369" h="728705">
                  <a:moveTo>
                    <a:pt x="190500" y="4762"/>
                  </a:moveTo>
                  <a:lnTo>
                    <a:pt x="195263" y="78581"/>
                  </a:lnTo>
                  <a:lnTo>
                    <a:pt x="195263" y="183356"/>
                  </a:lnTo>
                  <a:lnTo>
                    <a:pt x="147638" y="269081"/>
                  </a:lnTo>
                  <a:lnTo>
                    <a:pt x="111919" y="290512"/>
                  </a:lnTo>
                  <a:lnTo>
                    <a:pt x="92869" y="302419"/>
                  </a:lnTo>
                  <a:lnTo>
                    <a:pt x="90488" y="330994"/>
                  </a:lnTo>
                  <a:lnTo>
                    <a:pt x="102394" y="335756"/>
                  </a:lnTo>
                  <a:lnTo>
                    <a:pt x="100013" y="359569"/>
                  </a:lnTo>
                  <a:lnTo>
                    <a:pt x="104775" y="373856"/>
                  </a:lnTo>
                  <a:lnTo>
                    <a:pt x="83344" y="392906"/>
                  </a:lnTo>
                  <a:lnTo>
                    <a:pt x="76191" y="366696"/>
                  </a:lnTo>
                  <a:lnTo>
                    <a:pt x="45244" y="385762"/>
                  </a:lnTo>
                  <a:lnTo>
                    <a:pt x="45244" y="426244"/>
                  </a:lnTo>
                  <a:lnTo>
                    <a:pt x="52388" y="442912"/>
                  </a:lnTo>
                  <a:lnTo>
                    <a:pt x="0" y="507206"/>
                  </a:lnTo>
                  <a:lnTo>
                    <a:pt x="33338" y="611981"/>
                  </a:lnTo>
                  <a:lnTo>
                    <a:pt x="88106" y="647700"/>
                  </a:lnTo>
                  <a:lnTo>
                    <a:pt x="104775" y="642937"/>
                  </a:lnTo>
                  <a:lnTo>
                    <a:pt x="152400" y="690562"/>
                  </a:lnTo>
                  <a:lnTo>
                    <a:pt x="214313" y="728705"/>
                  </a:lnTo>
                  <a:lnTo>
                    <a:pt x="230981" y="671512"/>
                  </a:lnTo>
                  <a:lnTo>
                    <a:pt x="285750" y="650081"/>
                  </a:lnTo>
                  <a:lnTo>
                    <a:pt x="354803" y="628692"/>
                  </a:lnTo>
                  <a:lnTo>
                    <a:pt x="369094" y="602456"/>
                  </a:lnTo>
                  <a:lnTo>
                    <a:pt x="366713" y="564356"/>
                  </a:lnTo>
                  <a:lnTo>
                    <a:pt x="369094" y="533400"/>
                  </a:lnTo>
                  <a:lnTo>
                    <a:pt x="373856" y="502444"/>
                  </a:lnTo>
                  <a:lnTo>
                    <a:pt x="381000" y="478631"/>
                  </a:lnTo>
                  <a:lnTo>
                    <a:pt x="407194" y="440531"/>
                  </a:lnTo>
                  <a:lnTo>
                    <a:pt x="428625" y="390525"/>
                  </a:lnTo>
                  <a:lnTo>
                    <a:pt x="428625" y="390525"/>
                  </a:lnTo>
                  <a:lnTo>
                    <a:pt x="476250" y="359569"/>
                  </a:lnTo>
                  <a:lnTo>
                    <a:pt x="502444" y="335756"/>
                  </a:lnTo>
                  <a:lnTo>
                    <a:pt x="507206" y="297656"/>
                  </a:lnTo>
                  <a:lnTo>
                    <a:pt x="573881" y="192881"/>
                  </a:lnTo>
                  <a:lnTo>
                    <a:pt x="571500" y="173831"/>
                  </a:lnTo>
                  <a:lnTo>
                    <a:pt x="573881" y="164306"/>
                  </a:lnTo>
                  <a:lnTo>
                    <a:pt x="614363" y="154781"/>
                  </a:lnTo>
                  <a:lnTo>
                    <a:pt x="628650" y="164306"/>
                  </a:lnTo>
                  <a:lnTo>
                    <a:pt x="647700" y="166687"/>
                  </a:lnTo>
                  <a:lnTo>
                    <a:pt x="659606" y="138112"/>
                  </a:lnTo>
                  <a:lnTo>
                    <a:pt x="664369" y="123825"/>
                  </a:lnTo>
                  <a:lnTo>
                    <a:pt x="645319" y="109537"/>
                  </a:lnTo>
                  <a:lnTo>
                    <a:pt x="642938" y="97631"/>
                  </a:lnTo>
                  <a:lnTo>
                    <a:pt x="621506" y="88106"/>
                  </a:lnTo>
                  <a:lnTo>
                    <a:pt x="590550" y="92869"/>
                  </a:lnTo>
                  <a:lnTo>
                    <a:pt x="573881" y="109537"/>
                  </a:lnTo>
                  <a:lnTo>
                    <a:pt x="564356" y="121444"/>
                  </a:lnTo>
                  <a:lnTo>
                    <a:pt x="547688" y="130969"/>
                  </a:lnTo>
                  <a:lnTo>
                    <a:pt x="528638" y="138112"/>
                  </a:lnTo>
                  <a:lnTo>
                    <a:pt x="516731" y="133350"/>
                  </a:lnTo>
                  <a:lnTo>
                    <a:pt x="502444" y="133350"/>
                  </a:lnTo>
                  <a:lnTo>
                    <a:pt x="495300" y="126206"/>
                  </a:lnTo>
                  <a:lnTo>
                    <a:pt x="478631" y="169069"/>
                  </a:lnTo>
                  <a:lnTo>
                    <a:pt x="469106" y="178594"/>
                  </a:lnTo>
                  <a:lnTo>
                    <a:pt x="459581" y="178594"/>
                  </a:lnTo>
                  <a:lnTo>
                    <a:pt x="459581" y="178594"/>
                  </a:lnTo>
                  <a:lnTo>
                    <a:pt x="445294" y="192881"/>
                  </a:lnTo>
                  <a:lnTo>
                    <a:pt x="431006" y="204787"/>
                  </a:lnTo>
                  <a:lnTo>
                    <a:pt x="421481" y="211931"/>
                  </a:lnTo>
                  <a:lnTo>
                    <a:pt x="411956" y="190500"/>
                  </a:lnTo>
                  <a:lnTo>
                    <a:pt x="397669" y="169069"/>
                  </a:lnTo>
                  <a:lnTo>
                    <a:pt x="385763" y="150019"/>
                  </a:lnTo>
                  <a:lnTo>
                    <a:pt x="247650" y="185737"/>
                  </a:lnTo>
                  <a:lnTo>
                    <a:pt x="202406" y="0"/>
                  </a:lnTo>
                  <a:lnTo>
                    <a:pt x="190500" y="476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32" name="Freeform 131"/>
            <p:cNvSpPr/>
            <p:nvPr/>
          </p:nvSpPr>
          <p:spPr>
            <a:xfrm>
              <a:off x="4644295" y="2860033"/>
              <a:ext cx="435007" cy="195810"/>
            </a:xfrm>
            <a:custGeom>
              <a:avLst/>
              <a:gdLst>
                <a:gd name="connsiteX0" fmla="*/ 0 w 690562"/>
                <a:gd name="connsiteY0" fmla="*/ 180975 h 319087"/>
                <a:gd name="connsiteX1" fmla="*/ 40481 w 690562"/>
                <a:gd name="connsiteY1" fmla="*/ 238125 h 319087"/>
                <a:gd name="connsiteX2" fmla="*/ 76200 w 690562"/>
                <a:gd name="connsiteY2" fmla="*/ 207169 h 319087"/>
                <a:gd name="connsiteX3" fmla="*/ 92868 w 690562"/>
                <a:gd name="connsiteY3" fmla="*/ 209550 h 319087"/>
                <a:gd name="connsiteX4" fmla="*/ 104775 w 690562"/>
                <a:gd name="connsiteY4" fmla="*/ 161925 h 319087"/>
                <a:gd name="connsiteX5" fmla="*/ 145256 w 690562"/>
                <a:gd name="connsiteY5" fmla="*/ 169069 h 319087"/>
                <a:gd name="connsiteX6" fmla="*/ 171450 w 690562"/>
                <a:gd name="connsiteY6" fmla="*/ 161925 h 319087"/>
                <a:gd name="connsiteX7" fmla="*/ 192881 w 690562"/>
                <a:gd name="connsiteY7" fmla="*/ 140494 h 319087"/>
                <a:gd name="connsiteX8" fmla="*/ 216693 w 690562"/>
                <a:gd name="connsiteY8" fmla="*/ 119062 h 319087"/>
                <a:gd name="connsiteX9" fmla="*/ 238125 w 690562"/>
                <a:gd name="connsiteY9" fmla="*/ 119062 h 319087"/>
                <a:gd name="connsiteX10" fmla="*/ 259556 w 690562"/>
                <a:gd name="connsiteY10" fmla="*/ 130969 h 319087"/>
                <a:gd name="connsiteX11" fmla="*/ 264318 w 690562"/>
                <a:gd name="connsiteY11" fmla="*/ 145256 h 319087"/>
                <a:gd name="connsiteX12" fmla="*/ 283368 w 690562"/>
                <a:gd name="connsiteY12" fmla="*/ 157162 h 319087"/>
                <a:gd name="connsiteX13" fmla="*/ 302418 w 690562"/>
                <a:gd name="connsiteY13" fmla="*/ 147637 h 319087"/>
                <a:gd name="connsiteX14" fmla="*/ 328612 w 690562"/>
                <a:gd name="connsiteY14" fmla="*/ 159544 h 319087"/>
                <a:gd name="connsiteX15" fmla="*/ 350043 w 690562"/>
                <a:gd name="connsiteY15" fmla="*/ 171450 h 319087"/>
                <a:gd name="connsiteX16" fmla="*/ 369093 w 690562"/>
                <a:gd name="connsiteY16" fmla="*/ 188119 h 319087"/>
                <a:gd name="connsiteX17" fmla="*/ 397668 w 690562"/>
                <a:gd name="connsiteY17" fmla="*/ 214312 h 319087"/>
                <a:gd name="connsiteX18" fmla="*/ 402431 w 690562"/>
                <a:gd name="connsiteY18" fmla="*/ 235744 h 319087"/>
                <a:gd name="connsiteX19" fmla="*/ 400050 w 690562"/>
                <a:gd name="connsiteY19" fmla="*/ 264319 h 319087"/>
                <a:gd name="connsiteX20" fmla="*/ 388143 w 690562"/>
                <a:gd name="connsiteY20" fmla="*/ 290512 h 319087"/>
                <a:gd name="connsiteX21" fmla="*/ 409575 w 690562"/>
                <a:gd name="connsiteY21" fmla="*/ 302419 h 319087"/>
                <a:gd name="connsiteX22" fmla="*/ 419100 w 690562"/>
                <a:gd name="connsiteY22" fmla="*/ 302419 h 319087"/>
                <a:gd name="connsiteX23" fmla="*/ 438150 w 690562"/>
                <a:gd name="connsiteY23" fmla="*/ 290512 h 319087"/>
                <a:gd name="connsiteX24" fmla="*/ 454818 w 690562"/>
                <a:gd name="connsiteY24" fmla="*/ 295275 h 319087"/>
                <a:gd name="connsiteX25" fmla="*/ 473868 w 690562"/>
                <a:gd name="connsiteY25" fmla="*/ 309562 h 319087"/>
                <a:gd name="connsiteX26" fmla="*/ 507206 w 690562"/>
                <a:gd name="connsiteY26" fmla="*/ 314325 h 319087"/>
                <a:gd name="connsiteX27" fmla="*/ 523875 w 690562"/>
                <a:gd name="connsiteY27" fmla="*/ 319087 h 319087"/>
                <a:gd name="connsiteX28" fmla="*/ 526256 w 690562"/>
                <a:gd name="connsiteY28" fmla="*/ 302419 h 319087"/>
                <a:gd name="connsiteX29" fmla="*/ 535781 w 690562"/>
                <a:gd name="connsiteY29" fmla="*/ 290512 h 319087"/>
                <a:gd name="connsiteX30" fmla="*/ 528637 w 690562"/>
                <a:gd name="connsiteY30" fmla="*/ 261937 h 319087"/>
                <a:gd name="connsiteX31" fmla="*/ 509587 w 690562"/>
                <a:gd name="connsiteY31" fmla="*/ 257175 h 319087"/>
                <a:gd name="connsiteX32" fmla="*/ 490537 w 690562"/>
                <a:gd name="connsiteY32" fmla="*/ 235744 h 319087"/>
                <a:gd name="connsiteX33" fmla="*/ 481012 w 690562"/>
                <a:gd name="connsiteY33" fmla="*/ 202406 h 319087"/>
                <a:gd name="connsiteX34" fmla="*/ 461962 w 690562"/>
                <a:gd name="connsiteY34" fmla="*/ 154781 h 319087"/>
                <a:gd name="connsiteX35" fmla="*/ 457200 w 690562"/>
                <a:gd name="connsiteY35" fmla="*/ 126206 h 319087"/>
                <a:gd name="connsiteX36" fmla="*/ 457200 w 690562"/>
                <a:gd name="connsiteY36" fmla="*/ 111919 h 319087"/>
                <a:gd name="connsiteX37" fmla="*/ 469106 w 690562"/>
                <a:gd name="connsiteY37" fmla="*/ 100012 h 319087"/>
                <a:gd name="connsiteX38" fmla="*/ 476250 w 690562"/>
                <a:gd name="connsiteY38" fmla="*/ 78581 h 319087"/>
                <a:gd name="connsiteX39" fmla="*/ 497681 w 690562"/>
                <a:gd name="connsiteY39" fmla="*/ 73819 h 319087"/>
                <a:gd name="connsiteX40" fmla="*/ 500062 w 690562"/>
                <a:gd name="connsiteY40" fmla="*/ 92869 h 319087"/>
                <a:gd name="connsiteX41" fmla="*/ 495300 w 690562"/>
                <a:gd name="connsiteY41" fmla="*/ 107156 h 319087"/>
                <a:gd name="connsiteX42" fmla="*/ 509587 w 690562"/>
                <a:gd name="connsiteY42" fmla="*/ 116681 h 319087"/>
                <a:gd name="connsiteX43" fmla="*/ 509587 w 690562"/>
                <a:gd name="connsiteY43" fmla="*/ 126206 h 319087"/>
                <a:gd name="connsiteX44" fmla="*/ 504825 w 690562"/>
                <a:gd name="connsiteY44" fmla="*/ 147637 h 319087"/>
                <a:gd name="connsiteX45" fmla="*/ 502443 w 690562"/>
                <a:gd name="connsiteY45" fmla="*/ 154781 h 319087"/>
                <a:gd name="connsiteX46" fmla="*/ 523875 w 690562"/>
                <a:gd name="connsiteY46" fmla="*/ 171450 h 319087"/>
                <a:gd name="connsiteX47" fmla="*/ 531018 w 690562"/>
                <a:gd name="connsiteY47" fmla="*/ 185737 h 319087"/>
                <a:gd name="connsiteX48" fmla="*/ 545306 w 690562"/>
                <a:gd name="connsiteY48" fmla="*/ 190500 h 319087"/>
                <a:gd name="connsiteX49" fmla="*/ 531018 w 690562"/>
                <a:gd name="connsiteY49" fmla="*/ 204787 h 319087"/>
                <a:gd name="connsiteX50" fmla="*/ 528637 w 690562"/>
                <a:gd name="connsiteY50" fmla="*/ 216694 h 319087"/>
                <a:gd name="connsiteX51" fmla="*/ 547687 w 690562"/>
                <a:gd name="connsiteY51" fmla="*/ 235744 h 319087"/>
                <a:gd name="connsiteX52" fmla="*/ 547687 w 690562"/>
                <a:gd name="connsiteY52" fmla="*/ 235744 h 319087"/>
                <a:gd name="connsiteX53" fmla="*/ 581025 w 690562"/>
                <a:gd name="connsiteY53" fmla="*/ 247650 h 319087"/>
                <a:gd name="connsiteX54" fmla="*/ 595312 w 690562"/>
                <a:gd name="connsiteY54" fmla="*/ 242887 h 319087"/>
                <a:gd name="connsiteX55" fmla="*/ 602456 w 690562"/>
                <a:gd name="connsiteY55" fmla="*/ 264319 h 319087"/>
                <a:gd name="connsiteX56" fmla="*/ 602456 w 690562"/>
                <a:gd name="connsiteY56" fmla="*/ 292894 h 319087"/>
                <a:gd name="connsiteX57" fmla="*/ 611981 w 690562"/>
                <a:gd name="connsiteY57" fmla="*/ 297656 h 319087"/>
                <a:gd name="connsiteX58" fmla="*/ 631031 w 690562"/>
                <a:gd name="connsiteY58" fmla="*/ 297656 h 319087"/>
                <a:gd name="connsiteX59" fmla="*/ 650081 w 690562"/>
                <a:gd name="connsiteY59" fmla="*/ 285750 h 319087"/>
                <a:gd name="connsiteX60" fmla="*/ 669131 w 690562"/>
                <a:gd name="connsiteY60" fmla="*/ 278606 h 319087"/>
                <a:gd name="connsiteX61" fmla="*/ 681037 w 690562"/>
                <a:gd name="connsiteY61" fmla="*/ 278606 h 319087"/>
                <a:gd name="connsiteX62" fmla="*/ 690562 w 690562"/>
                <a:gd name="connsiteY62" fmla="*/ 204787 h 319087"/>
                <a:gd name="connsiteX63" fmla="*/ 614362 w 690562"/>
                <a:gd name="connsiteY63" fmla="*/ 228600 h 319087"/>
                <a:gd name="connsiteX64" fmla="*/ 600075 w 690562"/>
                <a:gd name="connsiteY64" fmla="*/ 173831 h 319087"/>
                <a:gd name="connsiteX65" fmla="*/ 583406 w 690562"/>
                <a:gd name="connsiteY65" fmla="*/ 145256 h 319087"/>
                <a:gd name="connsiteX66" fmla="*/ 585787 w 690562"/>
                <a:gd name="connsiteY66" fmla="*/ 121444 h 319087"/>
                <a:gd name="connsiteX67" fmla="*/ 566737 w 690562"/>
                <a:gd name="connsiteY67" fmla="*/ 83344 h 319087"/>
                <a:gd name="connsiteX68" fmla="*/ 561975 w 690562"/>
                <a:gd name="connsiteY68" fmla="*/ 50006 h 319087"/>
                <a:gd name="connsiteX69" fmla="*/ 533400 w 690562"/>
                <a:gd name="connsiteY69" fmla="*/ 0 h 319087"/>
                <a:gd name="connsiteX70" fmla="*/ 411956 w 690562"/>
                <a:gd name="connsiteY70" fmla="*/ 42862 h 319087"/>
                <a:gd name="connsiteX71" fmla="*/ 319087 w 690562"/>
                <a:gd name="connsiteY71" fmla="*/ 71437 h 319087"/>
                <a:gd name="connsiteX72" fmla="*/ 257175 w 690562"/>
                <a:gd name="connsiteY72" fmla="*/ 92869 h 319087"/>
                <a:gd name="connsiteX73" fmla="*/ 147637 w 690562"/>
                <a:gd name="connsiteY73" fmla="*/ 126206 h 319087"/>
                <a:gd name="connsiteX74" fmla="*/ 64293 w 690562"/>
                <a:gd name="connsiteY74" fmla="*/ 157162 h 319087"/>
                <a:gd name="connsiteX75" fmla="*/ 0 w 690562"/>
                <a:gd name="connsiteY75" fmla="*/ 180975 h 319087"/>
                <a:gd name="connsiteX0" fmla="*/ 0 w 690562"/>
                <a:gd name="connsiteY0" fmla="*/ 180975 h 319087"/>
                <a:gd name="connsiteX1" fmla="*/ 40481 w 690562"/>
                <a:gd name="connsiteY1" fmla="*/ 238125 h 319087"/>
                <a:gd name="connsiteX2" fmla="*/ 76200 w 690562"/>
                <a:gd name="connsiteY2" fmla="*/ 207169 h 319087"/>
                <a:gd name="connsiteX3" fmla="*/ 92868 w 690562"/>
                <a:gd name="connsiteY3" fmla="*/ 209550 h 319087"/>
                <a:gd name="connsiteX4" fmla="*/ 104775 w 690562"/>
                <a:gd name="connsiteY4" fmla="*/ 161925 h 319087"/>
                <a:gd name="connsiteX5" fmla="*/ 145256 w 690562"/>
                <a:gd name="connsiteY5" fmla="*/ 169069 h 319087"/>
                <a:gd name="connsiteX6" fmla="*/ 171450 w 690562"/>
                <a:gd name="connsiteY6" fmla="*/ 161925 h 319087"/>
                <a:gd name="connsiteX7" fmla="*/ 192881 w 690562"/>
                <a:gd name="connsiteY7" fmla="*/ 140494 h 319087"/>
                <a:gd name="connsiteX8" fmla="*/ 216693 w 690562"/>
                <a:gd name="connsiteY8" fmla="*/ 119062 h 319087"/>
                <a:gd name="connsiteX9" fmla="*/ 238125 w 690562"/>
                <a:gd name="connsiteY9" fmla="*/ 119062 h 319087"/>
                <a:gd name="connsiteX10" fmla="*/ 259556 w 690562"/>
                <a:gd name="connsiteY10" fmla="*/ 130969 h 319087"/>
                <a:gd name="connsiteX11" fmla="*/ 264318 w 690562"/>
                <a:gd name="connsiteY11" fmla="*/ 145256 h 319087"/>
                <a:gd name="connsiteX12" fmla="*/ 283368 w 690562"/>
                <a:gd name="connsiteY12" fmla="*/ 157162 h 319087"/>
                <a:gd name="connsiteX13" fmla="*/ 302418 w 690562"/>
                <a:gd name="connsiteY13" fmla="*/ 147637 h 319087"/>
                <a:gd name="connsiteX14" fmla="*/ 328612 w 690562"/>
                <a:gd name="connsiteY14" fmla="*/ 159544 h 319087"/>
                <a:gd name="connsiteX15" fmla="*/ 369093 w 690562"/>
                <a:gd name="connsiteY15" fmla="*/ 188119 h 319087"/>
                <a:gd name="connsiteX16" fmla="*/ 397668 w 690562"/>
                <a:gd name="connsiteY16" fmla="*/ 214312 h 319087"/>
                <a:gd name="connsiteX17" fmla="*/ 402431 w 690562"/>
                <a:gd name="connsiteY17" fmla="*/ 235744 h 319087"/>
                <a:gd name="connsiteX18" fmla="*/ 400050 w 690562"/>
                <a:gd name="connsiteY18" fmla="*/ 264319 h 319087"/>
                <a:gd name="connsiteX19" fmla="*/ 388143 w 690562"/>
                <a:gd name="connsiteY19" fmla="*/ 290512 h 319087"/>
                <a:gd name="connsiteX20" fmla="*/ 409575 w 690562"/>
                <a:gd name="connsiteY20" fmla="*/ 302419 h 319087"/>
                <a:gd name="connsiteX21" fmla="*/ 419100 w 690562"/>
                <a:gd name="connsiteY21" fmla="*/ 302419 h 319087"/>
                <a:gd name="connsiteX22" fmla="*/ 438150 w 690562"/>
                <a:gd name="connsiteY22" fmla="*/ 290512 h 319087"/>
                <a:gd name="connsiteX23" fmla="*/ 454818 w 690562"/>
                <a:gd name="connsiteY23" fmla="*/ 295275 h 319087"/>
                <a:gd name="connsiteX24" fmla="*/ 473868 w 690562"/>
                <a:gd name="connsiteY24" fmla="*/ 309562 h 319087"/>
                <a:gd name="connsiteX25" fmla="*/ 507206 w 690562"/>
                <a:gd name="connsiteY25" fmla="*/ 314325 h 319087"/>
                <a:gd name="connsiteX26" fmla="*/ 523875 w 690562"/>
                <a:gd name="connsiteY26" fmla="*/ 319087 h 319087"/>
                <a:gd name="connsiteX27" fmla="*/ 526256 w 690562"/>
                <a:gd name="connsiteY27" fmla="*/ 302419 h 319087"/>
                <a:gd name="connsiteX28" fmla="*/ 535781 w 690562"/>
                <a:gd name="connsiteY28" fmla="*/ 290512 h 319087"/>
                <a:gd name="connsiteX29" fmla="*/ 528637 w 690562"/>
                <a:gd name="connsiteY29" fmla="*/ 261937 h 319087"/>
                <a:gd name="connsiteX30" fmla="*/ 509587 w 690562"/>
                <a:gd name="connsiteY30" fmla="*/ 257175 h 319087"/>
                <a:gd name="connsiteX31" fmla="*/ 490537 w 690562"/>
                <a:gd name="connsiteY31" fmla="*/ 235744 h 319087"/>
                <a:gd name="connsiteX32" fmla="*/ 481012 w 690562"/>
                <a:gd name="connsiteY32" fmla="*/ 202406 h 319087"/>
                <a:gd name="connsiteX33" fmla="*/ 461962 w 690562"/>
                <a:gd name="connsiteY33" fmla="*/ 154781 h 319087"/>
                <a:gd name="connsiteX34" fmla="*/ 457200 w 690562"/>
                <a:gd name="connsiteY34" fmla="*/ 126206 h 319087"/>
                <a:gd name="connsiteX35" fmla="*/ 457200 w 690562"/>
                <a:gd name="connsiteY35" fmla="*/ 111919 h 319087"/>
                <a:gd name="connsiteX36" fmla="*/ 469106 w 690562"/>
                <a:gd name="connsiteY36" fmla="*/ 100012 h 319087"/>
                <a:gd name="connsiteX37" fmla="*/ 476250 w 690562"/>
                <a:gd name="connsiteY37" fmla="*/ 78581 h 319087"/>
                <a:gd name="connsiteX38" fmla="*/ 497681 w 690562"/>
                <a:gd name="connsiteY38" fmla="*/ 73819 h 319087"/>
                <a:gd name="connsiteX39" fmla="*/ 500062 w 690562"/>
                <a:gd name="connsiteY39" fmla="*/ 92869 h 319087"/>
                <a:gd name="connsiteX40" fmla="*/ 495300 w 690562"/>
                <a:gd name="connsiteY40" fmla="*/ 107156 h 319087"/>
                <a:gd name="connsiteX41" fmla="*/ 509587 w 690562"/>
                <a:gd name="connsiteY41" fmla="*/ 116681 h 319087"/>
                <a:gd name="connsiteX42" fmla="*/ 509587 w 690562"/>
                <a:gd name="connsiteY42" fmla="*/ 126206 h 319087"/>
                <a:gd name="connsiteX43" fmla="*/ 504825 w 690562"/>
                <a:gd name="connsiteY43" fmla="*/ 147637 h 319087"/>
                <a:gd name="connsiteX44" fmla="*/ 502443 w 690562"/>
                <a:gd name="connsiteY44" fmla="*/ 154781 h 319087"/>
                <a:gd name="connsiteX45" fmla="*/ 523875 w 690562"/>
                <a:gd name="connsiteY45" fmla="*/ 171450 h 319087"/>
                <a:gd name="connsiteX46" fmla="*/ 531018 w 690562"/>
                <a:gd name="connsiteY46" fmla="*/ 185737 h 319087"/>
                <a:gd name="connsiteX47" fmla="*/ 545306 w 690562"/>
                <a:gd name="connsiteY47" fmla="*/ 190500 h 319087"/>
                <a:gd name="connsiteX48" fmla="*/ 531018 w 690562"/>
                <a:gd name="connsiteY48" fmla="*/ 204787 h 319087"/>
                <a:gd name="connsiteX49" fmla="*/ 528637 w 690562"/>
                <a:gd name="connsiteY49" fmla="*/ 216694 h 319087"/>
                <a:gd name="connsiteX50" fmla="*/ 547687 w 690562"/>
                <a:gd name="connsiteY50" fmla="*/ 235744 h 319087"/>
                <a:gd name="connsiteX51" fmla="*/ 547687 w 690562"/>
                <a:gd name="connsiteY51" fmla="*/ 235744 h 319087"/>
                <a:gd name="connsiteX52" fmla="*/ 581025 w 690562"/>
                <a:gd name="connsiteY52" fmla="*/ 247650 h 319087"/>
                <a:gd name="connsiteX53" fmla="*/ 595312 w 690562"/>
                <a:gd name="connsiteY53" fmla="*/ 242887 h 319087"/>
                <a:gd name="connsiteX54" fmla="*/ 602456 w 690562"/>
                <a:gd name="connsiteY54" fmla="*/ 264319 h 319087"/>
                <a:gd name="connsiteX55" fmla="*/ 602456 w 690562"/>
                <a:gd name="connsiteY55" fmla="*/ 292894 h 319087"/>
                <a:gd name="connsiteX56" fmla="*/ 611981 w 690562"/>
                <a:gd name="connsiteY56" fmla="*/ 297656 h 319087"/>
                <a:gd name="connsiteX57" fmla="*/ 631031 w 690562"/>
                <a:gd name="connsiteY57" fmla="*/ 297656 h 319087"/>
                <a:gd name="connsiteX58" fmla="*/ 650081 w 690562"/>
                <a:gd name="connsiteY58" fmla="*/ 285750 h 319087"/>
                <a:gd name="connsiteX59" fmla="*/ 669131 w 690562"/>
                <a:gd name="connsiteY59" fmla="*/ 278606 h 319087"/>
                <a:gd name="connsiteX60" fmla="*/ 681037 w 690562"/>
                <a:gd name="connsiteY60" fmla="*/ 278606 h 319087"/>
                <a:gd name="connsiteX61" fmla="*/ 690562 w 690562"/>
                <a:gd name="connsiteY61" fmla="*/ 204787 h 319087"/>
                <a:gd name="connsiteX62" fmla="*/ 614362 w 690562"/>
                <a:gd name="connsiteY62" fmla="*/ 228600 h 319087"/>
                <a:gd name="connsiteX63" fmla="*/ 600075 w 690562"/>
                <a:gd name="connsiteY63" fmla="*/ 173831 h 319087"/>
                <a:gd name="connsiteX64" fmla="*/ 583406 w 690562"/>
                <a:gd name="connsiteY64" fmla="*/ 145256 h 319087"/>
                <a:gd name="connsiteX65" fmla="*/ 585787 w 690562"/>
                <a:gd name="connsiteY65" fmla="*/ 121444 h 319087"/>
                <a:gd name="connsiteX66" fmla="*/ 566737 w 690562"/>
                <a:gd name="connsiteY66" fmla="*/ 83344 h 319087"/>
                <a:gd name="connsiteX67" fmla="*/ 561975 w 690562"/>
                <a:gd name="connsiteY67" fmla="*/ 50006 h 319087"/>
                <a:gd name="connsiteX68" fmla="*/ 533400 w 690562"/>
                <a:gd name="connsiteY68" fmla="*/ 0 h 319087"/>
                <a:gd name="connsiteX69" fmla="*/ 411956 w 690562"/>
                <a:gd name="connsiteY69" fmla="*/ 42862 h 319087"/>
                <a:gd name="connsiteX70" fmla="*/ 319087 w 690562"/>
                <a:gd name="connsiteY70" fmla="*/ 71437 h 319087"/>
                <a:gd name="connsiteX71" fmla="*/ 257175 w 690562"/>
                <a:gd name="connsiteY71" fmla="*/ 92869 h 319087"/>
                <a:gd name="connsiteX72" fmla="*/ 147637 w 690562"/>
                <a:gd name="connsiteY72" fmla="*/ 126206 h 319087"/>
                <a:gd name="connsiteX73" fmla="*/ 64293 w 690562"/>
                <a:gd name="connsiteY73" fmla="*/ 157162 h 319087"/>
                <a:gd name="connsiteX74" fmla="*/ 0 w 690562"/>
                <a:gd name="connsiteY74" fmla="*/ 180975 h 319087"/>
                <a:gd name="connsiteX0" fmla="*/ 0 w 690562"/>
                <a:gd name="connsiteY0" fmla="*/ 180975 h 319087"/>
                <a:gd name="connsiteX1" fmla="*/ 40481 w 690562"/>
                <a:gd name="connsiteY1" fmla="*/ 238125 h 319087"/>
                <a:gd name="connsiteX2" fmla="*/ 76200 w 690562"/>
                <a:gd name="connsiteY2" fmla="*/ 207169 h 319087"/>
                <a:gd name="connsiteX3" fmla="*/ 92868 w 690562"/>
                <a:gd name="connsiteY3" fmla="*/ 209550 h 319087"/>
                <a:gd name="connsiteX4" fmla="*/ 104775 w 690562"/>
                <a:gd name="connsiteY4" fmla="*/ 161925 h 319087"/>
                <a:gd name="connsiteX5" fmla="*/ 145256 w 690562"/>
                <a:gd name="connsiteY5" fmla="*/ 169069 h 319087"/>
                <a:gd name="connsiteX6" fmla="*/ 171450 w 690562"/>
                <a:gd name="connsiteY6" fmla="*/ 161925 h 319087"/>
                <a:gd name="connsiteX7" fmla="*/ 192881 w 690562"/>
                <a:gd name="connsiteY7" fmla="*/ 140494 h 319087"/>
                <a:gd name="connsiteX8" fmla="*/ 216693 w 690562"/>
                <a:gd name="connsiteY8" fmla="*/ 119062 h 319087"/>
                <a:gd name="connsiteX9" fmla="*/ 238125 w 690562"/>
                <a:gd name="connsiteY9" fmla="*/ 119062 h 319087"/>
                <a:gd name="connsiteX10" fmla="*/ 259556 w 690562"/>
                <a:gd name="connsiteY10" fmla="*/ 130969 h 319087"/>
                <a:gd name="connsiteX11" fmla="*/ 264318 w 690562"/>
                <a:gd name="connsiteY11" fmla="*/ 145256 h 319087"/>
                <a:gd name="connsiteX12" fmla="*/ 283368 w 690562"/>
                <a:gd name="connsiteY12" fmla="*/ 157162 h 319087"/>
                <a:gd name="connsiteX13" fmla="*/ 302418 w 690562"/>
                <a:gd name="connsiteY13" fmla="*/ 147637 h 319087"/>
                <a:gd name="connsiteX14" fmla="*/ 369093 w 690562"/>
                <a:gd name="connsiteY14" fmla="*/ 188119 h 319087"/>
                <a:gd name="connsiteX15" fmla="*/ 397668 w 690562"/>
                <a:gd name="connsiteY15" fmla="*/ 214312 h 319087"/>
                <a:gd name="connsiteX16" fmla="*/ 402431 w 690562"/>
                <a:gd name="connsiteY16" fmla="*/ 235744 h 319087"/>
                <a:gd name="connsiteX17" fmla="*/ 400050 w 690562"/>
                <a:gd name="connsiteY17" fmla="*/ 264319 h 319087"/>
                <a:gd name="connsiteX18" fmla="*/ 388143 w 690562"/>
                <a:gd name="connsiteY18" fmla="*/ 290512 h 319087"/>
                <a:gd name="connsiteX19" fmla="*/ 409575 w 690562"/>
                <a:gd name="connsiteY19" fmla="*/ 302419 h 319087"/>
                <a:gd name="connsiteX20" fmla="*/ 419100 w 690562"/>
                <a:gd name="connsiteY20" fmla="*/ 302419 h 319087"/>
                <a:gd name="connsiteX21" fmla="*/ 438150 w 690562"/>
                <a:gd name="connsiteY21" fmla="*/ 290512 h 319087"/>
                <a:gd name="connsiteX22" fmla="*/ 454818 w 690562"/>
                <a:gd name="connsiteY22" fmla="*/ 295275 h 319087"/>
                <a:gd name="connsiteX23" fmla="*/ 473868 w 690562"/>
                <a:gd name="connsiteY23" fmla="*/ 309562 h 319087"/>
                <a:gd name="connsiteX24" fmla="*/ 507206 w 690562"/>
                <a:gd name="connsiteY24" fmla="*/ 314325 h 319087"/>
                <a:gd name="connsiteX25" fmla="*/ 523875 w 690562"/>
                <a:gd name="connsiteY25" fmla="*/ 319087 h 319087"/>
                <a:gd name="connsiteX26" fmla="*/ 526256 w 690562"/>
                <a:gd name="connsiteY26" fmla="*/ 302419 h 319087"/>
                <a:gd name="connsiteX27" fmla="*/ 535781 w 690562"/>
                <a:gd name="connsiteY27" fmla="*/ 290512 h 319087"/>
                <a:gd name="connsiteX28" fmla="*/ 528637 w 690562"/>
                <a:gd name="connsiteY28" fmla="*/ 261937 h 319087"/>
                <a:gd name="connsiteX29" fmla="*/ 509587 w 690562"/>
                <a:gd name="connsiteY29" fmla="*/ 257175 h 319087"/>
                <a:gd name="connsiteX30" fmla="*/ 490537 w 690562"/>
                <a:gd name="connsiteY30" fmla="*/ 235744 h 319087"/>
                <a:gd name="connsiteX31" fmla="*/ 481012 w 690562"/>
                <a:gd name="connsiteY31" fmla="*/ 202406 h 319087"/>
                <a:gd name="connsiteX32" fmla="*/ 461962 w 690562"/>
                <a:gd name="connsiteY32" fmla="*/ 154781 h 319087"/>
                <a:gd name="connsiteX33" fmla="*/ 457200 w 690562"/>
                <a:gd name="connsiteY33" fmla="*/ 126206 h 319087"/>
                <a:gd name="connsiteX34" fmla="*/ 457200 w 690562"/>
                <a:gd name="connsiteY34" fmla="*/ 111919 h 319087"/>
                <a:gd name="connsiteX35" fmla="*/ 469106 w 690562"/>
                <a:gd name="connsiteY35" fmla="*/ 100012 h 319087"/>
                <a:gd name="connsiteX36" fmla="*/ 476250 w 690562"/>
                <a:gd name="connsiteY36" fmla="*/ 78581 h 319087"/>
                <a:gd name="connsiteX37" fmla="*/ 497681 w 690562"/>
                <a:gd name="connsiteY37" fmla="*/ 73819 h 319087"/>
                <a:gd name="connsiteX38" fmla="*/ 500062 w 690562"/>
                <a:gd name="connsiteY38" fmla="*/ 92869 h 319087"/>
                <a:gd name="connsiteX39" fmla="*/ 495300 w 690562"/>
                <a:gd name="connsiteY39" fmla="*/ 107156 h 319087"/>
                <a:gd name="connsiteX40" fmla="*/ 509587 w 690562"/>
                <a:gd name="connsiteY40" fmla="*/ 116681 h 319087"/>
                <a:gd name="connsiteX41" fmla="*/ 509587 w 690562"/>
                <a:gd name="connsiteY41" fmla="*/ 126206 h 319087"/>
                <a:gd name="connsiteX42" fmla="*/ 504825 w 690562"/>
                <a:gd name="connsiteY42" fmla="*/ 147637 h 319087"/>
                <a:gd name="connsiteX43" fmla="*/ 502443 w 690562"/>
                <a:gd name="connsiteY43" fmla="*/ 154781 h 319087"/>
                <a:gd name="connsiteX44" fmla="*/ 523875 w 690562"/>
                <a:gd name="connsiteY44" fmla="*/ 171450 h 319087"/>
                <a:gd name="connsiteX45" fmla="*/ 531018 w 690562"/>
                <a:gd name="connsiteY45" fmla="*/ 185737 h 319087"/>
                <a:gd name="connsiteX46" fmla="*/ 545306 w 690562"/>
                <a:gd name="connsiteY46" fmla="*/ 190500 h 319087"/>
                <a:gd name="connsiteX47" fmla="*/ 531018 w 690562"/>
                <a:gd name="connsiteY47" fmla="*/ 204787 h 319087"/>
                <a:gd name="connsiteX48" fmla="*/ 528637 w 690562"/>
                <a:gd name="connsiteY48" fmla="*/ 216694 h 319087"/>
                <a:gd name="connsiteX49" fmla="*/ 547687 w 690562"/>
                <a:gd name="connsiteY49" fmla="*/ 235744 h 319087"/>
                <a:gd name="connsiteX50" fmla="*/ 547687 w 690562"/>
                <a:gd name="connsiteY50" fmla="*/ 235744 h 319087"/>
                <a:gd name="connsiteX51" fmla="*/ 581025 w 690562"/>
                <a:gd name="connsiteY51" fmla="*/ 247650 h 319087"/>
                <a:gd name="connsiteX52" fmla="*/ 595312 w 690562"/>
                <a:gd name="connsiteY52" fmla="*/ 242887 h 319087"/>
                <a:gd name="connsiteX53" fmla="*/ 602456 w 690562"/>
                <a:gd name="connsiteY53" fmla="*/ 264319 h 319087"/>
                <a:gd name="connsiteX54" fmla="*/ 602456 w 690562"/>
                <a:gd name="connsiteY54" fmla="*/ 292894 h 319087"/>
                <a:gd name="connsiteX55" fmla="*/ 611981 w 690562"/>
                <a:gd name="connsiteY55" fmla="*/ 297656 h 319087"/>
                <a:gd name="connsiteX56" fmla="*/ 631031 w 690562"/>
                <a:gd name="connsiteY56" fmla="*/ 297656 h 319087"/>
                <a:gd name="connsiteX57" fmla="*/ 650081 w 690562"/>
                <a:gd name="connsiteY57" fmla="*/ 285750 h 319087"/>
                <a:gd name="connsiteX58" fmla="*/ 669131 w 690562"/>
                <a:gd name="connsiteY58" fmla="*/ 278606 h 319087"/>
                <a:gd name="connsiteX59" fmla="*/ 681037 w 690562"/>
                <a:gd name="connsiteY59" fmla="*/ 278606 h 319087"/>
                <a:gd name="connsiteX60" fmla="*/ 690562 w 690562"/>
                <a:gd name="connsiteY60" fmla="*/ 204787 h 319087"/>
                <a:gd name="connsiteX61" fmla="*/ 614362 w 690562"/>
                <a:gd name="connsiteY61" fmla="*/ 228600 h 319087"/>
                <a:gd name="connsiteX62" fmla="*/ 600075 w 690562"/>
                <a:gd name="connsiteY62" fmla="*/ 173831 h 319087"/>
                <a:gd name="connsiteX63" fmla="*/ 583406 w 690562"/>
                <a:gd name="connsiteY63" fmla="*/ 145256 h 319087"/>
                <a:gd name="connsiteX64" fmla="*/ 585787 w 690562"/>
                <a:gd name="connsiteY64" fmla="*/ 121444 h 319087"/>
                <a:gd name="connsiteX65" fmla="*/ 566737 w 690562"/>
                <a:gd name="connsiteY65" fmla="*/ 83344 h 319087"/>
                <a:gd name="connsiteX66" fmla="*/ 561975 w 690562"/>
                <a:gd name="connsiteY66" fmla="*/ 50006 h 319087"/>
                <a:gd name="connsiteX67" fmla="*/ 533400 w 690562"/>
                <a:gd name="connsiteY67" fmla="*/ 0 h 319087"/>
                <a:gd name="connsiteX68" fmla="*/ 411956 w 690562"/>
                <a:gd name="connsiteY68" fmla="*/ 42862 h 319087"/>
                <a:gd name="connsiteX69" fmla="*/ 319087 w 690562"/>
                <a:gd name="connsiteY69" fmla="*/ 71437 h 319087"/>
                <a:gd name="connsiteX70" fmla="*/ 257175 w 690562"/>
                <a:gd name="connsiteY70" fmla="*/ 92869 h 319087"/>
                <a:gd name="connsiteX71" fmla="*/ 147637 w 690562"/>
                <a:gd name="connsiteY71" fmla="*/ 126206 h 319087"/>
                <a:gd name="connsiteX72" fmla="*/ 64293 w 690562"/>
                <a:gd name="connsiteY72" fmla="*/ 157162 h 319087"/>
                <a:gd name="connsiteX73" fmla="*/ 0 w 690562"/>
                <a:gd name="connsiteY73" fmla="*/ 180975 h 319087"/>
                <a:gd name="connsiteX0" fmla="*/ 0 w 690562"/>
                <a:gd name="connsiteY0" fmla="*/ 180975 h 319087"/>
                <a:gd name="connsiteX1" fmla="*/ 40481 w 690562"/>
                <a:gd name="connsiteY1" fmla="*/ 238125 h 319087"/>
                <a:gd name="connsiteX2" fmla="*/ 76200 w 690562"/>
                <a:gd name="connsiteY2" fmla="*/ 207169 h 319087"/>
                <a:gd name="connsiteX3" fmla="*/ 92868 w 690562"/>
                <a:gd name="connsiteY3" fmla="*/ 209550 h 319087"/>
                <a:gd name="connsiteX4" fmla="*/ 104775 w 690562"/>
                <a:gd name="connsiteY4" fmla="*/ 161925 h 319087"/>
                <a:gd name="connsiteX5" fmla="*/ 145256 w 690562"/>
                <a:gd name="connsiteY5" fmla="*/ 169069 h 319087"/>
                <a:gd name="connsiteX6" fmla="*/ 171450 w 690562"/>
                <a:gd name="connsiteY6" fmla="*/ 161925 h 319087"/>
                <a:gd name="connsiteX7" fmla="*/ 192881 w 690562"/>
                <a:gd name="connsiteY7" fmla="*/ 140494 h 319087"/>
                <a:gd name="connsiteX8" fmla="*/ 216693 w 690562"/>
                <a:gd name="connsiteY8" fmla="*/ 119062 h 319087"/>
                <a:gd name="connsiteX9" fmla="*/ 238125 w 690562"/>
                <a:gd name="connsiteY9" fmla="*/ 119062 h 319087"/>
                <a:gd name="connsiteX10" fmla="*/ 259556 w 690562"/>
                <a:gd name="connsiteY10" fmla="*/ 130969 h 319087"/>
                <a:gd name="connsiteX11" fmla="*/ 264318 w 690562"/>
                <a:gd name="connsiteY11" fmla="*/ 145256 h 319087"/>
                <a:gd name="connsiteX12" fmla="*/ 283368 w 690562"/>
                <a:gd name="connsiteY12" fmla="*/ 157162 h 319087"/>
                <a:gd name="connsiteX13" fmla="*/ 302418 w 690562"/>
                <a:gd name="connsiteY13" fmla="*/ 147637 h 319087"/>
                <a:gd name="connsiteX14" fmla="*/ 361950 w 690562"/>
                <a:gd name="connsiteY14" fmla="*/ 195297 h 319087"/>
                <a:gd name="connsiteX15" fmla="*/ 397668 w 690562"/>
                <a:gd name="connsiteY15" fmla="*/ 214312 h 319087"/>
                <a:gd name="connsiteX16" fmla="*/ 402431 w 690562"/>
                <a:gd name="connsiteY16" fmla="*/ 235744 h 319087"/>
                <a:gd name="connsiteX17" fmla="*/ 400050 w 690562"/>
                <a:gd name="connsiteY17" fmla="*/ 264319 h 319087"/>
                <a:gd name="connsiteX18" fmla="*/ 388143 w 690562"/>
                <a:gd name="connsiteY18" fmla="*/ 290512 h 319087"/>
                <a:gd name="connsiteX19" fmla="*/ 409575 w 690562"/>
                <a:gd name="connsiteY19" fmla="*/ 302419 h 319087"/>
                <a:gd name="connsiteX20" fmla="*/ 419100 w 690562"/>
                <a:gd name="connsiteY20" fmla="*/ 302419 h 319087"/>
                <a:gd name="connsiteX21" fmla="*/ 438150 w 690562"/>
                <a:gd name="connsiteY21" fmla="*/ 290512 h 319087"/>
                <a:gd name="connsiteX22" fmla="*/ 454818 w 690562"/>
                <a:gd name="connsiteY22" fmla="*/ 295275 h 319087"/>
                <a:gd name="connsiteX23" fmla="*/ 473868 w 690562"/>
                <a:gd name="connsiteY23" fmla="*/ 309562 h 319087"/>
                <a:gd name="connsiteX24" fmla="*/ 507206 w 690562"/>
                <a:gd name="connsiteY24" fmla="*/ 314325 h 319087"/>
                <a:gd name="connsiteX25" fmla="*/ 523875 w 690562"/>
                <a:gd name="connsiteY25" fmla="*/ 319087 h 319087"/>
                <a:gd name="connsiteX26" fmla="*/ 526256 w 690562"/>
                <a:gd name="connsiteY26" fmla="*/ 302419 h 319087"/>
                <a:gd name="connsiteX27" fmla="*/ 535781 w 690562"/>
                <a:gd name="connsiteY27" fmla="*/ 290512 h 319087"/>
                <a:gd name="connsiteX28" fmla="*/ 528637 w 690562"/>
                <a:gd name="connsiteY28" fmla="*/ 261937 h 319087"/>
                <a:gd name="connsiteX29" fmla="*/ 509587 w 690562"/>
                <a:gd name="connsiteY29" fmla="*/ 257175 h 319087"/>
                <a:gd name="connsiteX30" fmla="*/ 490537 w 690562"/>
                <a:gd name="connsiteY30" fmla="*/ 235744 h 319087"/>
                <a:gd name="connsiteX31" fmla="*/ 481012 w 690562"/>
                <a:gd name="connsiteY31" fmla="*/ 202406 h 319087"/>
                <a:gd name="connsiteX32" fmla="*/ 461962 w 690562"/>
                <a:gd name="connsiteY32" fmla="*/ 154781 h 319087"/>
                <a:gd name="connsiteX33" fmla="*/ 457200 w 690562"/>
                <a:gd name="connsiteY33" fmla="*/ 126206 h 319087"/>
                <a:gd name="connsiteX34" fmla="*/ 457200 w 690562"/>
                <a:gd name="connsiteY34" fmla="*/ 111919 h 319087"/>
                <a:gd name="connsiteX35" fmla="*/ 469106 w 690562"/>
                <a:gd name="connsiteY35" fmla="*/ 100012 h 319087"/>
                <a:gd name="connsiteX36" fmla="*/ 476250 w 690562"/>
                <a:gd name="connsiteY36" fmla="*/ 78581 h 319087"/>
                <a:gd name="connsiteX37" fmla="*/ 497681 w 690562"/>
                <a:gd name="connsiteY37" fmla="*/ 73819 h 319087"/>
                <a:gd name="connsiteX38" fmla="*/ 500062 w 690562"/>
                <a:gd name="connsiteY38" fmla="*/ 92869 h 319087"/>
                <a:gd name="connsiteX39" fmla="*/ 495300 w 690562"/>
                <a:gd name="connsiteY39" fmla="*/ 107156 h 319087"/>
                <a:gd name="connsiteX40" fmla="*/ 509587 w 690562"/>
                <a:gd name="connsiteY40" fmla="*/ 116681 h 319087"/>
                <a:gd name="connsiteX41" fmla="*/ 509587 w 690562"/>
                <a:gd name="connsiteY41" fmla="*/ 126206 h 319087"/>
                <a:gd name="connsiteX42" fmla="*/ 504825 w 690562"/>
                <a:gd name="connsiteY42" fmla="*/ 147637 h 319087"/>
                <a:gd name="connsiteX43" fmla="*/ 502443 w 690562"/>
                <a:gd name="connsiteY43" fmla="*/ 154781 h 319087"/>
                <a:gd name="connsiteX44" fmla="*/ 523875 w 690562"/>
                <a:gd name="connsiteY44" fmla="*/ 171450 h 319087"/>
                <a:gd name="connsiteX45" fmla="*/ 531018 w 690562"/>
                <a:gd name="connsiteY45" fmla="*/ 185737 h 319087"/>
                <a:gd name="connsiteX46" fmla="*/ 545306 w 690562"/>
                <a:gd name="connsiteY46" fmla="*/ 190500 h 319087"/>
                <a:gd name="connsiteX47" fmla="*/ 531018 w 690562"/>
                <a:gd name="connsiteY47" fmla="*/ 204787 h 319087"/>
                <a:gd name="connsiteX48" fmla="*/ 528637 w 690562"/>
                <a:gd name="connsiteY48" fmla="*/ 216694 h 319087"/>
                <a:gd name="connsiteX49" fmla="*/ 547687 w 690562"/>
                <a:gd name="connsiteY49" fmla="*/ 235744 h 319087"/>
                <a:gd name="connsiteX50" fmla="*/ 547687 w 690562"/>
                <a:gd name="connsiteY50" fmla="*/ 235744 h 319087"/>
                <a:gd name="connsiteX51" fmla="*/ 581025 w 690562"/>
                <a:gd name="connsiteY51" fmla="*/ 247650 h 319087"/>
                <a:gd name="connsiteX52" fmla="*/ 595312 w 690562"/>
                <a:gd name="connsiteY52" fmla="*/ 242887 h 319087"/>
                <a:gd name="connsiteX53" fmla="*/ 602456 w 690562"/>
                <a:gd name="connsiteY53" fmla="*/ 264319 h 319087"/>
                <a:gd name="connsiteX54" fmla="*/ 602456 w 690562"/>
                <a:gd name="connsiteY54" fmla="*/ 292894 h 319087"/>
                <a:gd name="connsiteX55" fmla="*/ 611981 w 690562"/>
                <a:gd name="connsiteY55" fmla="*/ 297656 h 319087"/>
                <a:gd name="connsiteX56" fmla="*/ 631031 w 690562"/>
                <a:gd name="connsiteY56" fmla="*/ 297656 h 319087"/>
                <a:gd name="connsiteX57" fmla="*/ 650081 w 690562"/>
                <a:gd name="connsiteY57" fmla="*/ 285750 h 319087"/>
                <a:gd name="connsiteX58" fmla="*/ 669131 w 690562"/>
                <a:gd name="connsiteY58" fmla="*/ 278606 h 319087"/>
                <a:gd name="connsiteX59" fmla="*/ 681037 w 690562"/>
                <a:gd name="connsiteY59" fmla="*/ 278606 h 319087"/>
                <a:gd name="connsiteX60" fmla="*/ 690562 w 690562"/>
                <a:gd name="connsiteY60" fmla="*/ 204787 h 319087"/>
                <a:gd name="connsiteX61" fmla="*/ 614362 w 690562"/>
                <a:gd name="connsiteY61" fmla="*/ 228600 h 319087"/>
                <a:gd name="connsiteX62" fmla="*/ 600075 w 690562"/>
                <a:gd name="connsiteY62" fmla="*/ 173831 h 319087"/>
                <a:gd name="connsiteX63" fmla="*/ 583406 w 690562"/>
                <a:gd name="connsiteY63" fmla="*/ 145256 h 319087"/>
                <a:gd name="connsiteX64" fmla="*/ 585787 w 690562"/>
                <a:gd name="connsiteY64" fmla="*/ 121444 h 319087"/>
                <a:gd name="connsiteX65" fmla="*/ 566737 w 690562"/>
                <a:gd name="connsiteY65" fmla="*/ 83344 h 319087"/>
                <a:gd name="connsiteX66" fmla="*/ 561975 w 690562"/>
                <a:gd name="connsiteY66" fmla="*/ 50006 h 319087"/>
                <a:gd name="connsiteX67" fmla="*/ 533400 w 690562"/>
                <a:gd name="connsiteY67" fmla="*/ 0 h 319087"/>
                <a:gd name="connsiteX68" fmla="*/ 411956 w 690562"/>
                <a:gd name="connsiteY68" fmla="*/ 42862 h 319087"/>
                <a:gd name="connsiteX69" fmla="*/ 319087 w 690562"/>
                <a:gd name="connsiteY69" fmla="*/ 71437 h 319087"/>
                <a:gd name="connsiteX70" fmla="*/ 257175 w 690562"/>
                <a:gd name="connsiteY70" fmla="*/ 92869 h 319087"/>
                <a:gd name="connsiteX71" fmla="*/ 147637 w 690562"/>
                <a:gd name="connsiteY71" fmla="*/ 126206 h 319087"/>
                <a:gd name="connsiteX72" fmla="*/ 64293 w 690562"/>
                <a:gd name="connsiteY72" fmla="*/ 157162 h 319087"/>
                <a:gd name="connsiteX73" fmla="*/ 0 w 690562"/>
                <a:gd name="connsiteY73" fmla="*/ 180975 h 319087"/>
                <a:gd name="connsiteX0" fmla="*/ 0 w 690562"/>
                <a:gd name="connsiteY0" fmla="*/ 180975 h 319087"/>
                <a:gd name="connsiteX1" fmla="*/ 40481 w 690562"/>
                <a:gd name="connsiteY1" fmla="*/ 238125 h 319087"/>
                <a:gd name="connsiteX2" fmla="*/ 76200 w 690562"/>
                <a:gd name="connsiteY2" fmla="*/ 207169 h 319087"/>
                <a:gd name="connsiteX3" fmla="*/ 92868 w 690562"/>
                <a:gd name="connsiteY3" fmla="*/ 209550 h 319087"/>
                <a:gd name="connsiteX4" fmla="*/ 104775 w 690562"/>
                <a:gd name="connsiteY4" fmla="*/ 161925 h 319087"/>
                <a:gd name="connsiteX5" fmla="*/ 145256 w 690562"/>
                <a:gd name="connsiteY5" fmla="*/ 169069 h 319087"/>
                <a:gd name="connsiteX6" fmla="*/ 171450 w 690562"/>
                <a:gd name="connsiteY6" fmla="*/ 161925 h 319087"/>
                <a:gd name="connsiteX7" fmla="*/ 192881 w 690562"/>
                <a:gd name="connsiteY7" fmla="*/ 140494 h 319087"/>
                <a:gd name="connsiteX8" fmla="*/ 216693 w 690562"/>
                <a:gd name="connsiteY8" fmla="*/ 119062 h 319087"/>
                <a:gd name="connsiteX9" fmla="*/ 238125 w 690562"/>
                <a:gd name="connsiteY9" fmla="*/ 119062 h 319087"/>
                <a:gd name="connsiteX10" fmla="*/ 259556 w 690562"/>
                <a:gd name="connsiteY10" fmla="*/ 130969 h 319087"/>
                <a:gd name="connsiteX11" fmla="*/ 264318 w 690562"/>
                <a:gd name="connsiteY11" fmla="*/ 145256 h 319087"/>
                <a:gd name="connsiteX12" fmla="*/ 283368 w 690562"/>
                <a:gd name="connsiteY12" fmla="*/ 157162 h 319087"/>
                <a:gd name="connsiteX13" fmla="*/ 304800 w 690562"/>
                <a:gd name="connsiteY13" fmla="*/ 154817 h 319087"/>
                <a:gd name="connsiteX14" fmla="*/ 361950 w 690562"/>
                <a:gd name="connsiteY14" fmla="*/ 195297 h 319087"/>
                <a:gd name="connsiteX15" fmla="*/ 397668 w 690562"/>
                <a:gd name="connsiteY15" fmla="*/ 214312 h 319087"/>
                <a:gd name="connsiteX16" fmla="*/ 402431 w 690562"/>
                <a:gd name="connsiteY16" fmla="*/ 235744 h 319087"/>
                <a:gd name="connsiteX17" fmla="*/ 400050 w 690562"/>
                <a:gd name="connsiteY17" fmla="*/ 264319 h 319087"/>
                <a:gd name="connsiteX18" fmla="*/ 388143 w 690562"/>
                <a:gd name="connsiteY18" fmla="*/ 290512 h 319087"/>
                <a:gd name="connsiteX19" fmla="*/ 409575 w 690562"/>
                <a:gd name="connsiteY19" fmla="*/ 302419 h 319087"/>
                <a:gd name="connsiteX20" fmla="*/ 419100 w 690562"/>
                <a:gd name="connsiteY20" fmla="*/ 302419 h 319087"/>
                <a:gd name="connsiteX21" fmla="*/ 438150 w 690562"/>
                <a:gd name="connsiteY21" fmla="*/ 290512 h 319087"/>
                <a:gd name="connsiteX22" fmla="*/ 454818 w 690562"/>
                <a:gd name="connsiteY22" fmla="*/ 295275 h 319087"/>
                <a:gd name="connsiteX23" fmla="*/ 473868 w 690562"/>
                <a:gd name="connsiteY23" fmla="*/ 309562 h 319087"/>
                <a:gd name="connsiteX24" fmla="*/ 507206 w 690562"/>
                <a:gd name="connsiteY24" fmla="*/ 314325 h 319087"/>
                <a:gd name="connsiteX25" fmla="*/ 523875 w 690562"/>
                <a:gd name="connsiteY25" fmla="*/ 319087 h 319087"/>
                <a:gd name="connsiteX26" fmla="*/ 526256 w 690562"/>
                <a:gd name="connsiteY26" fmla="*/ 302419 h 319087"/>
                <a:gd name="connsiteX27" fmla="*/ 535781 w 690562"/>
                <a:gd name="connsiteY27" fmla="*/ 290512 h 319087"/>
                <a:gd name="connsiteX28" fmla="*/ 528637 w 690562"/>
                <a:gd name="connsiteY28" fmla="*/ 261937 h 319087"/>
                <a:gd name="connsiteX29" fmla="*/ 509587 w 690562"/>
                <a:gd name="connsiteY29" fmla="*/ 257175 h 319087"/>
                <a:gd name="connsiteX30" fmla="*/ 490537 w 690562"/>
                <a:gd name="connsiteY30" fmla="*/ 235744 h 319087"/>
                <a:gd name="connsiteX31" fmla="*/ 481012 w 690562"/>
                <a:gd name="connsiteY31" fmla="*/ 202406 h 319087"/>
                <a:gd name="connsiteX32" fmla="*/ 461962 w 690562"/>
                <a:gd name="connsiteY32" fmla="*/ 154781 h 319087"/>
                <a:gd name="connsiteX33" fmla="*/ 457200 w 690562"/>
                <a:gd name="connsiteY33" fmla="*/ 126206 h 319087"/>
                <a:gd name="connsiteX34" fmla="*/ 457200 w 690562"/>
                <a:gd name="connsiteY34" fmla="*/ 111919 h 319087"/>
                <a:gd name="connsiteX35" fmla="*/ 469106 w 690562"/>
                <a:gd name="connsiteY35" fmla="*/ 100012 h 319087"/>
                <a:gd name="connsiteX36" fmla="*/ 476250 w 690562"/>
                <a:gd name="connsiteY36" fmla="*/ 78581 h 319087"/>
                <a:gd name="connsiteX37" fmla="*/ 497681 w 690562"/>
                <a:gd name="connsiteY37" fmla="*/ 73819 h 319087"/>
                <a:gd name="connsiteX38" fmla="*/ 500062 w 690562"/>
                <a:gd name="connsiteY38" fmla="*/ 92869 h 319087"/>
                <a:gd name="connsiteX39" fmla="*/ 495300 w 690562"/>
                <a:gd name="connsiteY39" fmla="*/ 107156 h 319087"/>
                <a:gd name="connsiteX40" fmla="*/ 509587 w 690562"/>
                <a:gd name="connsiteY40" fmla="*/ 116681 h 319087"/>
                <a:gd name="connsiteX41" fmla="*/ 509587 w 690562"/>
                <a:gd name="connsiteY41" fmla="*/ 126206 h 319087"/>
                <a:gd name="connsiteX42" fmla="*/ 504825 w 690562"/>
                <a:gd name="connsiteY42" fmla="*/ 147637 h 319087"/>
                <a:gd name="connsiteX43" fmla="*/ 502443 w 690562"/>
                <a:gd name="connsiteY43" fmla="*/ 154781 h 319087"/>
                <a:gd name="connsiteX44" fmla="*/ 523875 w 690562"/>
                <a:gd name="connsiteY44" fmla="*/ 171450 h 319087"/>
                <a:gd name="connsiteX45" fmla="*/ 531018 w 690562"/>
                <a:gd name="connsiteY45" fmla="*/ 185737 h 319087"/>
                <a:gd name="connsiteX46" fmla="*/ 545306 w 690562"/>
                <a:gd name="connsiteY46" fmla="*/ 190500 h 319087"/>
                <a:gd name="connsiteX47" fmla="*/ 531018 w 690562"/>
                <a:gd name="connsiteY47" fmla="*/ 204787 h 319087"/>
                <a:gd name="connsiteX48" fmla="*/ 528637 w 690562"/>
                <a:gd name="connsiteY48" fmla="*/ 216694 h 319087"/>
                <a:gd name="connsiteX49" fmla="*/ 547687 w 690562"/>
                <a:gd name="connsiteY49" fmla="*/ 235744 h 319087"/>
                <a:gd name="connsiteX50" fmla="*/ 547687 w 690562"/>
                <a:gd name="connsiteY50" fmla="*/ 235744 h 319087"/>
                <a:gd name="connsiteX51" fmla="*/ 581025 w 690562"/>
                <a:gd name="connsiteY51" fmla="*/ 247650 h 319087"/>
                <a:gd name="connsiteX52" fmla="*/ 595312 w 690562"/>
                <a:gd name="connsiteY52" fmla="*/ 242887 h 319087"/>
                <a:gd name="connsiteX53" fmla="*/ 602456 w 690562"/>
                <a:gd name="connsiteY53" fmla="*/ 264319 h 319087"/>
                <a:gd name="connsiteX54" fmla="*/ 602456 w 690562"/>
                <a:gd name="connsiteY54" fmla="*/ 292894 h 319087"/>
                <a:gd name="connsiteX55" fmla="*/ 611981 w 690562"/>
                <a:gd name="connsiteY55" fmla="*/ 297656 h 319087"/>
                <a:gd name="connsiteX56" fmla="*/ 631031 w 690562"/>
                <a:gd name="connsiteY56" fmla="*/ 297656 h 319087"/>
                <a:gd name="connsiteX57" fmla="*/ 650081 w 690562"/>
                <a:gd name="connsiteY57" fmla="*/ 285750 h 319087"/>
                <a:gd name="connsiteX58" fmla="*/ 669131 w 690562"/>
                <a:gd name="connsiteY58" fmla="*/ 278606 h 319087"/>
                <a:gd name="connsiteX59" fmla="*/ 681037 w 690562"/>
                <a:gd name="connsiteY59" fmla="*/ 278606 h 319087"/>
                <a:gd name="connsiteX60" fmla="*/ 690562 w 690562"/>
                <a:gd name="connsiteY60" fmla="*/ 204787 h 319087"/>
                <a:gd name="connsiteX61" fmla="*/ 614362 w 690562"/>
                <a:gd name="connsiteY61" fmla="*/ 228600 h 319087"/>
                <a:gd name="connsiteX62" fmla="*/ 600075 w 690562"/>
                <a:gd name="connsiteY62" fmla="*/ 173831 h 319087"/>
                <a:gd name="connsiteX63" fmla="*/ 583406 w 690562"/>
                <a:gd name="connsiteY63" fmla="*/ 145256 h 319087"/>
                <a:gd name="connsiteX64" fmla="*/ 585787 w 690562"/>
                <a:gd name="connsiteY64" fmla="*/ 121444 h 319087"/>
                <a:gd name="connsiteX65" fmla="*/ 566737 w 690562"/>
                <a:gd name="connsiteY65" fmla="*/ 83344 h 319087"/>
                <a:gd name="connsiteX66" fmla="*/ 561975 w 690562"/>
                <a:gd name="connsiteY66" fmla="*/ 50006 h 319087"/>
                <a:gd name="connsiteX67" fmla="*/ 533400 w 690562"/>
                <a:gd name="connsiteY67" fmla="*/ 0 h 319087"/>
                <a:gd name="connsiteX68" fmla="*/ 411956 w 690562"/>
                <a:gd name="connsiteY68" fmla="*/ 42862 h 319087"/>
                <a:gd name="connsiteX69" fmla="*/ 319087 w 690562"/>
                <a:gd name="connsiteY69" fmla="*/ 71437 h 319087"/>
                <a:gd name="connsiteX70" fmla="*/ 257175 w 690562"/>
                <a:gd name="connsiteY70" fmla="*/ 92869 h 319087"/>
                <a:gd name="connsiteX71" fmla="*/ 147637 w 690562"/>
                <a:gd name="connsiteY71" fmla="*/ 126206 h 319087"/>
                <a:gd name="connsiteX72" fmla="*/ 64293 w 690562"/>
                <a:gd name="connsiteY72" fmla="*/ 157162 h 319087"/>
                <a:gd name="connsiteX73" fmla="*/ 0 w 690562"/>
                <a:gd name="connsiteY73" fmla="*/ 180975 h 319087"/>
                <a:gd name="connsiteX0" fmla="*/ 0 w 690562"/>
                <a:gd name="connsiteY0" fmla="*/ 180975 h 319087"/>
                <a:gd name="connsiteX1" fmla="*/ 40481 w 690562"/>
                <a:gd name="connsiteY1" fmla="*/ 238125 h 319087"/>
                <a:gd name="connsiteX2" fmla="*/ 76200 w 690562"/>
                <a:gd name="connsiteY2" fmla="*/ 207169 h 319087"/>
                <a:gd name="connsiteX3" fmla="*/ 92868 w 690562"/>
                <a:gd name="connsiteY3" fmla="*/ 209550 h 319087"/>
                <a:gd name="connsiteX4" fmla="*/ 104775 w 690562"/>
                <a:gd name="connsiteY4" fmla="*/ 161925 h 319087"/>
                <a:gd name="connsiteX5" fmla="*/ 145256 w 690562"/>
                <a:gd name="connsiteY5" fmla="*/ 169069 h 319087"/>
                <a:gd name="connsiteX6" fmla="*/ 171450 w 690562"/>
                <a:gd name="connsiteY6" fmla="*/ 161925 h 319087"/>
                <a:gd name="connsiteX7" fmla="*/ 192881 w 690562"/>
                <a:gd name="connsiteY7" fmla="*/ 140494 h 319087"/>
                <a:gd name="connsiteX8" fmla="*/ 216693 w 690562"/>
                <a:gd name="connsiteY8" fmla="*/ 119062 h 319087"/>
                <a:gd name="connsiteX9" fmla="*/ 238125 w 690562"/>
                <a:gd name="connsiteY9" fmla="*/ 119062 h 319087"/>
                <a:gd name="connsiteX10" fmla="*/ 259556 w 690562"/>
                <a:gd name="connsiteY10" fmla="*/ 130969 h 319087"/>
                <a:gd name="connsiteX11" fmla="*/ 264318 w 690562"/>
                <a:gd name="connsiteY11" fmla="*/ 145256 h 319087"/>
                <a:gd name="connsiteX12" fmla="*/ 283368 w 690562"/>
                <a:gd name="connsiteY12" fmla="*/ 157162 h 319087"/>
                <a:gd name="connsiteX13" fmla="*/ 304800 w 690562"/>
                <a:gd name="connsiteY13" fmla="*/ 154817 h 319087"/>
                <a:gd name="connsiteX14" fmla="*/ 361950 w 690562"/>
                <a:gd name="connsiteY14" fmla="*/ 195297 h 319087"/>
                <a:gd name="connsiteX15" fmla="*/ 397668 w 690562"/>
                <a:gd name="connsiteY15" fmla="*/ 214312 h 319087"/>
                <a:gd name="connsiteX16" fmla="*/ 402431 w 690562"/>
                <a:gd name="connsiteY16" fmla="*/ 235744 h 319087"/>
                <a:gd name="connsiteX17" fmla="*/ 400050 w 690562"/>
                <a:gd name="connsiteY17" fmla="*/ 264319 h 319087"/>
                <a:gd name="connsiteX18" fmla="*/ 388143 w 690562"/>
                <a:gd name="connsiteY18" fmla="*/ 290512 h 319087"/>
                <a:gd name="connsiteX19" fmla="*/ 409575 w 690562"/>
                <a:gd name="connsiteY19" fmla="*/ 302419 h 319087"/>
                <a:gd name="connsiteX20" fmla="*/ 419100 w 690562"/>
                <a:gd name="connsiteY20" fmla="*/ 302419 h 319087"/>
                <a:gd name="connsiteX21" fmla="*/ 438150 w 690562"/>
                <a:gd name="connsiteY21" fmla="*/ 290512 h 319087"/>
                <a:gd name="connsiteX22" fmla="*/ 473868 w 690562"/>
                <a:gd name="connsiteY22" fmla="*/ 309562 h 319087"/>
                <a:gd name="connsiteX23" fmla="*/ 507206 w 690562"/>
                <a:gd name="connsiteY23" fmla="*/ 314325 h 319087"/>
                <a:gd name="connsiteX24" fmla="*/ 523875 w 690562"/>
                <a:gd name="connsiteY24" fmla="*/ 319087 h 319087"/>
                <a:gd name="connsiteX25" fmla="*/ 526256 w 690562"/>
                <a:gd name="connsiteY25" fmla="*/ 302419 h 319087"/>
                <a:gd name="connsiteX26" fmla="*/ 535781 w 690562"/>
                <a:gd name="connsiteY26" fmla="*/ 290512 h 319087"/>
                <a:gd name="connsiteX27" fmla="*/ 528637 w 690562"/>
                <a:gd name="connsiteY27" fmla="*/ 261937 h 319087"/>
                <a:gd name="connsiteX28" fmla="*/ 509587 w 690562"/>
                <a:gd name="connsiteY28" fmla="*/ 257175 h 319087"/>
                <a:gd name="connsiteX29" fmla="*/ 490537 w 690562"/>
                <a:gd name="connsiteY29" fmla="*/ 235744 h 319087"/>
                <a:gd name="connsiteX30" fmla="*/ 481012 w 690562"/>
                <a:gd name="connsiteY30" fmla="*/ 202406 h 319087"/>
                <a:gd name="connsiteX31" fmla="*/ 461962 w 690562"/>
                <a:gd name="connsiteY31" fmla="*/ 154781 h 319087"/>
                <a:gd name="connsiteX32" fmla="*/ 457200 w 690562"/>
                <a:gd name="connsiteY32" fmla="*/ 126206 h 319087"/>
                <a:gd name="connsiteX33" fmla="*/ 457200 w 690562"/>
                <a:gd name="connsiteY33" fmla="*/ 111919 h 319087"/>
                <a:gd name="connsiteX34" fmla="*/ 469106 w 690562"/>
                <a:gd name="connsiteY34" fmla="*/ 100012 h 319087"/>
                <a:gd name="connsiteX35" fmla="*/ 476250 w 690562"/>
                <a:gd name="connsiteY35" fmla="*/ 78581 h 319087"/>
                <a:gd name="connsiteX36" fmla="*/ 497681 w 690562"/>
                <a:gd name="connsiteY36" fmla="*/ 73819 h 319087"/>
                <a:gd name="connsiteX37" fmla="*/ 500062 w 690562"/>
                <a:gd name="connsiteY37" fmla="*/ 92869 h 319087"/>
                <a:gd name="connsiteX38" fmla="*/ 495300 w 690562"/>
                <a:gd name="connsiteY38" fmla="*/ 107156 h 319087"/>
                <a:gd name="connsiteX39" fmla="*/ 509587 w 690562"/>
                <a:gd name="connsiteY39" fmla="*/ 116681 h 319087"/>
                <a:gd name="connsiteX40" fmla="*/ 509587 w 690562"/>
                <a:gd name="connsiteY40" fmla="*/ 126206 h 319087"/>
                <a:gd name="connsiteX41" fmla="*/ 504825 w 690562"/>
                <a:gd name="connsiteY41" fmla="*/ 147637 h 319087"/>
                <a:gd name="connsiteX42" fmla="*/ 502443 w 690562"/>
                <a:gd name="connsiteY42" fmla="*/ 154781 h 319087"/>
                <a:gd name="connsiteX43" fmla="*/ 523875 w 690562"/>
                <a:gd name="connsiteY43" fmla="*/ 171450 h 319087"/>
                <a:gd name="connsiteX44" fmla="*/ 531018 w 690562"/>
                <a:gd name="connsiteY44" fmla="*/ 185737 h 319087"/>
                <a:gd name="connsiteX45" fmla="*/ 545306 w 690562"/>
                <a:gd name="connsiteY45" fmla="*/ 190500 h 319087"/>
                <a:gd name="connsiteX46" fmla="*/ 531018 w 690562"/>
                <a:gd name="connsiteY46" fmla="*/ 204787 h 319087"/>
                <a:gd name="connsiteX47" fmla="*/ 528637 w 690562"/>
                <a:gd name="connsiteY47" fmla="*/ 216694 h 319087"/>
                <a:gd name="connsiteX48" fmla="*/ 547687 w 690562"/>
                <a:gd name="connsiteY48" fmla="*/ 235744 h 319087"/>
                <a:gd name="connsiteX49" fmla="*/ 547687 w 690562"/>
                <a:gd name="connsiteY49" fmla="*/ 235744 h 319087"/>
                <a:gd name="connsiteX50" fmla="*/ 581025 w 690562"/>
                <a:gd name="connsiteY50" fmla="*/ 247650 h 319087"/>
                <a:gd name="connsiteX51" fmla="*/ 595312 w 690562"/>
                <a:gd name="connsiteY51" fmla="*/ 242887 h 319087"/>
                <a:gd name="connsiteX52" fmla="*/ 602456 w 690562"/>
                <a:gd name="connsiteY52" fmla="*/ 264319 h 319087"/>
                <a:gd name="connsiteX53" fmla="*/ 602456 w 690562"/>
                <a:gd name="connsiteY53" fmla="*/ 292894 h 319087"/>
                <a:gd name="connsiteX54" fmla="*/ 611981 w 690562"/>
                <a:gd name="connsiteY54" fmla="*/ 297656 h 319087"/>
                <a:gd name="connsiteX55" fmla="*/ 631031 w 690562"/>
                <a:gd name="connsiteY55" fmla="*/ 297656 h 319087"/>
                <a:gd name="connsiteX56" fmla="*/ 650081 w 690562"/>
                <a:gd name="connsiteY56" fmla="*/ 285750 h 319087"/>
                <a:gd name="connsiteX57" fmla="*/ 669131 w 690562"/>
                <a:gd name="connsiteY57" fmla="*/ 278606 h 319087"/>
                <a:gd name="connsiteX58" fmla="*/ 681037 w 690562"/>
                <a:gd name="connsiteY58" fmla="*/ 278606 h 319087"/>
                <a:gd name="connsiteX59" fmla="*/ 690562 w 690562"/>
                <a:gd name="connsiteY59" fmla="*/ 204787 h 319087"/>
                <a:gd name="connsiteX60" fmla="*/ 614362 w 690562"/>
                <a:gd name="connsiteY60" fmla="*/ 228600 h 319087"/>
                <a:gd name="connsiteX61" fmla="*/ 600075 w 690562"/>
                <a:gd name="connsiteY61" fmla="*/ 173831 h 319087"/>
                <a:gd name="connsiteX62" fmla="*/ 583406 w 690562"/>
                <a:gd name="connsiteY62" fmla="*/ 145256 h 319087"/>
                <a:gd name="connsiteX63" fmla="*/ 585787 w 690562"/>
                <a:gd name="connsiteY63" fmla="*/ 121444 h 319087"/>
                <a:gd name="connsiteX64" fmla="*/ 566737 w 690562"/>
                <a:gd name="connsiteY64" fmla="*/ 83344 h 319087"/>
                <a:gd name="connsiteX65" fmla="*/ 561975 w 690562"/>
                <a:gd name="connsiteY65" fmla="*/ 50006 h 319087"/>
                <a:gd name="connsiteX66" fmla="*/ 533400 w 690562"/>
                <a:gd name="connsiteY66" fmla="*/ 0 h 319087"/>
                <a:gd name="connsiteX67" fmla="*/ 411956 w 690562"/>
                <a:gd name="connsiteY67" fmla="*/ 42862 h 319087"/>
                <a:gd name="connsiteX68" fmla="*/ 319087 w 690562"/>
                <a:gd name="connsiteY68" fmla="*/ 71437 h 319087"/>
                <a:gd name="connsiteX69" fmla="*/ 257175 w 690562"/>
                <a:gd name="connsiteY69" fmla="*/ 92869 h 319087"/>
                <a:gd name="connsiteX70" fmla="*/ 147637 w 690562"/>
                <a:gd name="connsiteY70" fmla="*/ 126206 h 319087"/>
                <a:gd name="connsiteX71" fmla="*/ 64293 w 690562"/>
                <a:gd name="connsiteY71" fmla="*/ 157162 h 319087"/>
                <a:gd name="connsiteX72" fmla="*/ 0 w 690562"/>
                <a:gd name="connsiteY72" fmla="*/ 180975 h 319087"/>
                <a:gd name="connsiteX0" fmla="*/ 0 w 690562"/>
                <a:gd name="connsiteY0" fmla="*/ 180975 h 319087"/>
                <a:gd name="connsiteX1" fmla="*/ 40481 w 690562"/>
                <a:gd name="connsiteY1" fmla="*/ 238125 h 319087"/>
                <a:gd name="connsiteX2" fmla="*/ 76200 w 690562"/>
                <a:gd name="connsiteY2" fmla="*/ 207169 h 319087"/>
                <a:gd name="connsiteX3" fmla="*/ 92868 w 690562"/>
                <a:gd name="connsiteY3" fmla="*/ 209550 h 319087"/>
                <a:gd name="connsiteX4" fmla="*/ 104775 w 690562"/>
                <a:gd name="connsiteY4" fmla="*/ 161925 h 319087"/>
                <a:gd name="connsiteX5" fmla="*/ 145256 w 690562"/>
                <a:gd name="connsiteY5" fmla="*/ 169069 h 319087"/>
                <a:gd name="connsiteX6" fmla="*/ 171450 w 690562"/>
                <a:gd name="connsiteY6" fmla="*/ 161925 h 319087"/>
                <a:gd name="connsiteX7" fmla="*/ 192881 w 690562"/>
                <a:gd name="connsiteY7" fmla="*/ 140494 h 319087"/>
                <a:gd name="connsiteX8" fmla="*/ 216693 w 690562"/>
                <a:gd name="connsiteY8" fmla="*/ 119062 h 319087"/>
                <a:gd name="connsiteX9" fmla="*/ 238125 w 690562"/>
                <a:gd name="connsiteY9" fmla="*/ 119062 h 319087"/>
                <a:gd name="connsiteX10" fmla="*/ 259556 w 690562"/>
                <a:gd name="connsiteY10" fmla="*/ 130969 h 319087"/>
                <a:gd name="connsiteX11" fmla="*/ 264318 w 690562"/>
                <a:gd name="connsiteY11" fmla="*/ 145256 h 319087"/>
                <a:gd name="connsiteX12" fmla="*/ 283368 w 690562"/>
                <a:gd name="connsiteY12" fmla="*/ 157162 h 319087"/>
                <a:gd name="connsiteX13" fmla="*/ 304800 w 690562"/>
                <a:gd name="connsiteY13" fmla="*/ 154817 h 319087"/>
                <a:gd name="connsiteX14" fmla="*/ 361950 w 690562"/>
                <a:gd name="connsiteY14" fmla="*/ 195297 h 319087"/>
                <a:gd name="connsiteX15" fmla="*/ 397668 w 690562"/>
                <a:gd name="connsiteY15" fmla="*/ 214312 h 319087"/>
                <a:gd name="connsiteX16" fmla="*/ 402431 w 690562"/>
                <a:gd name="connsiteY16" fmla="*/ 235744 h 319087"/>
                <a:gd name="connsiteX17" fmla="*/ 400050 w 690562"/>
                <a:gd name="connsiteY17" fmla="*/ 264319 h 319087"/>
                <a:gd name="connsiteX18" fmla="*/ 388143 w 690562"/>
                <a:gd name="connsiteY18" fmla="*/ 290512 h 319087"/>
                <a:gd name="connsiteX19" fmla="*/ 409575 w 690562"/>
                <a:gd name="connsiteY19" fmla="*/ 302419 h 319087"/>
                <a:gd name="connsiteX20" fmla="*/ 419100 w 690562"/>
                <a:gd name="connsiteY20" fmla="*/ 302419 h 319087"/>
                <a:gd name="connsiteX21" fmla="*/ 438150 w 690562"/>
                <a:gd name="connsiteY21" fmla="*/ 290512 h 319087"/>
                <a:gd name="connsiteX22" fmla="*/ 473868 w 690562"/>
                <a:gd name="connsiteY22" fmla="*/ 309562 h 319087"/>
                <a:gd name="connsiteX23" fmla="*/ 523875 w 690562"/>
                <a:gd name="connsiteY23" fmla="*/ 319087 h 319087"/>
                <a:gd name="connsiteX24" fmla="*/ 526256 w 690562"/>
                <a:gd name="connsiteY24" fmla="*/ 302419 h 319087"/>
                <a:gd name="connsiteX25" fmla="*/ 535781 w 690562"/>
                <a:gd name="connsiteY25" fmla="*/ 290512 h 319087"/>
                <a:gd name="connsiteX26" fmla="*/ 528637 w 690562"/>
                <a:gd name="connsiteY26" fmla="*/ 261937 h 319087"/>
                <a:gd name="connsiteX27" fmla="*/ 509587 w 690562"/>
                <a:gd name="connsiteY27" fmla="*/ 257175 h 319087"/>
                <a:gd name="connsiteX28" fmla="*/ 490537 w 690562"/>
                <a:gd name="connsiteY28" fmla="*/ 235744 h 319087"/>
                <a:gd name="connsiteX29" fmla="*/ 481012 w 690562"/>
                <a:gd name="connsiteY29" fmla="*/ 202406 h 319087"/>
                <a:gd name="connsiteX30" fmla="*/ 461962 w 690562"/>
                <a:gd name="connsiteY30" fmla="*/ 154781 h 319087"/>
                <a:gd name="connsiteX31" fmla="*/ 457200 w 690562"/>
                <a:gd name="connsiteY31" fmla="*/ 126206 h 319087"/>
                <a:gd name="connsiteX32" fmla="*/ 457200 w 690562"/>
                <a:gd name="connsiteY32" fmla="*/ 111919 h 319087"/>
                <a:gd name="connsiteX33" fmla="*/ 469106 w 690562"/>
                <a:gd name="connsiteY33" fmla="*/ 100012 h 319087"/>
                <a:gd name="connsiteX34" fmla="*/ 476250 w 690562"/>
                <a:gd name="connsiteY34" fmla="*/ 78581 h 319087"/>
                <a:gd name="connsiteX35" fmla="*/ 497681 w 690562"/>
                <a:gd name="connsiteY35" fmla="*/ 73819 h 319087"/>
                <a:gd name="connsiteX36" fmla="*/ 500062 w 690562"/>
                <a:gd name="connsiteY36" fmla="*/ 92869 h 319087"/>
                <a:gd name="connsiteX37" fmla="*/ 495300 w 690562"/>
                <a:gd name="connsiteY37" fmla="*/ 107156 h 319087"/>
                <a:gd name="connsiteX38" fmla="*/ 509587 w 690562"/>
                <a:gd name="connsiteY38" fmla="*/ 116681 h 319087"/>
                <a:gd name="connsiteX39" fmla="*/ 509587 w 690562"/>
                <a:gd name="connsiteY39" fmla="*/ 126206 h 319087"/>
                <a:gd name="connsiteX40" fmla="*/ 504825 w 690562"/>
                <a:gd name="connsiteY40" fmla="*/ 147637 h 319087"/>
                <a:gd name="connsiteX41" fmla="*/ 502443 w 690562"/>
                <a:gd name="connsiteY41" fmla="*/ 154781 h 319087"/>
                <a:gd name="connsiteX42" fmla="*/ 523875 w 690562"/>
                <a:gd name="connsiteY42" fmla="*/ 171450 h 319087"/>
                <a:gd name="connsiteX43" fmla="*/ 531018 w 690562"/>
                <a:gd name="connsiteY43" fmla="*/ 185737 h 319087"/>
                <a:gd name="connsiteX44" fmla="*/ 545306 w 690562"/>
                <a:gd name="connsiteY44" fmla="*/ 190500 h 319087"/>
                <a:gd name="connsiteX45" fmla="*/ 531018 w 690562"/>
                <a:gd name="connsiteY45" fmla="*/ 204787 h 319087"/>
                <a:gd name="connsiteX46" fmla="*/ 528637 w 690562"/>
                <a:gd name="connsiteY46" fmla="*/ 216694 h 319087"/>
                <a:gd name="connsiteX47" fmla="*/ 547687 w 690562"/>
                <a:gd name="connsiteY47" fmla="*/ 235744 h 319087"/>
                <a:gd name="connsiteX48" fmla="*/ 547687 w 690562"/>
                <a:gd name="connsiteY48" fmla="*/ 235744 h 319087"/>
                <a:gd name="connsiteX49" fmla="*/ 581025 w 690562"/>
                <a:gd name="connsiteY49" fmla="*/ 247650 h 319087"/>
                <a:gd name="connsiteX50" fmla="*/ 595312 w 690562"/>
                <a:gd name="connsiteY50" fmla="*/ 242887 h 319087"/>
                <a:gd name="connsiteX51" fmla="*/ 602456 w 690562"/>
                <a:gd name="connsiteY51" fmla="*/ 264319 h 319087"/>
                <a:gd name="connsiteX52" fmla="*/ 602456 w 690562"/>
                <a:gd name="connsiteY52" fmla="*/ 292894 h 319087"/>
                <a:gd name="connsiteX53" fmla="*/ 611981 w 690562"/>
                <a:gd name="connsiteY53" fmla="*/ 297656 h 319087"/>
                <a:gd name="connsiteX54" fmla="*/ 631031 w 690562"/>
                <a:gd name="connsiteY54" fmla="*/ 297656 h 319087"/>
                <a:gd name="connsiteX55" fmla="*/ 650081 w 690562"/>
                <a:gd name="connsiteY55" fmla="*/ 285750 h 319087"/>
                <a:gd name="connsiteX56" fmla="*/ 669131 w 690562"/>
                <a:gd name="connsiteY56" fmla="*/ 278606 h 319087"/>
                <a:gd name="connsiteX57" fmla="*/ 681037 w 690562"/>
                <a:gd name="connsiteY57" fmla="*/ 278606 h 319087"/>
                <a:gd name="connsiteX58" fmla="*/ 690562 w 690562"/>
                <a:gd name="connsiteY58" fmla="*/ 204787 h 319087"/>
                <a:gd name="connsiteX59" fmla="*/ 614362 w 690562"/>
                <a:gd name="connsiteY59" fmla="*/ 228600 h 319087"/>
                <a:gd name="connsiteX60" fmla="*/ 600075 w 690562"/>
                <a:gd name="connsiteY60" fmla="*/ 173831 h 319087"/>
                <a:gd name="connsiteX61" fmla="*/ 583406 w 690562"/>
                <a:gd name="connsiteY61" fmla="*/ 145256 h 319087"/>
                <a:gd name="connsiteX62" fmla="*/ 585787 w 690562"/>
                <a:gd name="connsiteY62" fmla="*/ 121444 h 319087"/>
                <a:gd name="connsiteX63" fmla="*/ 566737 w 690562"/>
                <a:gd name="connsiteY63" fmla="*/ 83344 h 319087"/>
                <a:gd name="connsiteX64" fmla="*/ 561975 w 690562"/>
                <a:gd name="connsiteY64" fmla="*/ 50006 h 319087"/>
                <a:gd name="connsiteX65" fmla="*/ 533400 w 690562"/>
                <a:gd name="connsiteY65" fmla="*/ 0 h 319087"/>
                <a:gd name="connsiteX66" fmla="*/ 411956 w 690562"/>
                <a:gd name="connsiteY66" fmla="*/ 42862 h 319087"/>
                <a:gd name="connsiteX67" fmla="*/ 319087 w 690562"/>
                <a:gd name="connsiteY67" fmla="*/ 71437 h 319087"/>
                <a:gd name="connsiteX68" fmla="*/ 257175 w 690562"/>
                <a:gd name="connsiteY68" fmla="*/ 92869 h 319087"/>
                <a:gd name="connsiteX69" fmla="*/ 147637 w 690562"/>
                <a:gd name="connsiteY69" fmla="*/ 126206 h 319087"/>
                <a:gd name="connsiteX70" fmla="*/ 64293 w 690562"/>
                <a:gd name="connsiteY70" fmla="*/ 157162 h 319087"/>
                <a:gd name="connsiteX71" fmla="*/ 0 w 690562"/>
                <a:gd name="connsiteY71" fmla="*/ 180975 h 319087"/>
                <a:gd name="connsiteX0" fmla="*/ 0 w 690562"/>
                <a:gd name="connsiteY0" fmla="*/ 180975 h 333493"/>
                <a:gd name="connsiteX1" fmla="*/ 40481 w 690562"/>
                <a:gd name="connsiteY1" fmla="*/ 238125 h 333493"/>
                <a:gd name="connsiteX2" fmla="*/ 76200 w 690562"/>
                <a:gd name="connsiteY2" fmla="*/ 207169 h 333493"/>
                <a:gd name="connsiteX3" fmla="*/ 92868 w 690562"/>
                <a:gd name="connsiteY3" fmla="*/ 209550 h 333493"/>
                <a:gd name="connsiteX4" fmla="*/ 104775 w 690562"/>
                <a:gd name="connsiteY4" fmla="*/ 161925 h 333493"/>
                <a:gd name="connsiteX5" fmla="*/ 145256 w 690562"/>
                <a:gd name="connsiteY5" fmla="*/ 169069 h 333493"/>
                <a:gd name="connsiteX6" fmla="*/ 171450 w 690562"/>
                <a:gd name="connsiteY6" fmla="*/ 161925 h 333493"/>
                <a:gd name="connsiteX7" fmla="*/ 192881 w 690562"/>
                <a:gd name="connsiteY7" fmla="*/ 140494 h 333493"/>
                <a:gd name="connsiteX8" fmla="*/ 216693 w 690562"/>
                <a:gd name="connsiteY8" fmla="*/ 119062 h 333493"/>
                <a:gd name="connsiteX9" fmla="*/ 238125 w 690562"/>
                <a:gd name="connsiteY9" fmla="*/ 119062 h 333493"/>
                <a:gd name="connsiteX10" fmla="*/ 259556 w 690562"/>
                <a:gd name="connsiteY10" fmla="*/ 130969 h 333493"/>
                <a:gd name="connsiteX11" fmla="*/ 264318 w 690562"/>
                <a:gd name="connsiteY11" fmla="*/ 145256 h 333493"/>
                <a:gd name="connsiteX12" fmla="*/ 283368 w 690562"/>
                <a:gd name="connsiteY12" fmla="*/ 157162 h 333493"/>
                <a:gd name="connsiteX13" fmla="*/ 304800 w 690562"/>
                <a:gd name="connsiteY13" fmla="*/ 154817 h 333493"/>
                <a:gd name="connsiteX14" fmla="*/ 361950 w 690562"/>
                <a:gd name="connsiteY14" fmla="*/ 195297 h 333493"/>
                <a:gd name="connsiteX15" fmla="*/ 397668 w 690562"/>
                <a:gd name="connsiteY15" fmla="*/ 214312 h 333493"/>
                <a:gd name="connsiteX16" fmla="*/ 402431 w 690562"/>
                <a:gd name="connsiteY16" fmla="*/ 235744 h 333493"/>
                <a:gd name="connsiteX17" fmla="*/ 400050 w 690562"/>
                <a:gd name="connsiteY17" fmla="*/ 264319 h 333493"/>
                <a:gd name="connsiteX18" fmla="*/ 388143 w 690562"/>
                <a:gd name="connsiteY18" fmla="*/ 290512 h 333493"/>
                <a:gd name="connsiteX19" fmla="*/ 409575 w 690562"/>
                <a:gd name="connsiteY19" fmla="*/ 302419 h 333493"/>
                <a:gd name="connsiteX20" fmla="*/ 419100 w 690562"/>
                <a:gd name="connsiteY20" fmla="*/ 302419 h 333493"/>
                <a:gd name="connsiteX21" fmla="*/ 438150 w 690562"/>
                <a:gd name="connsiteY21" fmla="*/ 290512 h 333493"/>
                <a:gd name="connsiteX22" fmla="*/ 473868 w 690562"/>
                <a:gd name="connsiteY22" fmla="*/ 333493 h 333493"/>
                <a:gd name="connsiteX23" fmla="*/ 523875 w 690562"/>
                <a:gd name="connsiteY23" fmla="*/ 319087 h 333493"/>
                <a:gd name="connsiteX24" fmla="*/ 526256 w 690562"/>
                <a:gd name="connsiteY24" fmla="*/ 302419 h 333493"/>
                <a:gd name="connsiteX25" fmla="*/ 535781 w 690562"/>
                <a:gd name="connsiteY25" fmla="*/ 290512 h 333493"/>
                <a:gd name="connsiteX26" fmla="*/ 528637 w 690562"/>
                <a:gd name="connsiteY26" fmla="*/ 261937 h 333493"/>
                <a:gd name="connsiteX27" fmla="*/ 509587 w 690562"/>
                <a:gd name="connsiteY27" fmla="*/ 257175 h 333493"/>
                <a:gd name="connsiteX28" fmla="*/ 490537 w 690562"/>
                <a:gd name="connsiteY28" fmla="*/ 235744 h 333493"/>
                <a:gd name="connsiteX29" fmla="*/ 481012 w 690562"/>
                <a:gd name="connsiteY29" fmla="*/ 202406 h 333493"/>
                <a:gd name="connsiteX30" fmla="*/ 461962 w 690562"/>
                <a:gd name="connsiteY30" fmla="*/ 154781 h 333493"/>
                <a:gd name="connsiteX31" fmla="*/ 457200 w 690562"/>
                <a:gd name="connsiteY31" fmla="*/ 126206 h 333493"/>
                <a:gd name="connsiteX32" fmla="*/ 457200 w 690562"/>
                <a:gd name="connsiteY32" fmla="*/ 111919 h 333493"/>
                <a:gd name="connsiteX33" fmla="*/ 469106 w 690562"/>
                <a:gd name="connsiteY33" fmla="*/ 100012 h 333493"/>
                <a:gd name="connsiteX34" fmla="*/ 476250 w 690562"/>
                <a:gd name="connsiteY34" fmla="*/ 78581 h 333493"/>
                <a:gd name="connsiteX35" fmla="*/ 497681 w 690562"/>
                <a:gd name="connsiteY35" fmla="*/ 73819 h 333493"/>
                <a:gd name="connsiteX36" fmla="*/ 500062 w 690562"/>
                <a:gd name="connsiteY36" fmla="*/ 92869 h 333493"/>
                <a:gd name="connsiteX37" fmla="*/ 495300 w 690562"/>
                <a:gd name="connsiteY37" fmla="*/ 107156 h 333493"/>
                <a:gd name="connsiteX38" fmla="*/ 509587 w 690562"/>
                <a:gd name="connsiteY38" fmla="*/ 116681 h 333493"/>
                <a:gd name="connsiteX39" fmla="*/ 509587 w 690562"/>
                <a:gd name="connsiteY39" fmla="*/ 126206 h 333493"/>
                <a:gd name="connsiteX40" fmla="*/ 504825 w 690562"/>
                <a:gd name="connsiteY40" fmla="*/ 147637 h 333493"/>
                <a:gd name="connsiteX41" fmla="*/ 502443 w 690562"/>
                <a:gd name="connsiteY41" fmla="*/ 154781 h 333493"/>
                <a:gd name="connsiteX42" fmla="*/ 523875 w 690562"/>
                <a:gd name="connsiteY42" fmla="*/ 171450 h 333493"/>
                <a:gd name="connsiteX43" fmla="*/ 531018 w 690562"/>
                <a:gd name="connsiteY43" fmla="*/ 185737 h 333493"/>
                <a:gd name="connsiteX44" fmla="*/ 545306 w 690562"/>
                <a:gd name="connsiteY44" fmla="*/ 190500 h 333493"/>
                <a:gd name="connsiteX45" fmla="*/ 531018 w 690562"/>
                <a:gd name="connsiteY45" fmla="*/ 204787 h 333493"/>
                <a:gd name="connsiteX46" fmla="*/ 528637 w 690562"/>
                <a:gd name="connsiteY46" fmla="*/ 216694 h 333493"/>
                <a:gd name="connsiteX47" fmla="*/ 547687 w 690562"/>
                <a:gd name="connsiteY47" fmla="*/ 235744 h 333493"/>
                <a:gd name="connsiteX48" fmla="*/ 547687 w 690562"/>
                <a:gd name="connsiteY48" fmla="*/ 235744 h 333493"/>
                <a:gd name="connsiteX49" fmla="*/ 581025 w 690562"/>
                <a:gd name="connsiteY49" fmla="*/ 247650 h 333493"/>
                <a:gd name="connsiteX50" fmla="*/ 595312 w 690562"/>
                <a:gd name="connsiteY50" fmla="*/ 242887 h 333493"/>
                <a:gd name="connsiteX51" fmla="*/ 602456 w 690562"/>
                <a:gd name="connsiteY51" fmla="*/ 264319 h 333493"/>
                <a:gd name="connsiteX52" fmla="*/ 602456 w 690562"/>
                <a:gd name="connsiteY52" fmla="*/ 292894 h 333493"/>
                <a:gd name="connsiteX53" fmla="*/ 611981 w 690562"/>
                <a:gd name="connsiteY53" fmla="*/ 297656 h 333493"/>
                <a:gd name="connsiteX54" fmla="*/ 631031 w 690562"/>
                <a:gd name="connsiteY54" fmla="*/ 297656 h 333493"/>
                <a:gd name="connsiteX55" fmla="*/ 650081 w 690562"/>
                <a:gd name="connsiteY55" fmla="*/ 285750 h 333493"/>
                <a:gd name="connsiteX56" fmla="*/ 669131 w 690562"/>
                <a:gd name="connsiteY56" fmla="*/ 278606 h 333493"/>
                <a:gd name="connsiteX57" fmla="*/ 681037 w 690562"/>
                <a:gd name="connsiteY57" fmla="*/ 278606 h 333493"/>
                <a:gd name="connsiteX58" fmla="*/ 690562 w 690562"/>
                <a:gd name="connsiteY58" fmla="*/ 204787 h 333493"/>
                <a:gd name="connsiteX59" fmla="*/ 614362 w 690562"/>
                <a:gd name="connsiteY59" fmla="*/ 228600 h 333493"/>
                <a:gd name="connsiteX60" fmla="*/ 600075 w 690562"/>
                <a:gd name="connsiteY60" fmla="*/ 173831 h 333493"/>
                <a:gd name="connsiteX61" fmla="*/ 583406 w 690562"/>
                <a:gd name="connsiteY61" fmla="*/ 145256 h 333493"/>
                <a:gd name="connsiteX62" fmla="*/ 585787 w 690562"/>
                <a:gd name="connsiteY62" fmla="*/ 121444 h 333493"/>
                <a:gd name="connsiteX63" fmla="*/ 566737 w 690562"/>
                <a:gd name="connsiteY63" fmla="*/ 83344 h 333493"/>
                <a:gd name="connsiteX64" fmla="*/ 561975 w 690562"/>
                <a:gd name="connsiteY64" fmla="*/ 50006 h 333493"/>
                <a:gd name="connsiteX65" fmla="*/ 533400 w 690562"/>
                <a:gd name="connsiteY65" fmla="*/ 0 h 333493"/>
                <a:gd name="connsiteX66" fmla="*/ 411956 w 690562"/>
                <a:gd name="connsiteY66" fmla="*/ 42862 h 333493"/>
                <a:gd name="connsiteX67" fmla="*/ 319087 w 690562"/>
                <a:gd name="connsiteY67" fmla="*/ 71437 h 333493"/>
                <a:gd name="connsiteX68" fmla="*/ 257175 w 690562"/>
                <a:gd name="connsiteY68" fmla="*/ 92869 h 333493"/>
                <a:gd name="connsiteX69" fmla="*/ 147637 w 690562"/>
                <a:gd name="connsiteY69" fmla="*/ 126206 h 333493"/>
                <a:gd name="connsiteX70" fmla="*/ 64293 w 690562"/>
                <a:gd name="connsiteY70" fmla="*/ 157162 h 333493"/>
                <a:gd name="connsiteX71" fmla="*/ 0 w 690562"/>
                <a:gd name="connsiteY71" fmla="*/ 180975 h 333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690562" h="333493">
                  <a:moveTo>
                    <a:pt x="0" y="180975"/>
                  </a:moveTo>
                  <a:lnTo>
                    <a:pt x="40481" y="238125"/>
                  </a:lnTo>
                  <a:lnTo>
                    <a:pt x="76200" y="207169"/>
                  </a:lnTo>
                  <a:lnTo>
                    <a:pt x="92868" y="209550"/>
                  </a:lnTo>
                  <a:lnTo>
                    <a:pt x="104775" y="161925"/>
                  </a:lnTo>
                  <a:lnTo>
                    <a:pt x="145256" y="169069"/>
                  </a:lnTo>
                  <a:lnTo>
                    <a:pt x="171450" y="161925"/>
                  </a:lnTo>
                  <a:lnTo>
                    <a:pt x="192881" y="140494"/>
                  </a:lnTo>
                  <a:lnTo>
                    <a:pt x="216693" y="119062"/>
                  </a:lnTo>
                  <a:lnTo>
                    <a:pt x="238125" y="119062"/>
                  </a:lnTo>
                  <a:lnTo>
                    <a:pt x="259556" y="130969"/>
                  </a:lnTo>
                  <a:lnTo>
                    <a:pt x="264318" y="145256"/>
                  </a:lnTo>
                  <a:lnTo>
                    <a:pt x="283368" y="157162"/>
                  </a:lnTo>
                  <a:lnTo>
                    <a:pt x="304800" y="154817"/>
                  </a:lnTo>
                  <a:lnTo>
                    <a:pt x="361950" y="195297"/>
                  </a:lnTo>
                  <a:lnTo>
                    <a:pt x="397668" y="214312"/>
                  </a:lnTo>
                  <a:lnTo>
                    <a:pt x="402431" y="235744"/>
                  </a:lnTo>
                  <a:lnTo>
                    <a:pt x="400050" y="264319"/>
                  </a:lnTo>
                  <a:lnTo>
                    <a:pt x="388143" y="290512"/>
                  </a:lnTo>
                  <a:lnTo>
                    <a:pt x="409575" y="302419"/>
                  </a:lnTo>
                  <a:lnTo>
                    <a:pt x="419100" y="302419"/>
                  </a:lnTo>
                  <a:lnTo>
                    <a:pt x="438150" y="290512"/>
                  </a:lnTo>
                  <a:lnTo>
                    <a:pt x="473868" y="333493"/>
                  </a:lnTo>
                  <a:lnTo>
                    <a:pt x="523875" y="319087"/>
                  </a:lnTo>
                  <a:lnTo>
                    <a:pt x="526256" y="302419"/>
                  </a:lnTo>
                  <a:lnTo>
                    <a:pt x="535781" y="290512"/>
                  </a:lnTo>
                  <a:lnTo>
                    <a:pt x="528637" y="261937"/>
                  </a:lnTo>
                  <a:lnTo>
                    <a:pt x="509587" y="257175"/>
                  </a:lnTo>
                  <a:lnTo>
                    <a:pt x="490537" y="235744"/>
                  </a:lnTo>
                  <a:lnTo>
                    <a:pt x="481012" y="202406"/>
                  </a:lnTo>
                  <a:lnTo>
                    <a:pt x="461962" y="154781"/>
                  </a:lnTo>
                  <a:lnTo>
                    <a:pt x="457200" y="126206"/>
                  </a:lnTo>
                  <a:lnTo>
                    <a:pt x="457200" y="111919"/>
                  </a:lnTo>
                  <a:lnTo>
                    <a:pt x="469106" y="100012"/>
                  </a:lnTo>
                  <a:lnTo>
                    <a:pt x="476250" y="78581"/>
                  </a:lnTo>
                  <a:lnTo>
                    <a:pt x="497681" y="73819"/>
                  </a:lnTo>
                  <a:lnTo>
                    <a:pt x="500062" y="92869"/>
                  </a:lnTo>
                  <a:lnTo>
                    <a:pt x="495300" y="107156"/>
                  </a:lnTo>
                  <a:lnTo>
                    <a:pt x="509587" y="116681"/>
                  </a:lnTo>
                  <a:lnTo>
                    <a:pt x="509587" y="126206"/>
                  </a:lnTo>
                  <a:lnTo>
                    <a:pt x="504825" y="147637"/>
                  </a:lnTo>
                  <a:lnTo>
                    <a:pt x="502443" y="154781"/>
                  </a:lnTo>
                  <a:lnTo>
                    <a:pt x="523875" y="171450"/>
                  </a:lnTo>
                  <a:lnTo>
                    <a:pt x="531018" y="185737"/>
                  </a:lnTo>
                  <a:lnTo>
                    <a:pt x="545306" y="190500"/>
                  </a:lnTo>
                  <a:lnTo>
                    <a:pt x="531018" y="204787"/>
                  </a:lnTo>
                  <a:lnTo>
                    <a:pt x="528637" y="216694"/>
                  </a:lnTo>
                  <a:lnTo>
                    <a:pt x="547687" y="235744"/>
                  </a:lnTo>
                  <a:lnTo>
                    <a:pt x="547687" y="235744"/>
                  </a:lnTo>
                  <a:lnTo>
                    <a:pt x="581025" y="247650"/>
                  </a:lnTo>
                  <a:lnTo>
                    <a:pt x="595312" y="242887"/>
                  </a:lnTo>
                  <a:lnTo>
                    <a:pt x="602456" y="264319"/>
                  </a:lnTo>
                  <a:lnTo>
                    <a:pt x="602456" y="292894"/>
                  </a:lnTo>
                  <a:lnTo>
                    <a:pt x="611981" y="297656"/>
                  </a:lnTo>
                  <a:lnTo>
                    <a:pt x="631031" y="297656"/>
                  </a:lnTo>
                  <a:lnTo>
                    <a:pt x="650081" y="285750"/>
                  </a:lnTo>
                  <a:lnTo>
                    <a:pt x="669131" y="278606"/>
                  </a:lnTo>
                  <a:lnTo>
                    <a:pt x="681037" y="278606"/>
                  </a:lnTo>
                  <a:lnTo>
                    <a:pt x="690562" y="204787"/>
                  </a:lnTo>
                  <a:lnTo>
                    <a:pt x="614362" y="228600"/>
                  </a:lnTo>
                  <a:lnTo>
                    <a:pt x="600075" y="173831"/>
                  </a:lnTo>
                  <a:lnTo>
                    <a:pt x="583406" y="145256"/>
                  </a:lnTo>
                  <a:lnTo>
                    <a:pt x="585787" y="121444"/>
                  </a:lnTo>
                  <a:lnTo>
                    <a:pt x="566737" y="83344"/>
                  </a:lnTo>
                  <a:lnTo>
                    <a:pt x="561975" y="50006"/>
                  </a:lnTo>
                  <a:lnTo>
                    <a:pt x="533400" y="0"/>
                  </a:lnTo>
                  <a:lnTo>
                    <a:pt x="411956" y="42862"/>
                  </a:lnTo>
                  <a:lnTo>
                    <a:pt x="319087" y="71437"/>
                  </a:lnTo>
                  <a:lnTo>
                    <a:pt x="257175" y="92869"/>
                  </a:lnTo>
                  <a:lnTo>
                    <a:pt x="147637" y="126206"/>
                  </a:lnTo>
                  <a:lnTo>
                    <a:pt x="64293" y="157162"/>
                  </a:lnTo>
                  <a:lnTo>
                    <a:pt x="0" y="180975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33" name="Freeform 132"/>
            <p:cNvSpPr/>
            <p:nvPr/>
          </p:nvSpPr>
          <p:spPr>
            <a:xfrm>
              <a:off x="4480292" y="2601450"/>
              <a:ext cx="568010" cy="387874"/>
            </a:xfrm>
            <a:custGeom>
              <a:avLst/>
              <a:gdLst>
                <a:gd name="connsiteX0" fmla="*/ 0 w 895350"/>
                <a:gd name="connsiteY0" fmla="*/ 230981 h 647700"/>
                <a:gd name="connsiteX1" fmla="*/ 69056 w 895350"/>
                <a:gd name="connsiteY1" fmla="*/ 461962 h 647700"/>
                <a:gd name="connsiteX2" fmla="*/ 128587 w 895350"/>
                <a:gd name="connsiteY2" fmla="*/ 647700 h 647700"/>
                <a:gd name="connsiteX3" fmla="*/ 461962 w 895350"/>
                <a:gd name="connsiteY3" fmla="*/ 554831 h 647700"/>
                <a:gd name="connsiteX4" fmla="*/ 840581 w 895350"/>
                <a:gd name="connsiteY4" fmla="*/ 426244 h 647700"/>
                <a:gd name="connsiteX5" fmla="*/ 859631 w 895350"/>
                <a:gd name="connsiteY5" fmla="*/ 354806 h 647700"/>
                <a:gd name="connsiteX6" fmla="*/ 895350 w 895350"/>
                <a:gd name="connsiteY6" fmla="*/ 321469 h 647700"/>
                <a:gd name="connsiteX7" fmla="*/ 885825 w 895350"/>
                <a:gd name="connsiteY7" fmla="*/ 273844 h 647700"/>
                <a:gd name="connsiteX8" fmla="*/ 819150 w 895350"/>
                <a:gd name="connsiteY8" fmla="*/ 257175 h 647700"/>
                <a:gd name="connsiteX9" fmla="*/ 819150 w 895350"/>
                <a:gd name="connsiteY9" fmla="*/ 223837 h 647700"/>
                <a:gd name="connsiteX10" fmla="*/ 804862 w 895350"/>
                <a:gd name="connsiteY10" fmla="*/ 188119 h 647700"/>
                <a:gd name="connsiteX11" fmla="*/ 816769 w 895350"/>
                <a:gd name="connsiteY11" fmla="*/ 80962 h 647700"/>
                <a:gd name="connsiteX12" fmla="*/ 781050 w 895350"/>
                <a:gd name="connsiteY12" fmla="*/ 40481 h 647700"/>
                <a:gd name="connsiteX13" fmla="*/ 733425 w 895350"/>
                <a:gd name="connsiteY13" fmla="*/ 9525 h 647700"/>
                <a:gd name="connsiteX14" fmla="*/ 702469 w 895350"/>
                <a:gd name="connsiteY14" fmla="*/ 0 h 647700"/>
                <a:gd name="connsiteX15" fmla="*/ 397669 w 895350"/>
                <a:gd name="connsiteY15" fmla="*/ 95250 h 647700"/>
                <a:gd name="connsiteX16" fmla="*/ 50006 w 895350"/>
                <a:gd name="connsiteY16" fmla="*/ 200025 h 647700"/>
                <a:gd name="connsiteX17" fmla="*/ 40481 w 895350"/>
                <a:gd name="connsiteY17" fmla="*/ 195262 h 647700"/>
                <a:gd name="connsiteX18" fmla="*/ 0 w 895350"/>
                <a:gd name="connsiteY18" fmla="*/ 230981 h 647700"/>
                <a:gd name="connsiteX0" fmla="*/ 0 w 895350"/>
                <a:gd name="connsiteY0" fmla="*/ 230981 h 647700"/>
                <a:gd name="connsiteX1" fmla="*/ 69056 w 895350"/>
                <a:gd name="connsiteY1" fmla="*/ 461962 h 647700"/>
                <a:gd name="connsiteX2" fmla="*/ 128587 w 895350"/>
                <a:gd name="connsiteY2" fmla="*/ 647700 h 647700"/>
                <a:gd name="connsiteX3" fmla="*/ 461962 w 895350"/>
                <a:gd name="connsiteY3" fmla="*/ 554831 h 647700"/>
                <a:gd name="connsiteX4" fmla="*/ 840581 w 895350"/>
                <a:gd name="connsiteY4" fmla="*/ 426244 h 647700"/>
                <a:gd name="connsiteX5" fmla="*/ 859631 w 895350"/>
                <a:gd name="connsiteY5" fmla="*/ 354806 h 647700"/>
                <a:gd name="connsiteX6" fmla="*/ 895350 w 895350"/>
                <a:gd name="connsiteY6" fmla="*/ 321469 h 647700"/>
                <a:gd name="connsiteX7" fmla="*/ 885825 w 895350"/>
                <a:gd name="connsiteY7" fmla="*/ 273844 h 647700"/>
                <a:gd name="connsiteX8" fmla="*/ 819150 w 895350"/>
                <a:gd name="connsiteY8" fmla="*/ 257175 h 647700"/>
                <a:gd name="connsiteX9" fmla="*/ 819150 w 895350"/>
                <a:gd name="connsiteY9" fmla="*/ 223837 h 647700"/>
                <a:gd name="connsiteX10" fmla="*/ 804862 w 895350"/>
                <a:gd name="connsiteY10" fmla="*/ 188119 h 647700"/>
                <a:gd name="connsiteX11" fmla="*/ 816769 w 895350"/>
                <a:gd name="connsiteY11" fmla="*/ 80962 h 647700"/>
                <a:gd name="connsiteX12" fmla="*/ 781050 w 895350"/>
                <a:gd name="connsiteY12" fmla="*/ 40481 h 647700"/>
                <a:gd name="connsiteX13" fmla="*/ 733425 w 895350"/>
                <a:gd name="connsiteY13" fmla="*/ 9525 h 647700"/>
                <a:gd name="connsiteX14" fmla="*/ 702469 w 895350"/>
                <a:gd name="connsiteY14" fmla="*/ 0 h 647700"/>
                <a:gd name="connsiteX15" fmla="*/ 397669 w 895350"/>
                <a:gd name="connsiteY15" fmla="*/ 95250 h 647700"/>
                <a:gd name="connsiteX16" fmla="*/ 64293 w 895350"/>
                <a:gd name="connsiteY16" fmla="*/ 188118 h 647700"/>
                <a:gd name="connsiteX17" fmla="*/ 40481 w 895350"/>
                <a:gd name="connsiteY17" fmla="*/ 195262 h 647700"/>
                <a:gd name="connsiteX18" fmla="*/ 0 w 895350"/>
                <a:gd name="connsiteY18" fmla="*/ 230981 h 647700"/>
                <a:gd name="connsiteX0" fmla="*/ 0 w 902493"/>
                <a:gd name="connsiteY0" fmla="*/ 245268 h 647700"/>
                <a:gd name="connsiteX1" fmla="*/ 76199 w 902493"/>
                <a:gd name="connsiteY1" fmla="*/ 461962 h 647700"/>
                <a:gd name="connsiteX2" fmla="*/ 135730 w 902493"/>
                <a:gd name="connsiteY2" fmla="*/ 647700 h 647700"/>
                <a:gd name="connsiteX3" fmla="*/ 469105 w 902493"/>
                <a:gd name="connsiteY3" fmla="*/ 554831 h 647700"/>
                <a:gd name="connsiteX4" fmla="*/ 847724 w 902493"/>
                <a:gd name="connsiteY4" fmla="*/ 426244 h 647700"/>
                <a:gd name="connsiteX5" fmla="*/ 866774 w 902493"/>
                <a:gd name="connsiteY5" fmla="*/ 354806 h 647700"/>
                <a:gd name="connsiteX6" fmla="*/ 902493 w 902493"/>
                <a:gd name="connsiteY6" fmla="*/ 321469 h 647700"/>
                <a:gd name="connsiteX7" fmla="*/ 892968 w 902493"/>
                <a:gd name="connsiteY7" fmla="*/ 273844 h 647700"/>
                <a:gd name="connsiteX8" fmla="*/ 826293 w 902493"/>
                <a:gd name="connsiteY8" fmla="*/ 257175 h 647700"/>
                <a:gd name="connsiteX9" fmla="*/ 826293 w 902493"/>
                <a:gd name="connsiteY9" fmla="*/ 223837 h 647700"/>
                <a:gd name="connsiteX10" fmla="*/ 812005 w 902493"/>
                <a:gd name="connsiteY10" fmla="*/ 188119 h 647700"/>
                <a:gd name="connsiteX11" fmla="*/ 823912 w 902493"/>
                <a:gd name="connsiteY11" fmla="*/ 80962 h 647700"/>
                <a:gd name="connsiteX12" fmla="*/ 788193 w 902493"/>
                <a:gd name="connsiteY12" fmla="*/ 40481 h 647700"/>
                <a:gd name="connsiteX13" fmla="*/ 740568 w 902493"/>
                <a:gd name="connsiteY13" fmla="*/ 9525 h 647700"/>
                <a:gd name="connsiteX14" fmla="*/ 709612 w 902493"/>
                <a:gd name="connsiteY14" fmla="*/ 0 h 647700"/>
                <a:gd name="connsiteX15" fmla="*/ 404812 w 902493"/>
                <a:gd name="connsiteY15" fmla="*/ 95250 h 647700"/>
                <a:gd name="connsiteX16" fmla="*/ 71436 w 902493"/>
                <a:gd name="connsiteY16" fmla="*/ 188118 h 647700"/>
                <a:gd name="connsiteX17" fmla="*/ 47624 w 902493"/>
                <a:gd name="connsiteY17" fmla="*/ 195262 h 647700"/>
                <a:gd name="connsiteX18" fmla="*/ 0 w 902493"/>
                <a:gd name="connsiteY18" fmla="*/ 245268 h 647700"/>
                <a:gd name="connsiteX0" fmla="*/ 0 w 902493"/>
                <a:gd name="connsiteY0" fmla="*/ 245268 h 647700"/>
                <a:gd name="connsiteX1" fmla="*/ 135730 w 902493"/>
                <a:gd name="connsiteY1" fmla="*/ 647700 h 647700"/>
                <a:gd name="connsiteX2" fmla="*/ 469105 w 902493"/>
                <a:gd name="connsiteY2" fmla="*/ 554831 h 647700"/>
                <a:gd name="connsiteX3" fmla="*/ 847724 w 902493"/>
                <a:gd name="connsiteY3" fmla="*/ 426244 h 647700"/>
                <a:gd name="connsiteX4" fmla="*/ 866774 w 902493"/>
                <a:gd name="connsiteY4" fmla="*/ 354806 h 647700"/>
                <a:gd name="connsiteX5" fmla="*/ 902493 w 902493"/>
                <a:gd name="connsiteY5" fmla="*/ 321469 h 647700"/>
                <a:gd name="connsiteX6" fmla="*/ 892968 w 902493"/>
                <a:gd name="connsiteY6" fmla="*/ 273844 h 647700"/>
                <a:gd name="connsiteX7" fmla="*/ 826293 w 902493"/>
                <a:gd name="connsiteY7" fmla="*/ 257175 h 647700"/>
                <a:gd name="connsiteX8" fmla="*/ 826293 w 902493"/>
                <a:gd name="connsiteY8" fmla="*/ 223837 h 647700"/>
                <a:gd name="connsiteX9" fmla="*/ 812005 w 902493"/>
                <a:gd name="connsiteY9" fmla="*/ 188119 h 647700"/>
                <a:gd name="connsiteX10" fmla="*/ 823912 w 902493"/>
                <a:gd name="connsiteY10" fmla="*/ 80962 h 647700"/>
                <a:gd name="connsiteX11" fmla="*/ 788193 w 902493"/>
                <a:gd name="connsiteY11" fmla="*/ 40481 h 647700"/>
                <a:gd name="connsiteX12" fmla="*/ 740568 w 902493"/>
                <a:gd name="connsiteY12" fmla="*/ 9525 h 647700"/>
                <a:gd name="connsiteX13" fmla="*/ 709612 w 902493"/>
                <a:gd name="connsiteY13" fmla="*/ 0 h 647700"/>
                <a:gd name="connsiteX14" fmla="*/ 404812 w 902493"/>
                <a:gd name="connsiteY14" fmla="*/ 95250 h 647700"/>
                <a:gd name="connsiteX15" fmla="*/ 71436 w 902493"/>
                <a:gd name="connsiteY15" fmla="*/ 188118 h 647700"/>
                <a:gd name="connsiteX16" fmla="*/ 47624 w 902493"/>
                <a:gd name="connsiteY16" fmla="*/ 195262 h 647700"/>
                <a:gd name="connsiteX17" fmla="*/ 0 w 902493"/>
                <a:gd name="connsiteY17" fmla="*/ 245268 h 647700"/>
                <a:gd name="connsiteX0" fmla="*/ 0 w 902493"/>
                <a:gd name="connsiteY0" fmla="*/ 245268 h 657225"/>
                <a:gd name="connsiteX1" fmla="*/ 128586 w 902493"/>
                <a:gd name="connsiteY1" fmla="*/ 657225 h 657225"/>
                <a:gd name="connsiteX2" fmla="*/ 469105 w 902493"/>
                <a:gd name="connsiteY2" fmla="*/ 554831 h 657225"/>
                <a:gd name="connsiteX3" fmla="*/ 847724 w 902493"/>
                <a:gd name="connsiteY3" fmla="*/ 426244 h 657225"/>
                <a:gd name="connsiteX4" fmla="*/ 866774 w 902493"/>
                <a:gd name="connsiteY4" fmla="*/ 354806 h 657225"/>
                <a:gd name="connsiteX5" fmla="*/ 902493 w 902493"/>
                <a:gd name="connsiteY5" fmla="*/ 321469 h 657225"/>
                <a:gd name="connsiteX6" fmla="*/ 892968 w 902493"/>
                <a:gd name="connsiteY6" fmla="*/ 273844 h 657225"/>
                <a:gd name="connsiteX7" fmla="*/ 826293 w 902493"/>
                <a:gd name="connsiteY7" fmla="*/ 257175 h 657225"/>
                <a:gd name="connsiteX8" fmla="*/ 826293 w 902493"/>
                <a:gd name="connsiteY8" fmla="*/ 223837 h 657225"/>
                <a:gd name="connsiteX9" fmla="*/ 812005 w 902493"/>
                <a:gd name="connsiteY9" fmla="*/ 188119 h 657225"/>
                <a:gd name="connsiteX10" fmla="*/ 823912 w 902493"/>
                <a:gd name="connsiteY10" fmla="*/ 80962 h 657225"/>
                <a:gd name="connsiteX11" fmla="*/ 788193 w 902493"/>
                <a:gd name="connsiteY11" fmla="*/ 40481 h 657225"/>
                <a:gd name="connsiteX12" fmla="*/ 740568 w 902493"/>
                <a:gd name="connsiteY12" fmla="*/ 9525 h 657225"/>
                <a:gd name="connsiteX13" fmla="*/ 709612 w 902493"/>
                <a:gd name="connsiteY13" fmla="*/ 0 h 657225"/>
                <a:gd name="connsiteX14" fmla="*/ 404812 w 902493"/>
                <a:gd name="connsiteY14" fmla="*/ 95250 h 657225"/>
                <a:gd name="connsiteX15" fmla="*/ 71436 w 902493"/>
                <a:gd name="connsiteY15" fmla="*/ 188118 h 657225"/>
                <a:gd name="connsiteX16" fmla="*/ 47624 w 902493"/>
                <a:gd name="connsiteY16" fmla="*/ 195262 h 657225"/>
                <a:gd name="connsiteX17" fmla="*/ 0 w 902493"/>
                <a:gd name="connsiteY17" fmla="*/ 245268 h 657225"/>
                <a:gd name="connsiteX0" fmla="*/ 0 w 902493"/>
                <a:gd name="connsiteY0" fmla="*/ 245268 h 657225"/>
                <a:gd name="connsiteX1" fmla="*/ 128586 w 902493"/>
                <a:gd name="connsiteY1" fmla="*/ 657225 h 657225"/>
                <a:gd name="connsiteX2" fmla="*/ 469105 w 902493"/>
                <a:gd name="connsiteY2" fmla="*/ 554831 h 657225"/>
                <a:gd name="connsiteX3" fmla="*/ 847724 w 902493"/>
                <a:gd name="connsiteY3" fmla="*/ 426244 h 657225"/>
                <a:gd name="connsiteX4" fmla="*/ 873918 w 902493"/>
                <a:gd name="connsiteY4" fmla="*/ 366712 h 657225"/>
                <a:gd name="connsiteX5" fmla="*/ 902493 w 902493"/>
                <a:gd name="connsiteY5" fmla="*/ 321469 h 657225"/>
                <a:gd name="connsiteX6" fmla="*/ 892968 w 902493"/>
                <a:gd name="connsiteY6" fmla="*/ 273844 h 657225"/>
                <a:gd name="connsiteX7" fmla="*/ 826293 w 902493"/>
                <a:gd name="connsiteY7" fmla="*/ 257175 h 657225"/>
                <a:gd name="connsiteX8" fmla="*/ 826293 w 902493"/>
                <a:gd name="connsiteY8" fmla="*/ 223837 h 657225"/>
                <a:gd name="connsiteX9" fmla="*/ 812005 w 902493"/>
                <a:gd name="connsiteY9" fmla="*/ 188119 h 657225"/>
                <a:gd name="connsiteX10" fmla="*/ 823912 w 902493"/>
                <a:gd name="connsiteY10" fmla="*/ 80962 h 657225"/>
                <a:gd name="connsiteX11" fmla="*/ 788193 w 902493"/>
                <a:gd name="connsiteY11" fmla="*/ 40481 h 657225"/>
                <a:gd name="connsiteX12" fmla="*/ 740568 w 902493"/>
                <a:gd name="connsiteY12" fmla="*/ 9525 h 657225"/>
                <a:gd name="connsiteX13" fmla="*/ 709612 w 902493"/>
                <a:gd name="connsiteY13" fmla="*/ 0 h 657225"/>
                <a:gd name="connsiteX14" fmla="*/ 404812 w 902493"/>
                <a:gd name="connsiteY14" fmla="*/ 95250 h 657225"/>
                <a:gd name="connsiteX15" fmla="*/ 71436 w 902493"/>
                <a:gd name="connsiteY15" fmla="*/ 188118 h 657225"/>
                <a:gd name="connsiteX16" fmla="*/ 47624 w 902493"/>
                <a:gd name="connsiteY16" fmla="*/ 195262 h 657225"/>
                <a:gd name="connsiteX17" fmla="*/ 0 w 902493"/>
                <a:gd name="connsiteY17" fmla="*/ 245268 h 65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02493" h="657225">
                  <a:moveTo>
                    <a:pt x="0" y="245268"/>
                  </a:moveTo>
                  <a:lnTo>
                    <a:pt x="128586" y="657225"/>
                  </a:lnTo>
                  <a:lnTo>
                    <a:pt x="469105" y="554831"/>
                  </a:lnTo>
                  <a:lnTo>
                    <a:pt x="847724" y="426244"/>
                  </a:lnTo>
                  <a:lnTo>
                    <a:pt x="873918" y="366712"/>
                  </a:lnTo>
                  <a:lnTo>
                    <a:pt x="902493" y="321469"/>
                  </a:lnTo>
                  <a:lnTo>
                    <a:pt x="892968" y="273844"/>
                  </a:lnTo>
                  <a:lnTo>
                    <a:pt x="826293" y="257175"/>
                  </a:lnTo>
                  <a:lnTo>
                    <a:pt x="826293" y="223837"/>
                  </a:lnTo>
                  <a:lnTo>
                    <a:pt x="812005" y="188119"/>
                  </a:lnTo>
                  <a:lnTo>
                    <a:pt x="823912" y="80962"/>
                  </a:lnTo>
                  <a:lnTo>
                    <a:pt x="788193" y="40481"/>
                  </a:lnTo>
                  <a:lnTo>
                    <a:pt x="740568" y="9525"/>
                  </a:lnTo>
                  <a:lnTo>
                    <a:pt x="709612" y="0"/>
                  </a:lnTo>
                  <a:lnTo>
                    <a:pt x="404812" y="95250"/>
                  </a:lnTo>
                  <a:lnTo>
                    <a:pt x="71436" y="188118"/>
                  </a:lnTo>
                  <a:lnTo>
                    <a:pt x="47624" y="195262"/>
                  </a:lnTo>
                  <a:lnTo>
                    <a:pt x="0" y="2452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grpSp>
          <p:nvGrpSpPr>
            <p:cNvPr id="134" name="Group 133"/>
            <p:cNvGrpSpPr/>
            <p:nvPr/>
          </p:nvGrpSpPr>
          <p:grpSpPr>
            <a:xfrm>
              <a:off x="2944998" y="2138721"/>
              <a:ext cx="628512" cy="674597"/>
              <a:chOff x="4393406" y="1081031"/>
              <a:chExt cx="997744" cy="1143057"/>
            </a:xfrm>
            <a:solidFill>
              <a:schemeClr val="bg1">
                <a:lumMod val="95000"/>
              </a:schemeClr>
            </a:solidFill>
          </p:grpSpPr>
          <p:sp>
            <p:nvSpPr>
              <p:cNvPr id="195" name="Freeform 194"/>
              <p:cNvSpPr/>
              <p:nvPr/>
            </p:nvSpPr>
            <p:spPr>
              <a:xfrm>
                <a:off x="4393406" y="1166813"/>
                <a:ext cx="997744" cy="1057275"/>
              </a:xfrm>
              <a:custGeom>
                <a:avLst/>
                <a:gdLst>
                  <a:gd name="connsiteX0" fmla="*/ 0 w 997744"/>
                  <a:gd name="connsiteY0" fmla="*/ 11906 h 1057275"/>
                  <a:gd name="connsiteX1" fmla="*/ 26194 w 997744"/>
                  <a:gd name="connsiteY1" fmla="*/ 83343 h 1057275"/>
                  <a:gd name="connsiteX2" fmla="*/ 26194 w 997744"/>
                  <a:gd name="connsiteY2" fmla="*/ 200025 h 1057275"/>
                  <a:gd name="connsiteX3" fmla="*/ 54769 w 997744"/>
                  <a:gd name="connsiteY3" fmla="*/ 230981 h 1057275"/>
                  <a:gd name="connsiteX4" fmla="*/ 92869 w 997744"/>
                  <a:gd name="connsiteY4" fmla="*/ 316706 h 1057275"/>
                  <a:gd name="connsiteX5" fmla="*/ 92869 w 997744"/>
                  <a:gd name="connsiteY5" fmla="*/ 426243 h 1057275"/>
                  <a:gd name="connsiteX6" fmla="*/ 126207 w 997744"/>
                  <a:gd name="connsiteY6" fmla="*/ 538162 h 1057275"/>
                  <a:gd name="connsiteX7" fmla="*/ 116682 w 997744"/>
                  <a:gd name="connsiteY7" fmla="*/ 590550 h 1057275"/>
                  <a:gd name="connsiteX8" fmla="*/ 126207 w 997744"/>
                  <a:gd name="connsiteY8" fmla="*/ 602456 h 1057275"/>
                  <a:gd name="connsiteX9" fmla="*/ 114300 w 997744"/>
                  <a:gd name="connsiteY9" fmla="*/ 678656 h 1057275"/>
                  <a:gd name="connsiteX10" fmla="*/ 161925 w 997744"/>
                  <a:gd name="connsiteY10" fmla="*/ 709612 h 1057275"/>
                  <a:gd name="connsiteX11" fmla="*/ 178594 w 997744"/>
                  <a:gd name="connsiteY11" fmla="*/ 1057275 h 1057275"/>
                  <a:gd name="connsiteX12" fmla="*/ 547688 w 997744"/>
                  <a:gd name="connsiteY12" fmla="*/ 1026318 h 1057275"/>
                  <a:gd name="connsiteX13" fmla="*/ 916782 w 997744"/>
                  <a:gd name="connsiteY13" fmla="*/ 962025 h 1057275"/>
                  <a:gd name="connsiteX14" fmla="*/ 890588 w 997744"/>
                  <a:gd name="connsiteY14" fmla="*/ 897731 h 1057275"/>
                  <a:gd name="connsiteX15" fmla="*/ 869157 w 997744"/>
                  <a:gd name="connsiteY15" fmla="*/ 907256 h 1057275"/>
                  <a:gd name="connsiteX16" fmla="*/ 838200 w 997744"/>
                  <a:gd name="connsiteY16" fmla="*/ 871537 h 1057275"/>
                  <a:gd name="connsiteX17" fmla="*/ 804863 w 997744"/>
                  <a:gd name="connsiteY17" fmla="*/ 871537 h 1057275"/>
                  <a:gd name="connsiteX18" fmla="*/ 766763 w 997744"/>
                  <a:gd name="connsiteY18" fmla="*/ 814387 h 1057275"/>
                  <a:gd name="connsiteX19" fmla="*/ 709613 w 997744"/>
                  <a:gd name="connsiteY19" fmla="*/ 792956 h 1057275"/>
                  <a:gd name="connsiteX20" fmla="*/ 673894 w 997744"/>
                  <a:gd name="connsiteY20" fmla="*/ 783431 h 1057275"/>
                  <a:gd name="connsiteX21" fmla="*/ 673894 w 997744"/>
                  <a:gd name="connsiteY21" fmla="*/ 783431 h 1057275"/>
                  <a:gd name="connsiteX22" fmla="*/ 645319 w 997744"/>
                  <a:gd name="connsiteY22" fmla="*/ 716756 h 1057275"/>
                  <a:gd name="connsiteX23" fmla="*/ 666750 w 997744"/>
                  <a:gd name="connsiteY23" fmla="*/ 669131 h 1057275"/>
                  <a:gd name="connsiteX24" fmla="*/ 623888 w 997744"/>
                  <a:gd name="connsiteY24" fmla="*/ 588168 h 1057275"/>
                  <a:gd name="connsiteX25" fmla="*/ 683419 w 997744"/>
                  <a:gd name="connsiteY25" fmla="*/ 519112 h 1057275"/>
                  <a:gd name="connsiteX26" fmla="*/ 681038 w 997744"/>
                  <a:gd name="connsiteY26" fmla="*/ 435768 h 1057275"/>
                  <a:gd name="connsiteX27" fmla="*/ 704850 w 997744"/>
                  <a:gd name="connsiteY27" fmla="*/ 371475 h 1057275"/>
                  <a:gd name="connsiteX28" fmla="*/ 731044 w 997744"/>
                  <a:gd name="connsiteY28" fmla="*/ 345281 h 1057275"/>
                  <a:gd name="connsiteX29" fmla="*/ 788194 w 997744"/>
                  <a:gd name="connsiteY29" fmla="*/ 292893 h 1057275"/>
                  <a:gd name="connsiteX30" fmla="*/ 819150 w 997744"/>
                  <a:gd name="connsiteY30" fmla="*/ 238125 h 1057275"/>
                  <a:gd name="connsiteX31" fmla="*/ 912019 w 997744"/>
                  <a:gd name="connsiteY31" fmla="*/ 171450 h 1057275"/>
                  <a:gd name="connsiteX32" fmla="*/ 997744 w 997744"/>
                  <a:gd name="connsiteY32" fmla="*/ 107156 h 1057275"/>
                  <a:gd name="connsiteX33" fmla="*/ 945357 w 997744"/>
                  <a:gd name="connsiteY33" fmla="*/ 97631 h 1057275"/>
                  <a:gd name="connsiteX34" fmla="*/ 869157 w 997744"/>
                  <a:gd name="connsiteY34" fmla="*/ 107156 h 1057275"/>
                  <a:gd name="connsiteX35" fmla="*/ 823913 w 997744"/>
                  <a:gd name="connsiteY35" fmla="*/ 104775 h 1057275"/>
                  <a:gd name="connsiteX36" fmla="*/ 807244 w 997744"/>
                  <a:gd name="connsiteY36" fmla="*/ 92868 h 1057275"/>
                  <a:gd name="connsiteX37" fmla="*/ 766763 w 997744"/>
                  <a:gd name="connsiteY37" fmla="*/ 111918 h 1057275"/>
                  <a:gd name="connsiteX38" fmla="*/ 738188 w 997744"/>
                  <a:gd name="connsiteY38" fmla="*/ 104775 h 1057275"/>
                  <a:gd name="connsiteX39" fmla="*/ 700088 w 997744"/>
                  <a:gd name="connsiteY39" fmla="*/ 88106 h 1057275"/>
                  <a:gd name="connsiteX40" fmla="*/ 676275 w 997744"/>
                  <a:gd name="connsiteY40" fmla="*/ 71437 h 1057275"/>
                  <a:gd name="connsiteX41" fmla="*/ 638175 w 997744"/>
                  <a:gd name="connsiteY41" fmla="*/ 78581 h 1057275"/>
                  <a:gd name="connsiteX42" fmla="*/ 588169 w 997744"/>
                  <a:gd name="connsiteY42" fmla="*/ 50006 h 1057275"/>
                  <a:gd name="connsiteX43" fmla="*/ 561975 w 997744"/>
                  <a:gd name="connsiteY43" fmla="*/ 52387 h 1057275"/>
                  <a:gd name="connsiteX44" fmla="*/ 504825 w 997744"/>
                  <a:gd name="connsiteY44" fmla="*/ 57150 h 1057275"/>
                  <a:gd name="connsiteX45" fmla="*/ 459582 w 997744"/>
                  <a:gd name="connsiteY45" fmla="*/ 57150 h 1057275"/>
                  <a:gd name="connsiteX46" fmla="*/ 438150 w 997744"/>
                  <a:gd name="connsiteY46" fmla="*/ 42862 h 1057275"/>
                  <a:gd name="connsiteX47" fmla="*/ 381000 w 997744"/>
                  <a:gd name="connsiteY47" fmla="*/ 33337 h 1057275"/>
                  <a:gd name="connsiteX48" fmla="*/ 328613 w 997744"/>
                  <a:gd name="connsiteY48" fmla="*/ 16668 h 1057275"/>
                  <a:gd name="connsiteX49" fmla="*/ 295275 w 997744"/>
                  <a:gd name="connsiteY49" fmla="*/ 16668 h 1057275"/>
                  <a:gd name="connsiteX50" fmla="*/ 264319 w 997744"/>
                  <a:gd name="connsiteY50" fmla="*/ 16668 h 1057275"/>
                  <a:gd name="connsiteX51" fmla="*/ 238125 w 997744"/>
                  <a:gd name="connsiteY51" fmla="*/ 9525 h 1057275"/>
                  <a:gd name="connsiteX52" fmla="*/ 230982 w 997744"/>
                  <a:gd name="connsiteY52" fmla="*/ 0 h 1057275"/>
                  <a:gd name="connsiteX53" fmla="*/ 147638 w 997744"/>
                  <a:gd name="connsiteY53" fmla="*/ 9525 h 1057275"/>
                  <a:gd name="connsiteX54" fmla="*/ 83344 w 997744"/>
                  <a:gd name="connsiteY54" fmla="*/ 7143 h 1057275"/>
                  <a:gd name="connsiteX55" fmla="*/ 0 w 997744"/>
                  <a:gd name="connsiteY55" fmla="*/ 11906 h 1057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997744" h="1057275">
                    <a:moveTo>
                      <a:pt x="0" y="11906"/>
                    </a:moveTo>
                    <a:lnTo>
                      <a:pt x="26194" y="83343"/>
                    </a:lnTo>
                    <a:lnTo>
                      <a:pt x="26194" y="200025"/>
                    </a:lnTo>
                    <a:lnTo>
                      <a:pt x="54769" y="230981"/>
                    </a:lnTo>
                    <a:lnTo>
                      <a:pt x="92869" y="316706"/>
                    </a:lnTo>
                    <a:lnTo>
                      <a:pt x="92869" y="426243"/>
                    </a:lnTo>
                    <a:lnTo>
                      <a:pt x="126207" y="538162"/>
                    </a:lnTo>
                    <a:lnTo>
                      <a:pt x="116682" y="590550"/>
                    </a:lnTo>
                    <a:lnTo>
                      <a:pt x="126207" y="602456"/>
                    </a:lnTo>
                    <a:lnTo>
                      <a:pt x="114300" y="678656"/>
                    </a:lnTo>
                    <a:lnTo>
                      <a:pt x="161925" y="709612"/>
                    </a:lnTo>
                    <a:lnTo>
                      <a:pt x="178594" y="1057275"/>
                    </a:lnTo>
                    <a:lnTo>
                      <a:pt x="547688" y="1026318"/>
                    </a:lnTo>
                    <a:lnTo>
                      <a:pt x="916782" y="962025"/>
                    </a:lnTo>
                    <a:lnTo>
                      <a:pt x="890588" y="897731"/>
                    </a:lnTo>
                    <a:lnTo>
                      <a:pt x="869157" y="907256"/>
                    </a:lnTo>
                    <a:lnTo>
                      <a:pt x="838200" y="871537"/>
                    </a:lnTo>
                    <a:lnTo>
                      <a:pt x="804863" y="871537"/>
                    </a:lnTo>
                    <a:lnTo>
                      <a:pt x="766763" y="814387"/>
                    </a:lnTo>
                    <a:lnTo>
                      <a:pt x="709613" y="792956"/>
                    </a:lnTo>
                    <a:lnTo>
                      <a:pt x="673894" y="783431"/>
                    </a:lnTo>
                    <a:lnTo>
                      <a:pt x="673894" y="783431"/>
                    </a:lnTo>
                    <a:lnTo>
                      <a:pt x="645319" y="716756"/>
                    </a:lnTo>
                    <a:lnTo>
                      <a:pt x="666750" y="669131"/>
                    </a:lnTo>
                    <a:lnTo>
                      <a:pt x="623888" y="588168"/>
                    </a:lnTo>
                    <a:lnTo>
                      <a:pt x="683419" y="519112"/>
                    </a:lnTo>
                    <a:cubicBezTo>
                      <a:pt x="682625" y="491331"/>
                      <a:pt x="681832" y="463549"/>
                      <a:pt x="681038" y="435768"/>
                    </a:cubicBezTo>
                    <a:lnTo>
                      <a:pt x="704850" y="371475"/>
                    </a:lnTo>
                    <a:lnTo>
                      <a:pt x="731044" y="345281"/>
                    </a:lnTo>
                    <a:lnTo>
                      <a:pt x="788194" y="292893"/>
                    </a:lnTo>
                    <a:lnTo>
                      <a:pt x="819150" y="238125"/>
                    </a:lnTo>
                    <a:lnTo>
                      <a:pt x="912019" y="171450"/>
                    </a:lnTo>
                    <a:lnTo>
                      <a:pt x="997744" y="107156"/>
                    </a:lnTo>
                    <a:lnTo>
                      <a:pt x="945357" y="97631"/>
                    </a:lnTo>
                    <a:lnTo>
                      <a:pt x="869157" y="107156"/>
                    </a:lnTo>
                    <a:lnTo>
                      <a:pt x="823913" y="104775"/>
                    </a:lnTo>
                    <a:lnTo>
                      <a:pt x="807244" y="92868"/>
                    </a:lnTo>
                    <a:lnTo>
                      <a:pt x="766763" y="111918"/>
                    </a:lnTo>
                    <a:lnTo>
                      <a:pt x="738188" y="104775"/>
                    </a:lnTo>
                    <a:lnTo>
                      <a:pt x="700088" y="88106"/>
                    </a:lnTo>
                    <a:lnTo>
                      <a:pt x="676275" y="71437"/>
                    </a:lnTo>
                    <a:lnTo>
                      <a:pt x="638175" y="78581"/>
                    </a:lnTo>
                    <a:lnTo>
                      <a:pt x="588169" y="50006"/>
                    </a:lnTo>
                    <a:lnTo>
                      <a:pt x="561975" y="52387"/>
                    </a:lnTo>
                    <a:lnTo>
                      <a:pt x="504825" y="57150"/>
                    </a:lnTo>
                    <a:lnTo>
                      <a:pt x="459582" y="57150"/>
                    </a:lnTo>
                    <a:lnTo>
                      <a:pt x="438150" y="42862"/>
                    </a:lnTo>
                    <a:lnTo>
                      <a:pt x="381000" y="33337"/>
                    </a:lnTo>
                    <a:lnTo>
                      <a:pt x="328613" y="16668"/>
                    </a:lnTo>
                    <a:lnTo>
                      <a:pt x="295275" y="16668"/>
                    </a:lnTo>
                    <a:lnTo>
                      <a:pt x="264319" y="16668"/>
                    </a:lnTo>
                    <a:lnTo>
                      <a:pt x="238125" y="9525"/>
                    </a:lnTo>
                    <a:lnTo>
                      <a:pt x="230982" y="0"/>
                    </a:lnTo>
                    <a:lnTo>
                      <a:pt x="147638" y="9525"/>
                    </a:lnTo>
                    <a:lnTo>
                      <a:pt x="83344" y="7143"/>
                    </a:lnTo>
                    <a:lnTo>
                      <a:pt x="0" y="1190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 dirty="0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96" name="Freeform 195"/>
              <p:cNvSpPr/>
              <p:nvPr/>
            </p:nvSpPr>
            <p:spPr>
              <a:xfrm>
                <a:off x="4638510" y="1081031"/>
                <a:ext cx="35928" cy="59741"/>
              </a:xfrm>
              <a:custGeom>
                <a:avLst/>
                <a:gdLst>
                  <a:gd name="connsiteX0" fmla="*/ 28575 w 28575"/>
                  <a:gd name="connsiteY0" fmla="*/ 0 h 42863"/>
                  <a:gd name="connsiteX1" fmla="*/ 0 w 28575"/>
                  <a:gd name="connsiteY1" fmla="*/ 42863 h 42863"/>
                  <a:gd name="connsiteX2" fmla="*/ 28575 w 28575"/>
                  <a:gd name="connsiteY2" fmla="*/ 0 h 42863"/>
                  <a:gd name="connsiteX0" fmla="*/ 35885 w 35928"/>
                  <a:gd name="connsiteY0" fmla="*/ 2617 h 45483"/>
                  <a:gd name="connsiteX1" fmla="*/ 7310 w 35928"/>
                  <a:gd name="connsiteY1" fmla="*/ 45480 h 45483"/>
                  <a:gd name="connsiteX2" fmla="*/ 166 w 35928"/>
                  <a:gd name="connsiteY2" fmla="*/ 4999 h 45483"/>
                  <a:gd name="connsiteX3" fmla="*/ 35885 w 35928"/>
                  <a:gd name="connsiteY3" fmla="*/ 2617 h 45483"/>
                  <a:gd name="connsiteX0" fmla="*/ 35885 w 35928"/>
                  <a:gd name="connsiteY0" fmla="*/ 16725 h 59741"/>
                  <a:gd name="connsiteX1" fmla="*/ 7310 w 35928"/>
                  <a:gd name="connsiteY1" fmla="*/ 59588 h 59741"/>
                  <a:gd name="connsiteX2" fmla="*/ 166 w 35928"/>
                  <a:gd name="connsiteY2" fmla="*/ 57 h 59741"/>
                  <a:gd name="connsiteX3" fmla="*/ 35885 w 35928"/>
                  <a:gd name="connsiteY3" fmla="*/ 16725 h 5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928" h="59741">
                    <a:moveTo>
                      <a:pt x="35885" y="16725"/>
                    </a:moveTo>
                    <a:cubicBezTo>
                      <a:pt x="37076" y="26647"/>
                      <a:pt x="13263" y="62366"/>
                      <a:pt x="7310" y="59588"/>
                    </a:cubicBezTo>
                    <a:cubicBezTo>
                      <a:pt x="1357" y="56810"/>
                      <a:pt x="-628" y="4820"/>
                      <a:pt x="166" y="57"/>
                    </a:cubicBezTo>
                    <a:cubicBezTo>
                      <a:pt x="12072" y="-737"/>
                      <a:pt x="34694" y="6803"/>
                      <a:pt x="35885" y="16725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 dirty="0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</p:grpSp>
        <p:grpSp>
          <p:nvGrpSpPr>
            <p:cNvPr id="135" name="Group 134"/>
            <p:cNvGrpSpPr/>
            <p:nvPr/>
          </p:nvGrpSpPr>
          <p:grpSpPr>
            <a:xfrm>
              <a:off x="3551010" y="2286317"/>
              <a:ext cx="741014" cy="597270"/>
              <a:chOff x="5355431" y="1331119"/>
              <a:chExt cx="1176338" cy="1012031"/>
            </a:xfrm>
            <a:solidFill>
              <a:schemeClr val="bg1">
                <a:lumMod val="95000"/>
              </a:schemeClr>
            </a:solidFill>
          </p:grpSpPr>
          <p:sp>
            <p:nvSpPr>
              <p:cNvPr id="193" name="Freeform 192"/>
              <p:cNvSpPr/>
              <p:nvPr/>
            </p:nvSpPr>
            <p:spPr>
              <a:xfrm>
                <a:off x="5355431" y="1331119"/>
                <a:ext cx="833438" cy="397669"/>
              </a:xfrm>
              <a:custGeom>
                <a:avLst/>
                <a:gdLst>
                  <a:gd name="connsiteX0" fmla="*/ 0 w 833438"/>
                  <a:gd name="connsiteY0" fmla="*/ 223837 h 397669"/>
                  <a:gd name="connsiteX1" fmla="*/ 90488 w 833438"/>
                  <a:gd name="connsiteY1" fmla="*/ 276225 h 397669"/>
                  <a:gd name="connsiteX2" fmla="*/ 154782 w 833438"/>
                  <a:gd name="connsiteY2" fmla="*/ 271462 h 397669"/>
                  <a:gd name="connsiteX3" fmla="*/ 290513 w 833438"/>
                  <a:gd name="connsiteY3" fmla="*/ 292894 h 397669"/>
                  <a:gd name="connsiteX4" fmla="*/ 309563 w 833438"/>
                  <a:gd name="connsiteY4" fmla="*/ 288131 h 397669"/>
                  <a:gd name="connsiteX5" fmla="*/ 335757 w 833438"/>
                  <a:gd name="connsiteY5" fmla="*/ 328612 h 397669"/>
                  <a:gd name="connsiteX6" fmla="*/ 369094 w 833438"/>
                  <a:gd name="connsiteY6" fmla="*/ 321469 h 397669"/>
                  <a:gd name="connsiteX7" fmla="*/ 352425 w 833438"/>
                  <a:gd name="connsiteY7" fmla="*/ 354806 h 397669"/>
                  <a:gd name="connsiteX8" fmla="*/ 381000 w 833438"/>
                  <a:gd name="connsiteY8" fmla="*/ 397669 h 397669"/>
                  <a:gd name="connsiteX9" fmla="*/ 402432 w 833438"/>
                  <a:gd name="connsiteY9" fmla="*/ 376237 h 397669"/>
                  <a:gd name="connsiteX10" fmla="*/ 423863 w 833438"/>
                  <a:gd name="connsiteY10" fmla="*/ 342900 h 397669"/>
                  <a:gd name="connsiteX11" fmla="*/ 447675 w 833438"/>
                  <a:gd name="connsiteY11" fmla="*/ 304800 h 397669"/>
                  <a:gd name="connsiteX12" fmla="*/ 452438 w 833438"/>
                  <a:gd name="connsiteY12" fmla="*/ 273844 h 397669"/>
                  <a:gd name="connsiteX13" fmla="*/ 452438 w 833438"/>
                  <a:gd name="connsiteY13" fmla="*/ 273844 h 397669"/>
                  <a:gd name="connsiteX14" fmla="*/ 469107 w 833438"/>
                  <a:gd name="connsiteY14" fmla="*/ 278606 h 397669"/>
                  <a:gd name="connsiteX15" fmla="*/ 471488 w 833438"/>
                  <a:gd name="connsiteY15" fmla="*/ 290512 h 397669"/>
                  <a:gd name="connsiteX16" fmla="*/ 476250 w 833438"/>
                  <a:gd name="connsiteY16" fmla="*/ 297656 h 397669"/>
                  <a:gd name="connsiteX17" fmla="*/ 490538 w 833438"/>
                  <a:gd name="connsiteY17" fmla="*/ 269081 h 397669"/>
                  <a:gd name="connsiteX18" fmla="*/ 514350 w 833438"/>
                  <a:gd name="connsiteY18" fmla="*/ 264319 h 397669"/>
                  <a:gd name="connsiteX19" fmla="*/ 507207 w 833438"/>
                  <a:gd name="connsiteY19" fmla="*/ 280987 h 397669"/>
                  <a:gd name="connsiteX20" fmla="*/ 502444 w 833438"/>
                  <a:gd name="connsiteY20" fmla="*/ 297656 h 397669"/>
                  <a:gd name="connsiteX21" fmla="*/ 514350 w 833438"/>
                  <a:gd name="connsiteY21" fmla="*/ 307181 h 397669"/>
                  <a:gd name="connsiteX22" fmla="*/ 547688 w 833438"/>
                  <a:gd name="connsiteY22" fmla="*/ 264319 h 397669"/>
                  <a:gd name="connsiteX23" fmla="*/ 554832 w 833438"/>
                  <a:gd name="connsiteY23" fmla="*/ 245269 h 397669"/>
                  <a:gd name="connsiteX24" fmla="*/ 566738 w 833438"/>
                  <a:gd name="connsiteY24" fmla="*/ 238125 h 397669"/>
                  <a:gd name="connsiteX25" fmla="*/ 592932 w 833438"/>
                  <a:gd name="connsiteY25" fmla="*/ 230981 h 397669"/>
                  <a:gd name="connsiteX26" fmla="*/ 626269 w 833438"/>
                  <a:gd name="connsiteY26" fmla="*/ 192881 h 397669"/>
                  <a:gd name="connsiteX27" fmla="*/ 671513 w 833438"/>
                  <a:gd name="connsiteY27" fmla="*/ 183356 h 397669"/>
                  <a:gd name="connsiteX28" fmla="*/ 716757 w 833438"/>
                  <a:gd name="connsiteY28" fmla="*/ 185737 h 397669"/>
                  <a:gd name="connsiteX29" fmla="*/ 738188 w 833438"/>
                  <a:gd name="connsiteY29" fmla="*/ 204787 h 397669"/>
                  <a:gd name="connsiteX30" fmla="*/ 762000 w 833438"/>
                  <a:gd name="connsiteY30" fmla="*/ 204787 h 397669"/>
                  <a:gd name="connsiteX31" fmla="*/ 762000 w 833438"/>
                  <a:gd name="connsiteY31" fmla="*/ 176212 h 397669"/>
                  <a:gd name="connsiteX32" fmla="*/ 781050 w 833438"/>
                  <a:gd name="connsiteY32" fmla="*/ 169069 h 397669"/>
                  <a:gd name="connsiteX33" fmla="*/ 823913 w 833438"/>
                  <a:gd name="connsiteY33" fmla="*/ 183356 h 397669"/>
                  <a:gd name="connsiteX34" fmla="*/ 833438 w 833438"/>
                  <a:gd name="connsiteY34" fmla="*/ 161925 h 397669"/>
                  <a:gd name="connsiteX35" fmla="*/ 828675 w 833438"/>
                  <a:gd name="connsiteY35" fmla="*/ 138112 h 397669"/>
                  <a:gd name="connsiteX36" fmla="*/ 807244 w 833438"/>
                  <a:gd name="connsiteY36" fmla="*/ 138112 h 397669"/>
                  <a:gd name="connsiteX37" fmla="*/ 802482 w 833438"/>
                  <a:gd name="connsiteY37" fmla="*/ 130969 h 397669"/>
                  <a:gd name="connsiteX38" fmla="*/ 795338 w 833438"/>
                  <a:gd name="connsiteY38" fmla="*/ 109537 h 397669"/>
                  <a:gd name="connsiteX39" fmla="*/ 764382 w 833438"/>
                  <a:gd name="connsiteY39" fmla="*/ 102394 h 397669"/>
                  <a:gd name="connsiteX40" fmla="*/ 745332 w 833438"/>
                  <a:gd name="connsiteY40" fmla="*/ 119062 h 397669"/>
                  <a:gd name="connsiteX41" fmla="*/ 723900 w 833438"/>
                  <a:gd name="connsiteY41" fmla="*/ 126206 h 397669"/>
                  <a:gd name="connsiteX42" fmla="*/ 695325 w 833438"/>
                  <a:gd name="connsiteY42" fmla="*/ 128587 h 397669"/>
                  <a:gd name="connsiteX43" fmla="*/ 666750 w 833438"/>
                  <a:gd name="connsiteY43" fmla="*/ 116681 h 397669"/>
                  <a:gd name="connsiteX44" fmla="*/ 681038 w 833438"/>
                  <a:gd name="connsiteY44" fmla="*/ 80962 h 397669"/>
                  <a:gd name="connsiteX45" fmla="*/ 683419 w 833438"/>
                  <a:gd name="connsiteY45" fmla="*/ 59531 h 397669"/>
                  <a:gd name="connsiteX46" fmla="*/ 671513 w 833438"/>
                  <a:gd name="connsiteY46" fmla="*/ 57150 h 397669"/>
                  <a:gd name="connsiteX47" fmla="*/ 647700 w 833438"/>
                  <a:gd name="connsiteY47" fmla="*/ 69056 h 397669"/>
                  <a:gd name="connsiteX48" fmla="*/ 628650 w 833438"/>
                  <a:gd name="connsiteY48" fmla="*/ 95250 h 397669"/>
                  <a:gd name="connsiteX49" fmla="*/ 581025 w 833438"/>
                  <a:gd name="connsiteY49" fmla="*/ 102394 h 397669"/>
                  <a:gd name="connsiteX50" fmla="*/ 533400 w 833438"/>
                  <a:gd name="connsiteY50" fmla="*/ 119062 h 397669"/>
                  <a:gd name="connsiteX51" fmla="*/ 502444 w 833438"/>
                  <a:gd name="connsiteY51" fmla="*/ 140494 h 397669"/>
                  <a:gd name="connsiteX52" fmla="*/ 492919 w 833438"/>
                  <a:gd name="connsiteY52" fmla="*/ 164306 h 397669"/>
                  <a:gd name="connsiteX53" fmla="*/ 478632 w 833438"/>
                  <a:gd name="connsiteY53" fmla="*/ 166687 h 397669"/>
                  <a:gd name="connsiteX54" fmla="*/ 442913 w 833438"/>
                  <a:gd name="connsiteY54" fmla="*/ 159544 h 397669"/>
                  <a:gd name="connsiteX55" fmla="*/ 388144 w 833438"/>
                  <a:gd name="connsiteY55" fmla="*/ 159544 h 397669"/>
                  <a:gd name="connsiteX56" fmla="*/ 350044 w 833438"/>
                  <a:gd name="connsiteY56" fmla="*/ 119062 h 397669"/>
                  <a:gd name="connsiteX57" fmla="*/ 326232 w 833438"/>
                  <a:gd name="connsiteY57" fmla="*/ 111919 h 397669"/>
                  <a:gd name="connsiteX58" fmla="*/ 288132 w 833438"/>
                  <a:gd name="connsiteY58" fmla="*/ 114300 h 397669"/>
                  <a:gd name="connsiteX59" fmla="*/ 259557 w 833438"/>
                  <a:gd name="connsiteY59" fmla="*/ 116681 h 397669"/>
                  <a:gd name="connsiteX60" fmla="*/ 250032 w 833438"/>
                  <a:gd name="connsiteY60" fmla="*/ 128587 h 397669"/>
                  <a:gd name="connsiteX61" fmla="*/ 238125 w 833438"/>
                  <a:gd name="connsiteY61" fmla="*/ 121444 h 397669"/>
                  <a:gd name="connsiteX62" fmla="*/ 235744 w 833438"/>
                  <a:gd name="connsiteY62" fmla="*/ 76200 h 397669"/>
                  <a:gd name="connsiteX63" fmla="*/ 252413 w 833438"/>
                  <a:gd name="connsiteY63" fmla="*/ 47625 h 397669"/>
                  <a:gd name="connsiteX64" fmla="*/ 285750 w 833438"/>
                  <a:gd name="connsiteY64" fmla="*/ 40481 h 397669"/>
                  <a:gd name="connsiteX65" fmla="*/ 280988 w 833438"/>
                  <a:gd name="connsiteY65" fmla="*/ 21431 h 397669"/>
                  <a:gd name="connsiteX66" fmla="*/ 304800 w 833438"/>
                  <a:gd name="connsiteY66" fmla="*/ 2381 h 397669"/>
                  <a:gd name="connsiteX67" fmla="*/ 273844 w 833438"/>
                  <a:gd name="connsiteY67" fmla="*/ 0 h 397669"/>
                  <a:gd name="connsiteX68" fmla="*/ 254794 w 833438"/>
                  <a:gd name="connsiteY68" fmla="*/ 21431 h 397669"/>
                  <a:gd name="connsiteX69" fmla="*/ 207169 w 833438"/>
                  <a:gd name="connsiteY69" fmla="*/ 26194 h 397669"/>
                  <a:gd name="connsiteX70" fmla="*/ 176213 w 833438"/>
                  <a:gd name="connsiteY70" fmla="*/ 54769 h 397669"/>
                  <a:gd name="connsiteX71" fmla="*/ 166688 w 833438"/>
                  <a:gd name="connsiteY71" fmla="*/ 88106 h 397669"/>
                  <a:gd name="connsiteX72" fmla="*/ 147638 w 833438"/>
                  <a:gd name="connsiteY72" fmla="*/ 109537 h 397669"/>
                  <a:gd name="connsiteX73" fmla="*/ 121444 w 833438"/>
                  <a:gd name="connsiteY73" fmla="*/ 116681 h 397669"/>
                  <a:gd name="connsiteX74" fmla="*/ 71438 w 833438"/>
                  <a:gd name="connsiteY74" fmla="*/ 159544 h 397669"/>
                  <a:gd name="connsiteX75" fmla="*/ 47625 w 833438"/>
                  <a:gd name="connsiteY75" fmla="*/ 161925 h 397669"/>
                  <a:gd name="connsiteX76" fmla="*/ 0 w 833438"/>
                  <a:gd name="connsiteY76" fmla="*/ 223837 h 39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833438" h="397669">
                    <a:moveTo>
                      <a:pt x="0" y="223837"/>
                    </a:moveTo>
                    <a:lnTo>
                      <a:pt x="90488" y="276225"/>
                    </a:lnTo>
                    <a:lnTo>
                      <a:pt x="154782" y="271462"/>
                    </a:lnTo>
                    <a:lnTo>
                      <a:pt x="290513" y="292894"/>
                    </a:lnTo>
                    <a:lnTo>
                      <a:pt x="309563" y="288131"/>
                    </a:lnTo>
                    <a:lnTo>
                      <a:pt x="335757" y="328612"/>
                    </a:lnTo>
                    <a:lnTo>
                      <a:pt x="369094" y="321469"/>
                    </a:lnTo>
                    <a:lnTo>
                      <a:pt x="352425" y="354806"/>
                    </a:lnTo>
                    <a:lnTo>
                      <a:pt x="381000" y="397669"/>
                    </a:lnTo>
                    <a:lnTo>
                      <a:pt x="402432" y="376237"/>
                    </a:lnTo>
                    <a:lnTo>
                      <a:pt x="423863" y="342900"/>
                    </a:lnTo>
                    <a:lnTo>
                      <a:pt x="447675" y="304800"/>
                    </a:lnTo>
                    <a:lnTo>
                      <a:pt x="452438" y="273844"/>
                    </a:lnTo>
                    <a:lnTo>
                      <a:pt x="452438" y="273844"/>
                    </a:lnTo>
                    <a:lnTo>
                      <a:pt x="469107" y="278606"/>
                    </a:lnTo>
                    <a:lnTo>
                      <a:pt x="471488" y="290512"/>
                    </a:lnTo>
                    <a:lnTo>
                      <a:pt x="476250" y="297656"/>
                    </a:lnTo>
                    <a:lnTo>
                      <a:pt x="490538" y="269081"/>
                    </a:lnTo>
                    <a:lnTo>
                      <a:pt x="514350" y="264319"/>
                    </a:lnTo>
                    <a:lnTo>
                      <a:pt x="507207" y="280987"/>
                    </a:lnTo>
                    <a:lnTo>
                      <a:pt x="502444" y="297656"/>
                    </a:lnTo>
                    <a:lnTo>
                      <a:pt x="514350" y="307181"/>
                    </a:lnTo>
                    <a:lnTo>
                      <a:pt x="547688" y="264319"/>
                    </a:lnTo>
                    <a:lnTo>
                      <a:pt x="554832" y="245269"/>
                    </a:lnTo>
                    <a:lnTo>
                      <a:pt x="566738" y="238125"/>
                    </a:lnTo>
                    <a:lnTo>
                      <a:pt x="592932" y="230981"/>
                    </a:lnTo>
                    <a:lnTo>
                      <a:pt x="626269" y="192881"/>
                    </a:lnTo>
                    <a:lnTo>
                      <a:pt x="671513" y="183356"/>
                    </a:lnTo>
                    <a:lnTo>
                      <a:pt x="716757" y="185737"/>
                    </a:lnTo>
                    <a:lnTo>
                      <a:pt x="738188" y="204787"/>
                    </a:lnTo>
                    <a:lnTo>
                      <a:pt x="762000" y="204787"/>
                    </a:lnTo>
                    <a:lnTo>
                      <a:pt x="762000" y="176212"/>
                    </a:lnTo>
                    <a:lnTo>
                      <a:pt x="781050" y="169069"/>
                    </a:lnTo>
                    <a:lnTo>
                      <a:pt x="823913" y="183356"/>
                    </a:lnTo>
                    <a:lnTo>
                      <a:pt x="833438" y="161925"/>
                    </a:lnTo>
                    <a:lnTo>
                      <a:pt x="828675" y="138112"/>
                    </a:lnTo>
                    <a:lnTo>
                      <a:pt x="807244" y="138112"/>
                    </a:lnTo>
                    <a:lnTo>
                      <a:pt x="802482" y="130969"/>
                    </a:lnTo>
                    <a:lnTo>
                      <a:pt x="795338" y="109537"/>
                    </a:lnTo>
                    <a:lnTo>
                      <a:pt x="764382" y="102394"/>
                    </a:lnTo>
                    <a:lnTo>
                      <a:pt x="745332" y="119062"/>
                    </a:lnTo>
                    <a:lnTo>
                      <a:pt x="723900" y="126206"/>
                    </a:lnTo>
                    <a:lnTo>
                      <a:pt x="695325" y="128587"/>
                    </a:lnTo>
                    <a:lnTo>
                      <a:pt x="666750" y="116681"/>
                    </a:lnTo>
                    <a:lnTo>
                      <a:pt x="681038" y="80962"/>
                    </a:lnTo>
                    <a:lnTo>
                      <a:pt x="683419" y="59531"/>
                    </a:lnTo>
                    <a:lnTo>
                      <a:pt x="671513" y="57150"/>
                    </a:lnTo>
                    <a:lnTo>
                      <a:pt x="647700" y="69056"/>
                    </a:lnTo>
                    <a:lnTo>
                      <a:pt x="628650" y="95250"/>
                    </a:lnTo>
                    <a:lnTo>
                      <a:pt x="581025" y="102394"/>
                    </a:lnTo>
                    <a:lnTo>
                      <a:pt x="533400" y="119062"/>
                    </a:lnTo>
                    <a:lnTo>
                      <a:pt x="502444" y="140494"/>
                    </a:lnTo>
                    <a:lnTo>
                      <a:pt x="492919" y="164306"/>
                    </a:lnTo>
                    <a:lnTo>
                      <a:pt x="478632" y="166687"/>
                    </a:lnTo>
                    <a:lnTo>
                      <a:pt x="442913" y="159544"/>
                    </a:lnTo>
                    <a:lnTo>
                      <a:pt x="388144" y="159544"/>
                    </a:lnTo>
                    <a:lnTo>
                      <a:pt x="350044" y="119062"/>
                    </a:lnTo>
                    <a:lnTo>
                      <a:pt x="326232" y="111919"/>
                    </a:lnTo>
                    <a:lnTo>
                      <a:pt x="288132" y="114300"/>
                    </a:lnTo>
                    <a:lnTo>
                      <a:pt x="259557" y="116681"/>
                    </a:lnTo>
                    <a:lnTo>
                      <a:pt x="250032" y="128587"/>
                    </a:lnTo>
                    <a:lnTo>
                      <a:pt x="238125" y="121444"/>
                    </a:lnTo>
                    <a:lnTo>
                      <a:pt x="235744" y="76200"/>
                    </a:lnTo>
                    <a:lnTo>
                      <a:pt x="252413" y="47625"/>
                    </a:lnTo>
                    <a:lnTo>
                      <a:pt x="285750" y="40481"/>
                    </a:lnTo>
                    <a:lnTo>
                      <a:pt x="280988" y="21431"/>
                    </a:lnTo>
                    <a:lnTo>
                      <a:pt x="304800" y="2381"/>
                    </a:lnTo>
                    <a:lnTo>
                      <a:pt x="273844" y="0"/>
                    </a:lnTo>
                    <a:lnTo>
                      <a:pt x="254794" y="21431"/>
                    </a:lnTo>
                    <a:lnTo>
                      <a:pt x="207169" y="26194"/>
                    </a:lnTo>
                    <a:lnTo>
                      <a:pt x="176213" y="54769"/>
                    </a:lnTo>
                    <a:lnTo>
                      <a:pt x="166688" y="88106"/>
                    </a:lnTo>
                    <a:lnTo>
                      <a:pt x="147638" y="109537"/>
                    </a:lnTo>
                    <a:lnTo>
                      <a:pt x="121444" y="116681"/>
                    </a:lnTo>
                    <a:lnTo>
                      <a:pt x="71438" y="159544"/>
                    </a:lnTo>
                    <a:lnTo>
                      <a:pt x="47625" y="161925"/>
                    </a:lnTo>
                    <a:lnTo>
                      <a:pt x="0" y="223837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 dirty="0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94" name="Freeform 193"/>
              <p:cNvSpPr/>
              <p:nvPr/>
            </p:nvSpPr>
            <p:spPr>
              <a:xfrm>
                <a:off x="5938838" y="1557338"/>
                <a:ext cx="592931" cy="785812"/>
              </a:xfrm>
              <a:custGeom>
                <a:avLst/>
                <a:gdLst>
                  <a:gd name="connsiteX0" fmla="*/ 78581 w 592931"/>
                  <a:gd name="connsiteY0" fmla="*/ 130968 h 785812"/>
                  <a:gd name="connsiteX1" fmla="*/ 30956 w 592931"/>
                  <a:gd name="connsiteY1" fmla="*/ 190500 h 785812"/>
                  <a:gd name="connsiteX2" fmla="*/ 21431 w 592931"/>
                  <a:gd name="connsiteY2" fmla="*/ 219075 h 785812"/>
                  <a:gd name="connsiteX3" fmla="*/ 9525 w 592931"/>
                  <a:gd name="connsiteY3" fmla="*/ 261937 h 785812"/>
                  <a:gd name="connsiteX4" fmla="*/ 16668 w 592931"/>
                  <a:gd name="connsiteY4" fmla="*/ 292893 h 785812"/>
                  <a:gd name="connsiteX5" fmla="*/ 0 w 592931"/>
                  <a:gd name="connsiteY5" fmla="*/ 342900 h 785812"/>
                  <a:gd name="connsiteX6" fmla="*/ 0 w 592931"/>
                  <a:gd name="connsiteY6" fmla="*/ 359568 h 785812"/>
                  <a:gd name="connsiteX7" fmla="*/ 16668 w 592931"/>
                  <a:gd name="connsiteY7" fmla="*/ 390525 h 785812"/>
                  <a:gd name="connsiteX8" fmla="*/ 7143 w 592931"/>
                  <a:gd name="connsiteY8" fmla="*/ 431006 h 785812"/>
                  <a:gd name="connsiteX9" fmla="*/ 33337 w 592931"/>
                  <a:gd name="connsiteY9" fmla="*/ 459581 h 785812"/>
                  <a:gd name="connsiteX10" fmla="*/ 52387 w 592931"/>
                  <a:gd name="connsiteY10" fmla="*/ 488156 h 785812"/>
                  <a:gd name="connsiteX11" fmla="*/ 66675 w 592931"/>
                  <a:gd name="connsiteY11" fmla="*/ 521493 h 785812"/>
                  <a:gd name="connsiteX12" fmla="*/ 71437 w 592931"/>
                  <a:gd name="connsiteY12" fmla="*/ 561975 h 785812"/>
                  <a:gd name="connsiteX13" fmla="*/ 78581 w 592931"/>
                  <a:gd name="connsiteY13" fmla="*/ 628650 h 785812"/>
                  <a:gd name="connsiteX14" fmla="*/ 38100 w 592931"/>
                  <a:gd name="connsiteY14" fmla="*/ 785812 h 785812"/>
                  <a:gd name="connsiteX15" fmla="*/ 61912 w 592931"/>
                  <a:gd name="connsiteY15" fmla="*/ 785812 h 785812"/>
                  <a:gd name="connsiteX16" fmla="*/ 304800 w 592931"/>
                  <a:gd name="connsiteY16" fmla="*/ 731043 h 785812"/>
                  <a:gd name="connsiteX17" fmla="*/ 311943 w 592931"/>
                  <a:gd name="connsiteY17" fmla="*/ 752475 h 785812"/>
                  <a:gd name="connsiteX18" fmla="*/ 504825 w 592931"/>
                  <a:gd name="connsiteY18" fmla="*/ 697706 h 785812"/>
                  <a:gd name="connsiteX19" fmla="*/ 523875 w 592931"/>
                  <a:gd name="connsiteY19" fmla="*/ 673893 h 785812"/>
                  <a:gd name="connsiteX20" fmla="*/ 535781 w 592931"/>
                  <a:gd name="connsiteY20" fmla="*/ 635793 h 785812"/>
                  <a:gd name="connsiteX21" fmla="*/ 519112 w 592931"/>
                  <a:gd name="connsiteY21" fmla="*/ 611981 h 785812"/>
                  <a:gd name="connsiteX22" fmla="*/ 535781 w 592931"/>
                  <a:gd name="connsiteY22" fmla="*/ 583406 h 785812"/>
                  <a:gd name="connsiteX23" fmla="*/ 578643 w 592931"/>
                  <a:gd name="connsiteY23" fmla="*/ 540543 h 785812"/>
                  <a:gd name="connsiteX24" fmla="*/ 592931 w 592931"/>
                  <a:gd name="connsiteY24" fmla="*/ 495300 h 785812"/>
                  <a:gd name="connsiteX25" fmla="*/ 585787 w 592931"/>
                  <a:gd name="connsiteY25" fmla="*/ 423862 h 785812"/>
                  <a:gd name="connsiteX26" fmla="*/ 554831 w 592931"/>
                  <a:gd name="connsiteY26" fmla="*/ 357187 h 785812"/>
                  <a:gd name="connsiteX27" fmla="*/ 531018 w 592931"/>
                  <a:gd name="connsiteY27" fmla="*/ 292893 h 785812"/>
                  <a:gd name="connsiteX28" fmla="*/ 500062 w 592931"/>
                  <a:gd name="connsiteY28" fmla="*/ 271462 h 785812"/>
                  <a:gd name="connsiteX29" fmla="*/ 452437 w 592931"/>
                  <a:gd name="connsiteY29" fmla="*/ 271462 h 785812"/>
                  <a:gd name="connsiteX30" fmla="*/ 416718 w 592931"/>
                  <a:gd name="connsiteY30" fmla="*/ 330993 h 785812"/>
                  <a:gd name="connsiteX31" fmla="*/ 404812 w 592931"/>
                  <a:gd name="connsiteY31" fmla="*/ 350043 h 785812"/>
                  <a:gd name="connsiteX32" fmla="*/ 404812 w 592931"/>
                  <a:gd name="connsiteY32" fmla="*/ 350043 h 785812"/>
                  <a:gd name="connsiteX33" fmla="*/ 364331 w 592931"/>
                  <a:gd name="connsiteY33" fmla="*/ 342900 h 785812"/>
                  <a:gd name="connsiteX34" fmla="*/ 366712 w 592931"/>
                  <a:gd name="connsiteY34" fmla="*/ 311943 h 785812"/>
                  <a:gd name="connsiteX35" fmla="*/ 376237 w 592931"/>
                  <a:gd name="connsiteY35" fmla="*/ 290512 h 785812"/>
                  <a:gd name="connsiteX36" fmla="*/ 388143 w 592931"/>
                  <a:gd name="connsiteY36" fmla="*/ 269081 h 785812"/>
                  <a:gd name="connsiteX37" fmla="*/ 395287 w 592931"/>
                  <a:gd name="connsiteY37" fmla="*/ 252412 h 785812"/>
                  <a:gd name="connsiteX38" fmla="*/ 411956 w 592931"/>
                  <a:gd name="connsiteY38" fmla="*/ 202406 h 785812"/>
                  <a:gd name="connsiteX39" fmla="*/ 400050 w 592931"/>
                  <a:gd name="connsiteY39" fmla="*/ 123825 h 785812"/>
                  <a:gd name="connsiteX40" fmla="*/ 371475 w 592931"/>
                  <a:gd name="connsiteY40" fmla="*/ 100012 h 785812"/>
                  <a:gd name="connsiteX41" fmla="*/ 373856 w 592931"/>
                  <a:gd name="connsiteY41" fmla="*/ 88106 h 785812"/>
                  <a:gd name="connsiteX42" fmla="*/ 381000 w 592931"/>
                  <a:gd name="connsiteY42" fmla="*/ 71437 h 785812"/>
                  <a:gd name="connsiteX43" fmla="*/ 376237 w 592931"/>
                  <a:gd name="connsiteY43" fmla="*/ 59531 h 785812"/>
                  <a:gd name="connsiteX44" fmla="*/ 340518 w 592931"/>
                  <a:gd name="connsiteY44" fmla="*/ 52387 h 785812"/>
                  <a:gd name="connsiteX45" fmla="*/ 321468 w 592931"/>
                  <a:gd name="connsiteY45" fmla="*/ 42862 h 785812"/>
                  <a:gd name="connsiteX46" fmla="*/ 311943 w 592931"/>
                  <a:gd name="connsiteY46" fmla="*/ 30956 h 785812"/>
                  <a:gd name="connsiteX47" fmla="*/ 283368 w 592931"/>
                  <a:gd name="connsiteY47" fmla="*/ 35718 h 785812"/>
                  <a:gd name="connsiteX48" fmla="*/ 261937 w 592931"/>
                  <a:gd name="connsiteY48" fmla="*/ 28575 h 785812"/>
                  <a:gd name="connsiteX49" fmla="*/ 238125 w 592931"/>
                  <a:gd name="connsiteY49" fmla="*/ 14287 h 785812"/>
                  <a:gd name="connsiteX50" fmla="*/ 211931 w 592931"/>
                  <a:gd name="connsiteY50" fmla="*/ 21431 h 785812"/>
                  <a:gd name="connsiteX51" fmla="*/ 197643 w 592931"/>
                  <a:gd name="connsiteY51" fmla="*/ 19050 h 785812"/>
                  <a:gd name="connsiteX52" fmla="*/ 169068 w 592931"/>
                  <a:gd name="connsiteY52" fmla="*/ 0 h 785812"/>
                  <a:gd name="connsiteX53" fmla="*/ 142875 w 592931"/>
                  <a:gd name="connsiteY53" fmla="*/ 30956 h 785812"/>
                  <a:gd name="connsiteX54" fmla="*/ 135731 w 592931"/>
                  <a:gd name="connsiteY54" fmla="*/ 66675 h 785812"/>
                  <a:gd name="connsiteX55" fmla="*/ 135731 w 592931"/>
                  <a:gd name="connsiteY55" fmla="*/ 71437 h 785812"/>
                  <a:gd name="connsiteX56" fmla="*/ 154781 w 592931"/>
                  <a:gd name="connsiteY56" fmla="*/ 76200 h 785812"/>
                  <a:gd name="connsiteX57" fmla="*/ 133350 w 592931"/>
                  <a:gd name="connsiteY57" fmla="*/ 90487 h 785812"/>
                  <a:gd name="connsiteX58" fmla="*/ 78581 w 592931"/>
                  <a:gd name="connsiteY58" fmla="*/ 130968 h 785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92931" h="785812">
                    <a:moveTo>
                      <a:pt x="78581" y="130968"/>
                    </a:moveTo>
                    <a:lnTo>
                      <a:pt x="30956" y="190500"/>
                    </a:lnTo>
                    <a:lnTo>
                      <a:pt x="21431" y="219075"/>
                    </a:lnTo>
                    <a:lnTo>
                      <a:pt x="9525" y="261937"/>
                    </a:lnTo>
                    <a:lnTo>
                      <a:pt x="16668" y="292893"/>
                    </a:lnTo>
                    <a:lnTo>
                      <a:pt x="0" y="342900"/>
                    </a:lnTo>
                    <a:lnTo>
                      <a:pt x="0" y="359568"/>
                    </a:lnTo>
                    <a:lnTo>
                      <a:pt x="16668" y="390525"/>
                    </a:lnTo>
                    <a:lnTo>
                      <a:pt x="7143" y="431006"/>
                    </a:lnTo>
                    <a:lnTo>
                      <a:pt x="33337" y="459581"/>
                    </a:lnTo>
                    <a:lnTo>
                      <a:pt x="52387" y="488156"/>
                    </a:lnTo>
                    <a:lnTo>
                      <a:pt x="66675" y="521493"/>
                    </a:lnTo>
                    <a:lnTo>
                      <a:pt x="71437" y="561975"/>
                    </a:lnTo>
                    <a:lnTo>
                      <a:pt x="78581" y="628650"/>
                    </a:lnTo>
                    <a:lnTo>
                      <a:pt x="38100" y="785812"/>
                    </a:lnTo>
                    <a:lnTo>
                      <a:pt x="61912" y="785812"/>
                    </a:lnTo>
                    <a:lnTo>
                      <a:pt x="304800" y="731043"/>
                    </a:lnTo>
                    <a:lnTo>
                      <a:pt x="311943" y="752475"/>
                    </a:lnTo>
                    <a:lnTo>
                      <a:pt x="504825" y="697706"/>
                    </a:lnTo>
                    <a:lnTo>
                      <a:pt x="523875" y="673893"/>
                    </a:lnTo>
                    <a:lnTo>
                      <a:pt x="535781" y="635793"/>
                    </a:lnTo>
                    <a:lnTo>
                      <a:pt x="519112" y="611981"/>
                    </a:lnTo>
                    <a:lnTo>
                      <a:pt x="535781" y="583406"/>
                    </a:lnTo>
                    <a:lnTo>
                      <a:pt x="578643" y="540543"/>
                    </a:lnTo>
                    <a:lnTo>
                      <a:pt x="592931" y="495300"/>
                    </a:lnTo>
                    <a:lnTo>
                      <a:pt x="585787" y="423862"/>
                    </a:lnTo>
                    <a:lnTo>
                      <a:pt x="554831" y="357187"/>
                    </a:lnTo>
                    <a:lnTo>
                      <a:pt x="531018" y="292893"/>
                    </a:lnTo>
                    <a:lnTo>
                      <a:pt x="500062" y="271462"/>
                    </a:lnTo>
                    <a:lnTo>
                      <a:pt x="452437" y="271462"/>
                    </a:lnTo>
                    <a:lnTo>
                      <a:pt x="416718" y="330993"/>
                    </a:lnTo>
                    <a:lnTo>
                      <a:pt x="404812" y="350043"/>
                    </a:lnTo>
                    <a:lnTo>
                      <a:pt x="404812" y="350043"/>
                    </a:lnTo>
                    <a:lnTo>
                      <a:pt x="364331" y="342900"/>
                    </a:lnTo>
                    <a:lnTo>
                      <a:pt x="366712" y="311943"/>
                    </a:lnTo>
                    <a:lnTo>
                      <a:pt x="376237" y="290512"/>
                    </a:lnTo>
                    <a:lnTo>
                      <a:pt x="388143" y="269081"/>
                    </a:lnTo>
                    <a:lnTo>
                      <a:pt x="395287" y="252412"/>
                    </a:lnTo>
                    <a:lnTo>
                      <a:pt x="411956" y="202406"/>
                    </a:lnTo>
                    <a:lnTo>
                      <a:pt x="400050" y="123825"/>
                    </a:lnTo>
                    <a:lnTo>
                      <a:pt x="371475" y="100012"/>
                    </a:lnTo>
                    <a:lnTo>
                      <a:pt x="373856" y="88106"/>
                    </a:lnTo>
                    <a:lnTo>
                      <a:pt x="381000" y="71437"/>
                    </a:lnTo>
                    <a:lnTo>
                      <a:pt x="376237" y="59531"/>
                    </a:lnTo>
                    <a:lnTo>
                      <a:pt x="340518" y="52387"/>
                    </a:lnTo>
                    <a:lnTo>
                      <a:pt x="321468" y="42862"/>
                    </a:lnTo>
                    <a:lnTo>
                      <a:pt x="311943" y="30956"/>
                    </a:lnTo>
                    <a:lnTo>
                      <a:pt x="283368" y="35718"/>
                    </a:lnTo>
                    <a:lnTo>
                      <a:pt x="261937" y="28575"/>
                    </a:lnTo>
                    <a:lnTo>
                      <a:pt x="238125" y="14287"/>
                    </a:lnTo>
                    <a:lnTo>
                      <a:pt x="211931" y="21431"/>
                    </a:lnTo>
                    <a:lnTo>
                      <a:pt x="197643" y="19050"/>
                    </a:lnTo>
                    <a:lnTo>
                      <a:pt x="169068" y="0"/>
                    </a:lnTo>
                    <a:lnTo>
                      <a:pt x="142875" y="30956"/>
                    </a:lnTo>
                    <a:lnTo>
                      <a:pt x="135731" y="66675"/>
                    </a:lnTo>
                    <a:lnTo>
                      <a:pt x="135731" y="71437"/>
                    </a:lnTo>
                    <a:lnTo>
                      <a:pt x="154781" y="76200"/>
                    </a:lnTo>
                    <a:lnTo>
                      <a:pt x="133350" y="90487"/>
                    </a:lnTo>
                    <a:lnTo>
                      <a:pt x="78581" y="130968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 dirty="0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</p:grpSp>
        <p:grpSp>
          <p:nvGrpSpPr>
            <p:cNvPr id="136" name="Group 135"/>
            <p:cNvGrpSpPr/>
            <p:nvPr/>
          </p:nvGrpSpPr>
          <p:grpSpPr>
            <a:xfrm>
              <a:off x="4520029" y="2221670"/>
              <a:ext cx="755355" cy="490465"/>
              <a:chOff x="6893719" y="1221581"/>
              <a:chExt cx="1199104" cy="831057"/>
            </a:xfrm>
            <a:solidFill>
              <a:schemeClr val="accent1"/>
            </a:solidFill>
          </p:grpSpPr>
          <p:sp>
            <p:nvSpPr>
              <p:cNvPr id="191" name="Freeform 190"/>
              <p:cNvSpPr/>
              <p:nvPr/>
            </p:nvSpPr>
            <p:spPr>
              <a:xfrm>
                <a:off x="6893719" y="1221581"/>
                <a:ext cx="978694" cy="831057"/>
              </a:xfrm>
              <a:custGeom>
                <a:avLst/>
                <a:gdLst>
                  <a:gd name="connsiteX0" fmla="*/ 0 w 978694"/>
                  <a:gd name="connsiteY0" fmla="*/ 831057 h 831057"/>
                  <a:gd name="connsiteX1" fmla="*/ 657225 w 978694"/>
                  <a:gd name="connsiteY1" fmla="*/ 647700 h 831057"/>
                  <a:gd name="connsiteX2" fmla="*/ 709612 w 978694"/>
                  <a:gd name="connsiteY2" fmla="*/ 673894 h 831057"/>
                  <a:gd name="connsiteX3" fmla="*/ 769144 w 978694"/>
                  <a:gd name="connsiteY3" fmla="*/ 733425 h 831057"/>
                  <a:gd name="connsiteX4" fmla="*/ 821531 w 978694"/>
                  <a:gd name="connsiteY4" fmla="*/ 733425 h 831057"/>
                  <a:gd name="connsiteX5" fmla="*/ 866775 w 978694"/>
                  <a:gd name="connsiteY5" fmla="*/ 747713 h 831057"/>
                  <a:gd name="connsiteX6" fmla="*/ 909637 w 978694"/>
                  <a:gd name="connsiteY6" fmla="*/ 745332 h 831057"/>
                  <a:gd name="connsiteX7" fmla="*/ 942975 w 978694"/>
                  <a:gd name="connsiteY7" fmla="*/ 757238 h 831057"/>
                  <a:gd name="connsiteX8" fmla="*/ 962025 w 978694"/>
                  <a:gd name="connsiteY8" fmla="*/ 747713 h 831057"/>
                  <a:gd name="connsiteX9" fmla="*/ 978694 w 978694"/>
                  <a:gd name="connsiteY9" fmla="*/ 690563 h 831057"/>
                  <a:gd name="connsiteX10" fmla="*/ 919162 w 978694"/>
                  <a:gd name="connsiteY10" fmla="*/ 581025 h 831057"/>
                  <a:gd name="connsiteX11" fmla="*/ 912019 w 978694"/>
                  <a:gd name="connsiteY11" fmla="*/ 507207 h 831057"/>
                  <a:gd name="connsiteX12" fmla="*/ 895350 w 978694"/>
                  <a:gd name="connsiteY12" fmla="*/ 471488 h 831057"/>
                  <a:gd name="connsiteX13" fmla="*/ 890587 w 978694"/>
                  <a:gd name="connsiteY13" fmla="*/ 383382 h 831057"/>
                  <a:gd name="connsiteX14" fmla="*/ 833437 w 978694"/>
                  <a:gd name="connsiteY14" fmla="*/ 204788 h 831057"/>
                  <a:gd name="connsiteX15" fmla="*/ 800100 w 978694"/>
                  <a:gd name="connsiteY15" fmla="*/ 176213 h 831057"/>
                  <a:gd name="connsiteX16" fmla="*/ 769144 w 978694"/>
                  <a:gd name="connsiteY16" fmla="*/ 85725 h 831057"/>
                  <a:gd name="connsiteX17" fmla="*/ 757237 w 978694"/>
                  <a:gd name="connsiteY17" fmla="*/ 50007 h 831057"/>
                  <a:gd name="connsiteX18" fmla="*/ 740569 w 978694"/>
                  <a:gd name="connsiteY18" fmla="*/ 0 h 831057"/>
                  <a:gd name="connsiteX19" fmla="*/ 528637 w 978694"/>
                  <a:gd name="connsiteY19" fmla="*/ 83344 h 831057"/>
                  <a:gd name="connsiteX20" fmla="*/ 485775 w 978694"/>
                  <a:gd name="connsiteY20" fmla="*/ 123825 h 831057"/>
                  <a:gd name="connsiteX21" fmla="*/ 471487 w 978694"/>
                  <a:gd name="connsiteY21" fmla="*/ 178594 h 831057"/>
                  <a:gd name="connsiteX22" fmla="*/ 471487 w 978694"/>
                  <a:gd name="connsiteY22" fmla="*/ 221457 h 831057"/>
                  <a:gd name="connsiteX23" fmla="*/ 461962 w 978694"/>
                  <a:gd name="connsiteY23" fmla="*/ 242888 h 831057"/>
                  <a:gd name="connsiteX24" fmla="*/ 421481 w 978694"/>
                  <a:gd name="connsiteY24" fmla="*/ 278607 h 831057"/>
                  <a:gd name="connsiteX25" fmla="*/ 411956 w 978694"/>
                  <a:gd name="connsiteY25" fmla="*/ 302419 h 831057"/>
                  <a:gd name="connsiteX26" fmla="*/ 411956 w 978694"/>
                  <a:gd name="connsiteY26" fmla="*/ 302419 h 831057"/>
                  <a:gd name="connsiteX27" fmla="*/ 435769 w 978694"/>
                  <a:gd name="connsiteY27" fmla="*/ 307182 h 831057"/>
                  <a:gd name="connsiteX28" fmla="*/ 457200 w 978694"/>
                  <a:gd name="connsiteY28" fmla="*/ 326232 h 831057"/>
                  <a:gd name="connsiteX29" fmla="*/ 435769 w 978694"/>
                  <a:gd name="connsiteY29" fmla="*/ 369094 h 831057"/>
                  <a:gd name="connsiteX30" fmla="*/ 466725 w 978694"/>
                  <a:gd name="connsiteY30" fmla="*/ 400050 h 831057"/>
                  <a:gd name="connsiteX31" fmla="*/ 461962 w 978694"/>
                  <a:gd name="connsiteY31" fmla="*/ 431007 h 831057"/>
                  <a:gd name="connsiteX32" fmla="*/ 426244 w 978694"/>
                  <a:gd name="connsiteY32" fmla="*/ 433388 h 831057"/>
                  <a:gd name="connsiteX33" fmla="*/ 373856 w 978694"/>
                  <a:gd name="connsiteY33" fmla="*/ 483394 h 831057"/>
                  <a:gd name="connsiteX34" fmla="*/ 330994 w 978694"/>
                  <a:gd name="connsiteY34" fmla="*/ 507207 h 831057"/>
                  <a:gd name="connsiteX35" fmla="*/ 309562 w 978694"/>
                  <a:gd name="connsiteY35" fmla="*/ 526257 h 831057"/>
                  <a:gd name="connsiteX36" fmla="*/ 283369 w 978694"/>
                  <a:gd name="connsiteY36" fmla="*/ 526257 h 831057"/>
                  <a:gd name="connsiteX37" fmla="*/ 235744 w 978694"/>
                  <a:gd name="connsiteY37" fmla="*/ 523875 h 831057"/>
                  <a:gd name="connsiteX38" fmla="*/ 178594 w 978694"/>
                  <a:gd name="connsiteY38" fmla="*/ 547688 h 831057"/>
                  <a:gd name="connsiteX39" fmla="*/ 123825 w 978694"/>
                  <a:gd name="connsiteY39" fmla="*/ 569119 h 831057"/>
                  <a:gd name="connsiteX40" fmla="*/ 123825 w 978694"/>
                  <a:gd name="connsiteY40" fmla="*/ 569119 h 831057"/>
                  <a:gd name="connsiteX41" fmla="*/ 109537 w 978694"/>
                  <a:gd name="connsiteY41" fmla="*/ 633413 h 831057"/>
                  <a:gd name="connsiteX42" fmla="*/ 109537 w 978694"/>
                  <a:gd name="connsiteY42" fmla="*/ 633413 h 831057"/>
                  <a:gd name="connsiteX43" fmla="*/ 140494 w 978694"/>
                  <a:gd name="connsiteY43" fmla="*/ 640557 h 831057"/>
                  <a:gd name="connsiteX44" fmla="*/ 147637 w 978694"/>
                  <a:gd name="connsiteY44" fmla="*/ 671513 h 831057"/>
                  <a:gd name="connsiteX45" fmla="*/ 138112 w 978694"/>
                  <a:gd name="connsiteY45" fmla="*/ 702469 h 831057"/>
                  <a:gd name="connsiteX46" fmla="*/ 0 w 978694"/>
                  <a:gd name="connsiteY46" fmla="*/ 831057 h 831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978694" h="831057">
                    <a:moveTo>
                      <a:pt x="0" y="831057"/>
                    </a:moveTo>
                    <a:lnTo>
                      <a:pt x="657225" y="647700"/>
                    </a:lnTo>
                    <a:lnTo>
                      <a:pt x="709612" y="673894"/>
                    </a:lnTo>
                    <a:lnTo>
                      <a:pt x="769144" y="733425"/>
                    </a:lnTo>
                    <a:lnTo>
                      <a:pt x="821531" y="733425"/>
                    </a:lnTo>
                    <a:lnTo>
                      <a:pt x="866775" y="747713"/>
                    </a:lnTo>
                    <a:lnTo>
                      <a:pt x="909637" y="745332"/>
                    </a:lnTo>
                    <a:lnTo>
                      <a:pt x="942975" y="757238"/>
                    </a:lnTo>
                    <a:lnTo>
                      <a:pt x="962025" y="747713"/>
                    </a:lnTo>
                    <a:lnTo>
                      <a:pt x="978694" y="690563"/>
                    </a:lnTo>
                    <a:lnTo>
                      <a:pt x="919162" y="581025"/>
                    </a:lnTo>
                    <a:lnTo>
                      <a:pt x="912019" y="507207"/>
                    </a:lnTo>
                    <a:lnTo>
                      <a:pt x="895350" y="471488"/>
                    </a:lnTo>
                    <a:lnTo>
                      <a:pt x="890587" y="383382"/>
                    </a:lnTo>
                    <a:lnTo>
                      <a:pt x="833437" y="204788"/>
                    </a:lnTo>
                    <a:lnTo>
                      <a:pt x="800100" y="176213"/>
                    </a:lnTo>
                    <a:lnTo>
                      <a:pt x="769144" y="85725"/>
                    </a:lnTo>
                    <a:lnTo>
                      <a:pt x="757237" y="50007"/>
                    </a:lnTo>
                    <a:lnTo>
                      <a:pt x="740569" y="0"/>
                    </a:lnTo>
                    <a:lnTo>
                      <a:pt x="528637" y="83344"/>
                    </a:lnTo>
                    <a:lnTo>
                      <a:pt x="485775" y="123825"/>
                    </a:lnTo>
                    <a:lnTo>
                      <a:pt x="471487" y="178594"/>
                    </a:lnTo>
                    <a:lnTo>
                      <a:pt x="471487" y="221457"/>
                    </a:lnTo>
                    <a:lnTo>
                      <a:pt x="461962" y="242888"/>
                    </a:lnTo>
                    <a:lnTo>
                      <a:pt x="421481" y="278607"/>
                    </a:lnTo>
                    <a:lnTo>
                      <a:pt x="411956" y="302419"/>
                    </a:lnTo>
                    <a:lnTo>
                      <a:pt x="411956" y="302419"/>
                    </a:lnTo>
                    <a:lnTo>
                      <a:pt x="435769" y="307182"/>
                    </a:lnTo>
                    <a:lnTo>
                      <a:pt x="457200" y="326232"/>
                    </a:lnTo>
                    <a:lnTo>
                      <a:pt x="435769" y="369094"/>
                    </a:lnTo>
                    <a:lnTo>
                      <a:pt x="466725" y="400050"/>
                    </a:lnTo>
                    <a:lnTo>
                      <a:pt x="461962" y="431007"/>
                    </a:lnTo>
                    <a:lnTo>
                      <a:pt x="426244" y="433388"/>
                    </a:lnTo>
                    <a:lnTo>
                      <a:pt x="373856" y="483394"/>
                    </a:lnTo>
                    <a:lnTo>
                      <a:pt x="330994" y="507207"/>
                    </a:lnTo>
                    <a:lnTo>
                      <a:pt x="309562" y="526257"/>
                    </a:lnTo>
                    <a:lnTo>
                      <a:pt x="283369" y="526257"/>
                    </a:lnTo>
                    <a:lnTo>
                      <a:pt x="235744" y="523875"/>
                    </a:lnTo>
                    <a:lnTo>
                      <a:pt x="178594" y="547688"/>
                    </a:lnTo>
                    <a:lnTo>
                      <a:pt x="123825" y="569119"/>
                    </a:lnTo>
                    <a:lnTo>
                      <a:pt x="123825" y="569119"/>
                    </a:lnTo>
                    <a:lnTo>
                      <a:pt x="109537" y="633413"/>
                    </a:lnTo>
                    <a:lnTo>
                      <a:pt x="109537" y="633413"/>
                    </a:lnTo>
                    <a:lnTo>
                      <a:pt x="140494" y="640557"/>
                    </a:lnTo>
                    <a:lnTo>
                      <a:pt x="147637" y="671513"/>
                    </a:lnTo>
                    <a:lnTo>
                      <a:pt x="138112" y="702469"/>
                    </a:lnTo>
                    <a:lnTo>
                      <a:pt x="0" y="831057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 dirty="0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92" name="Freeform 191"/>
              <p:cNvSpPr/>
              <p:nvPr/>
            </p:nvSpPr>
            <p:spPr>
              <a:xfrm rot="600260">
                <a:off x="7838030" y="1812307"/>
                <a:ext cx="254793" cy="192881"/>
              </a:xfrm>
              <a:custGeom>
                <a:avLst/>
                <a:gdLst>
                  <a:gd name="connsiteX0" fmla="*/ 0 w 245269"/>
                  <a:gd name="connsiteY0" fmla="*/ 192881 h 192881"/>
                  <a:gd name="connsiteX1" fmla="*/ 97632 w 245269"/>
                  <a:gd name="connsiteY1" fmla="*/ 130969 h 192881"/>
                  <a:gd name="connsiteX2" fmla="*/ 142875 w 245269"/>
                  <a:gd name="connsiteY2" fmla="*/ 92869 h 192881"/>
                  <a:gd name="connsiteX3" fmla="*/ 245269 w 245269"/>
                  <a:gd name="connsiteY3" fmla="*/ 0 h 192881"/>
                  <a:gd name="connsiteX4" fmla="*/ 226219 w 245269"/>
                  <a:gd name="connsiteY4" fmla="*/ 2381 h 192881"/>
                  <a:gd name="connsiteX5" fmla="*/ 197644 w 245269"/>
                  <a:gd name="connsiteY5" fmla="*/ 28575 h 192881"/>
                  <a:gd name="connsiteX6" fmla="*/ 166688 w 245269"/>
                  <a:gd name="connsiteY6" fmla="*/ 28575 h 192881"/>
                  <a:gd name="connsiteX7" fmla="*/ 150019 w 245269"/>
                  <a:gd name="connsiteY7" fmla="*/ 47625 h 192881"/>
                  <a:gd name="connsiteX8" fmla="*/ 126207 w 245269"/>
                  <a:gd name="connsiteY8" fmla="*/ 50006 h 192881"/>
                  <a:gd name="connsiteX9" fmla="*/ 83344 w 245269"/>
                  <a:gd name="connsiteY9" fmla="*/ 78581 h 192881"/>
                  <a:gd name="connsiteX10" fmla="*/ 54769 w 245269"/>
                  <a:gd name="connsiteY10" fmla="*/ 92869 h 192881"/>
                  <a:gd name="connsiteX11" fmla="*/ 30957 w 245269"/>
                  <a:gd name="connsiteY11" fmla="*/ 119062 h 192881"/>
                  <a:gd name="connsiteX12" fmla="*/ 0 w 245269"/>
                  <a:gd name="connsiteY12" fmla="*/ 192881 h 192881"/>
                  <a:gd name="connsiteX0" fmla="*/ 0 w 245269"/>
                  <a:gd name="connsiteY0" fmla="*/ 192881 h 192881"/>
                  <a:gd name="connsiteX1" fmla="*/ 97632 w 245269"/>
                  <a:gd name="connsiteY1" fmla="*/ 130969 h 192881"/>
                  <a:gd name="connsiteX2" fmla="*/ 142875 w 245269"/>
                  <a:gd name="connsiteY2" fmla="*/ 92869 h 192881"/>
                  <a:gd name="connsiteX3" fmla="*/ 245269 w 245269"/>
                  <a:gd name="connsiteY3" fmla="*/ 0 h 192881"/>
                  <a:gd name="connsiteX4" fmla="*/ 226219 w 245269"/>
                  <a:gd name="connsiteY4" fmla="*/ 2381 h 192881"/>
                  <a:gd name="connsiteX5" fmla="*/ 197644 w 245269"/>
                  <a:gd name="connsiteY5" fmla="*/ 28575 h 192881"/>
                  <a:gd name="connsiteX6" fmla="*/ 166688 w 245269"/>
                  <a:gd name="connsiteY6" fmla="*/ 28575 h 192881"/>
                  <a:gd name="connsiteX7" fmla="*/ 150019 w 245269"/>
                  <a:gd name="connsiteY7" fmla="*/ 47625 h 192881"/>
                  <a:gd name="connsiteX8" fmla="*/ 126207 w 245269"/>
                  <a:gd name="connsiteY8" fmla="*/ 50006 h 192881"/>
                  <a:gd name="connsiteX9" fmla="*/ 83344 w 245269"/>
                  <a:gd name="connsiteY9" fmla="*/ 78581 h 192881"/>
                  <a:gd name="connsiteX10" fmla="*/ 54769 w 245269"/>
                  <a:gd name="connsiteY10" fmla="*/ 92869 h 192881"/>
                  <a:gd name="connsiteX11" fmla="*/ 30957 w 245269"/>
                  <a:gd name="connsiteY11" fmla="*/ 119062 h 192881"/>
                  <a:gd name="connsiteX12" fmla="*/ 14288 w 245269"/>
                  <a:gd name="connsiteY12" fmla="*/ 152400 h 192881"/>
                  <a:gd name="connsiteX13" fmla="*/ 0 w 245269"/>
                  <a:gd name="connsiteY13" fmla="*/ 192881 h 192881"/>
                  <a:gd name="connsiteX0" fmla="*/ 9524 w 254793"/>
                  <a:gd name="connsiteY0" fmla="*/ 192881 h 192881"/>
                  <a:gd name="connsiteX1" fmla="*/ 107156 w 254793"/>
                  <a:gd name="connsiteY1" fmla="*/ 130969 h 192881"/>
                  <a:gd name="connsiteX2" fmla="*/ 152399 w 254793"/>
                  <a:gd name="connsiteY2" fmla="*/ 92869 h 192881"/>
                  <a:gd name="connsiteX3" fmla="*/ 254793 w 254793"/>
                  <a:gd name="connsiteY3" fmla="*/ 0 h 192881"/>
                  <a:gd name="connsiteX4" fmla="*/ 235743 w 254793"/>
                  <a:gd name="connsiteY4" fmla="*/ 2381 h 192881"/>
                  <a:gd name="connsiteX5" fmla="*/ 207168 w 254793"/>
                  <a:gd name="connsiteY5" fmla="*/ 28575 h 192881"/>
                  <a:gd name="connsiteX6" fmla="*/ 176212 w 254793"/>
                  <a:gd name="connsiteY6" fmla="*/ 28575 h 192881"/>
                  <a:gd name="connsiteX7" fmla="*/ 159543 w 254793"/>
                  <a:gd name="connsiteY7" fmla="*/ 47625 h 192881"/>
                  <a:gd name="connsiteX8" fmla="*/ 135731 w 254793"/>
                  <a:gd name="connsiteY8" fmla="*/ 50006 h 192881"/>
                  <a:gd name="connsiteX9" fmla="*/ 92868 w 254793"/>
                  <a:gd name="connsiteY9" fmla="*/ 78581 h 192881"/>
                  <a:gd name="connsiteX10" fmla="*/ 64293 w 254793"/>
                  <a:gd name="connsiteY10" fmla="*/ 92869 h 192881"/>
                  <a:gd name="connsiteX11" fmla="*/ 40481 w 254793"/>
                  <a:gd name="connsiteY11" fmla="*/ 119062 h 192881"/>
                  <a:gd name="connsiteX12" fmla="*/ 0 w 254793"/>
                  <a:gd name="connsiteY12" fmla="*/ 159544 h 192881"/>
                  <a:gd name="connsiteX13" fmla="*/ 9524 w 254793"/>
                  <a:gd name="connsiteY13" fmla="*/ 192881 h 192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4793" h="192881">
                    <a:moveTo>
                      <a:pt x="9524" y="192881"/>
                    </a:moveTo>
                    <a:lnTo>
                      <a:pt x="107156" y="130969"/>
                    </a:lnTo>
                    <a:lnTo>
                      <a:pt x="152399" y="92869"/>
                    </a:lnTo>
                    <a:lnTo>
                      <a:pt x="254793" y="0"/>
                    </a:lnTo>
                    <a:lnTo>
                      <a:pt x="235743" y="2381"/>
                    </a:lnTo>
                    <a:lnTo>
                      <a:pt x="207168" y="28575"/>
                    </a:lnTo>
                    <a:lnTo>
                      <a:pt x="176212" y="28575"/>
                    </a:lnTo>
                    <a:lnTo>
                      <a:pt x="159543" y="47625"/>
                    </a:lnTo>
                    <a:lnTo>
                      <a:pt x="135731" y="50006"/>
                    </a:lnTo>
                    <a:lnTo>
                      <a:pt x="92868" y="78581"/>
                    </a:lnTo>
                    <a:lnTo>
                      <a:pt x="64293" y="92869"/>
                    </a:lnTo>
                    <a:lnTo>
                      <a:pt x="40481" y="119062"/>
                    </a:lnTo>
                    <a:lnTo>
                      <a:pt x="0" y="159544"/>
                    </a:lnTo>
                    <a:lnTo>
                      <a:pt x="9524" y="192881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 dirty="0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</p:grpSp>
        <p:grpSp>
          <p:nvGrpSpPr>
            <p:cNvPr id="137" name="Group 136"/>
            <p:cNvGrpSpPr/>
            <p:nvPr/>
          </p:nvGrpSpPr>
          <p:grpSpPr>
            <a:xfrm>
              <a:off x="4356524" y="2948231"/>
              <a:ext cx="714672" cy="451114"/>
              <a:chOff x="6634163" y="2452688"/>
              <a:chExt cx="1134521" cy="764381"/>
            </a:xfrm>
            <a:solidFill>
              <a:schemeClr val="accent1"/>
            </a:solidFill>
          </p:grpSpPr>
          <p:sp>
            <p:nvSpPr>
              <p:cNvPr id="189" name="Freeform 188"/>
              <p:cNvSpPr/>
              <p:nvPr/>
            </p:nvSpPr>
            <p:spPr>
              <a:xfrm>
                <a:off x="6634163" y="2452688"/>
                <a:ext cx="1131093" cy="764381"/>
              </a:xfrm>
              <a:custGeom>
                <a:avLst/>
                <a:gdLst>
                  <a:gd name="connsiteX0" fmla="*/ 0 w 1131093"/>
                  <a:gd name="connsiteY0" fmla="*/ 764381 h 764381"/>
                  <a:gd name="connsiteX1" fmla="*/ 57150 w 1131093"/>
                  <a:gd name="connsiteY1" fmla="*/ 754856 h 764381"/>
                  <a:gd name="connsiteX2" fmla="*/ 1131093 w 1131093"/>
                  <a:gd name="connsiteY2" fmla="*/ 404812 h 764381"/>
                  <a:gd name="connsiteX3" fmla="*/ 1100137 w 1131093"/>
                  <a:gd name="connsiteY3" fmla="*/ 373856 h 764381"/>
                  <a:gd name="connsiteX4" fmla="*/ 1078706 w 1131093"/>
                  <a:gd name="connsiteY4" fmla="*/ 388143 h 764381"/>
                  <a:gd name="connsiteX5" fmla="*/ 1050131 w 1131093"/>
                  <a:gd name="connsiteY5" fmla="*/ 388143 h 764381"/>
                  <a:gd name="connsiteX6" fmla="*/ 1023937 w 1131093"/>
                  <a:gd name="connsiteY6" fmla="*/ 369093 h 764381"/>
                  <a:gd name="connsiteX7" fmla="*/ 985837 w 1131093"/>
                  <a:gd name="connsiteY7" fmla="*/ 371475 h 764381"/>
                  <a:gd name="connsiteX8" fmla="*/ 985837 w 1131093"/>
                  <a:gd name="connsiteY8" fmla="*/ 371475 h 764381"/>
                  <a:gd name="connsiteX9" fmla="*/ 1012031 w 1131093"/>
                  <a:gd name="connsiteY9" fmla="*/ 345281 h 764381"/>
                  <a:gd name="connsiteX10" fmla="*/ 1038225 w 1131093"/>
                  <a:gd name="connsiteY10" fmla="*/ 354806 h 764381"/>
                  <a:gd name="connsiteX11" fmla="*/ 1062037 w 1131093"/>
                  <a:gd name="connsiteY11" fmla="*/ 366712 h 764381"/>
                  <a:gd name="connsiteX12" fmla="*/ 1057275 w 1131093"/>
                  <a:gd name="connsiteY12" fmla="*/ 345281 h 764381"/>
                  <a:gd name="connsiteX13" fmla="*/ 1040606 w 1131093"/>
                  <a:gd name="connsiteY13" fmla="*/ 330993 h 764381"/>
                  <a:gd name="connsiteX14" fmla="*/ 1016793 w 1131093"/>
                  <a:gd name="connsiteY14" fmla="*/ 330993 h 764381"/>
                  <a:gd name="connsiteX15" fmla="*/ 997743 w 1131093"/>
                  <a:gd name="connsiteY15" fmla="*/ 300037 h 764381"/>
                  <a:gd name="connsiteX16" fmla="*/ 1026318 w 1131093"/>
                  <a:gd name="connsiteY16" fmla="*/ 300037 h 764381"/>
                  <a:gd name="connsiteX17" fmla="*/ 1028700 w 1131093"/>
                  <a:gd name="connsiteY17" fmla="*/ 280987 h 764381"/>
                  <a:gd name="connsiteX18" fmla="*/ 957262 w 1131093"/>
                  <a:gd name="connsiteY18" fmla="*/ 233362 h 764381"/>
                  <a:gd name="connsiteX19" fmla="*/ 976312 w 1131093"/>
                  <a:gd name="connsiteY19" fmla="*/ 216693 h 764381"/>
                  <a:gd name="connsiteX20" fmla="*/ 1016793 w 1131093"/>
                  <a:gd name="connsiteY20" fmla="*/ 238125 h 764381"/>
                  <a:gd name="connsiteX21" fmla="*/ 1019175 w 1131093"/>
                  <a:gd name="connsiteY21" fmla="*/ 207168 h 764381"/>
                  <a:gd name="connsiteX22" fmla="*/ 983456 w 1131093"/>
                  <a:gd name="connsiteY22" fmla="*/ 169068 h 764381"/>
                  <a:gd name="connsiteX23" fmla="*/ 926306 w 1131093"/>
                  <a:gd name="connsiteY23" fmla="*/ 171450 h 764381"/>
                  <a:gd name="connsiteX24" fmla="*/ 897731 w 1131093"/>
                  <a:gd name="connsiteY24" fmla="*/ 147637 h 764381"/>
                  <a:gd name="connsiteX25" fmla="*/ 873918 w 1131093"/>
                  <a:gd name="connsiteY25" fmla="*/ 150018 h 764381"/>
                  <a:gd name="connsiteX26" fmla="*/ 850106 w 1131093"/>
                  <a:gd name="connsiteY26" fmla="*/ 138112 h 764381"/>
                  <a:gd name="connsiteX27" fmla="*/ 859631 w 1131093"/>
                  <a:gd name="connsiteY27" fmla="*/ 73818 h 764381"/>
                  <a:gd name="connsiteX28" fmla="*/ 826293 w 1131093"/>
                  <a:gd name="connsiteY28" fmla="*/ 42862 h 764381"/>
                  <a:gd name="connsiteX29" fmla="*/ 754856 w 1131093"/>
                  <a:gd name="connsiteY29" fmla="*/ 0 h 764381"/>
                  <a:gd name="connsiteX30" fmla="*/ 728662 w 1131093"/>
                  <a:gd name="connsiteY30" fmla="*/ 14287 h 764381"/>
                  <a:gd name="connsiteX31" fmla="*/ 721518 w 1131093"/>
                  <a:gd name="connsiteY31" fmla="*/ 42862 h 764381"/>
                  <a:gd name="connsiteX32" fmla="*/ 714375 w 1131093"/>
                  <a:gd name="connsiteY32" fmla="*/ 50006 h 764381"/>
                  <a:gd name="connsiteX33" fmla="*/ 666750 w 1131093"/>
                  <a:gd name="connsiteY33" fmla="*/ 35718 h 764381"/>
                  <a:gd name="connsiteX34" fmla="*/ 645318 w 1131093"/>
                  <a:gd name="connsiteY34" fmla="*/ 42862 h 764381"/>
                  <a:gd name="connsiteX35" fmla="*/ 647700 w 1131093"/>
                  <a:gd name="connsiteY35" fmla="*/ 73818 h 764381"/>
                  <a:gd name="connsiteX36" fmla="*/ 566737 w 1131093"/>
                  <a:gd name="connsiteY36" fmla="*/ 180975 h 764381"/>
                  <a:gd name="connsiteX37" fmla="*/ 559593 w 1131093"/>
                  <a:gd name="connsiteY37" fmla="*/ 226218 h 764381"/>
                  <a:gd name="connsiteX38" fmla="*/ 500062 w 1131093"/>
                  <a:gd name="connsiteY38" fmla="*/ 261937 h 764381"/>
                  <a:gd name="connsiteX39" fmla="*/ 466725 w 1131093"/>
                  <a:gd name="connsiteY39" fmla="*/ 328612 h 764381"/>
                  <a:gd name="connsiteX40" fmla="*/ 450056 w 1131093"/>
                  <a:gd name="connsiteY40" fmla="*/ 364331 h 764381"/>
                  <a:gd name="connsiteX41" fmla="*/ 435768 w 1131093"/>
                  <a:gd name="connsiteY41" fmla="*/ 476250 h 764381"/>
                  <a:gd name="connsiteX42" fmla="*/ 433387 w 1131093"/>
                  <a:gd name="connsiteY42" fmla="*/ 490537 h 764381"/>
                  <a:gd name="connsiteX43" fmla="*/ 381000 w 1131093"/>
                  <a:gd name="connsiteY43" fmla="*/ 516731 h 764381"/>
                  <a:gd name="connsiteX44" fmla="*/ 326231 w 1131093"/>
                  <a:gd name="connsiteY44" fmla="*/ 540543 h 764381"/>
                  <a:gd name="connsiteX45" fmla="*/ 297656 w 1131093"/>
                  <a:gd name="connsiteY45" fmla="*/ 554831 h 764381"/>
                  <a:gd name="connsiteX46" fmla="*/ 285750 w 1131093"/>
                  <a:gd name="connsiteY46" fmla="*/ 597693 h 764381"/>
                  <a:gd name="connsiteX47" fmla="*/ 242887 w 1131093"/>
                  <a:gd name="connsiteY47" fmla="*/ 576262 h 764381"/>
                  <a:gd name="connsiteX48" fmla="*/ 226218 w 1131093"/>
                  <a:gd name="connsiteY48" fmla="*/ 573881 h 764381"/>
                  <a:gd name="connsiteX49" fmla="*/ 176212 w 1131093"/>
                  <a:gd name="connsiteY49" fmla="*/ 521493 h 764381"/>
                  <a:gd name="connsiteX50" fmla="*/ 159543 w 1131093"/>
                  <a:gd name="connsiteY50" fmla="*/ 531018 h 764381"/>
                  <a:gd name="connsiteX51" fmla="*/ 157162 w 1131093"/>
                  <a:gd name="connsiteY51" fmla="*/ 581025 h 764381"/>
                  <a:gd name="connsiteX52" fmla="*/ 100012 w 1131093"/>
                  <a:gd name="connsiteY52" fmla="*/ 626268 h 764381"/>
                  <a:gd name="connsiteX53" fmla="*/ 85725 w 1131093"/>
                  <a:gd name="connsiteY53" fmla="*/ 683418 h 764381"/>
                  <a:gd name="connsiteX54" fmla="*/ 0 w 1131093"/>
                  <a:gd name="connsiteY54" fmla="*/ 764381 h 76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131093" h="764381">
                    <a:moveTo>
                      <a:pt x="0" y="764381"/>
                    </a:moveTo>
                    <a:lnTo>
                      <a:pt x="57150" y="754856"/>
                    </a:lnTo>
                    <a:lnTo>
                      <a:pt x="1131093" y="404812"/>
                    </a:lnTo>
                    <a:lnTo>
                      <a:pt x="1100137" y="373856"/>
                    </a:lnTo>
                    <a:lnTo>
                      <a:pt x="1078706" y="388143"/>
                    </a:lnTo>
                    <a:lnTo>
                      <a:pt x="1050131" y="388143"/>
                    </a:lnTo>
                    <a:lnTo>
                      <a:pt x="1023937" y="369093"/>
                    </a:lnTo>
                    <a:lnTo>
                      <a:pt x="985837" y="371475"/>
                    </a:lnTo>
                    <a:lnTo>
                      <a:pt x="985837" y="371475"/>
                    </a:lnTo>
                    <a:lnTo>
                      <a:pt x="1012031" y="345281"/>
                    </a:lnTo>
                    <a:lnTo>
                      <a:pt x="1038225" y="354806"/>
                    </a:lnTo>
                    <a:lnTo>
                      <a:pt x="1062037" y="366712"/>
                    </a:lnTo>
                    <a:lnTo>
                      <a:pt x="1057275" y="345281"/>
                    </a:lnTo>
                    <a:lnTo>
                      <a:pt x="1040606" y="330993"/>
                    </a:lnTo>
                    <a:lnTo>
                      <a:pt x="1016793" y="330993"/>
                    </a:lnTo>
                    <a:lnTo>
                      <a:pt x="997743" y="300037"/>
                    </a:lnTo>
                    <a:lnTo>
                      <a:pt x="1026318" y="300037"/>
                    </a:lnTo>
                    <a:lnTo>
                      <a:pt x="1028700" y="280987"/>
                    </a:lnTo>
                    <a:lnTo>
                      <a:pt x="957262" y="233362"/>
                    </a:lnTo>
                    <a:lnTo>
                      <a:pt x="976312" y="216693"/>
                    </a:lnTo>
                    <a:lnTo>
                      <a:pt x="1016793" y="238125"/>
                    </a:lnTo>
                    <a:lnTo>
                      <a:pt x="1019175" y="207168"/>
                    </a:lnTo>
                    <a:lnTo>
                      <a:pt x="983456" y="169068"/>
                    </a:lnTo>
                    <a:lnTo>
                      <a:pt x="926306" y="171450"/>
                    </a:lnTo>
                    <a:lnTo>
                      <a:pt x="897731" y="147637"/>
                    </a:lnTo>
                    <a:lnTo>
                      <a:pt x="873918" y="150018"/>
                    </a:lnTo>
                    <a:lnTo>
                      <a:pt x="850106" y="138112"/>
                    </a:lnTo>
                    <a:lnTo>
                      <a:pt x="859631" y="73818"/>
                    </a:lnTo>
                    <a:lnTo>
                      <a:pt x="826293" y="42862"/>
                    </a:lnTo>
                    <a:lnTo>
                      <a:pt x="754856" y="0"/>
                    </a:lnTo>
                    <a:lnTo>
                      <a:pt x="728662" y="14287"/>
                    </a:lnTo>
                    <a:lnTo>
                      <a:pt x="721518" y="42862"/>
                    </a:lnTo>
                    <a:lnTo>
                      <a:pt x="714375" y="50006"/>
                    </a:lnTo>
                    <a:lnTo>
                      <a:pt x="666750" y="35718"/>
                    </a:lnTo>
                    <a:lnTo>
                      <a:pt x="645318" y="42862"/>
                    </a:lnTo>
                    <a:lnTo>
                      <a:pt x="647700" y="73818"/>
                    </a:lnTo>
                    <a:lnTo>
                      <a:pt x="566737" y="180975"/>
                    </a:lnTo>
                    <a:lnTo>
                      <a:pt x="559593" y="226218"/>
                    </a:lnTo>
                    <a:lnTo>
                      <a:pt x="500062" y="261937"/>
                    </a:lnTo>
                    <a:lnTo>
                      <a:pt x="466725" y="328612"/>
                    </a:lnTo>
                    <a:lnTo>
                      <a:pt x="450056" y="364331"/>
                    </a:lnTo>
                    <a:lnTo>
                      <a:pt x="435768" y="476250"/>
                    </a:lnTo>
                    <a:lnTo>
                      <a:pt x="433387" y="490537"/>
                    </a:lnTo>
                    <a:lnTo>
                      <a:pt x="381000" y="516731"/>
                    </a:lnTo>
                    <a:lnTo>
                      <a:pt x="326231" y="540543"/>
                    </a:lnTo>
                    <a:lnTo>
                      <a:pt x="297656" y="554831"/>
                    </a:lnTo>
                    <a:lnTo>
                      <a:pt x="285750" y="597693"/>
                    </a:lnTo>
                    <a:lnTo>
                      <a:pt x="242887" y="576262"/>
                    </a:lnTo>
                    <a:lnTo>
                      <a:pt x="226218" y="573881"/>
                    </a:lnTo>
                    <a:lnTo>
                      <a:pt x="176212" y="521493"/>
                    </a:lnTo>
                    <a:lnTo>
                      <a:pt x="159543" y="531018"/>
                    </a:lnTo>
                    <a:lnTo>
                      <a:pt x="157162" y="581025"/>
                    </a:lnTo>
                    <a:lnTo>
                      <a:pt x="100012" y="626268"/>
                    </a:lnTo>
                    <a:lnTo>
                      <a:pt x="85725" y="683418"/>
                    </a:lnTo>
                    <a:lnTo>
                      <a:pt x="0" y="764381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 dirty="0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90" name="Freeform 189"/>
              <p:cNvSpPr/>
              <p:nvPr/>
            </p:nvSpPr>
            <p:spPr>
              <a:xfrm>
                <a:off x="7718677" y="2562400"/>
                <a:ext cx="50007" cy="109537"/>
              </a:xfrm>
              <a:custGeom>
                <a:avLst/>
                <a:gdLst>
                  <a:gd name="connsiteX0" fmla="*/ 14288 w 40481"/>
                  <a:gd name="connsiteY0" fmla="*/ 0 h 109537"/>
                  <a:gd name="connsiteX1" fmla="*/ 4763 w 40481"/>
                  <a:gd name="connsiteY1" fmla="*/ 57150 h 109537"/>
                  <a:gd name="connsiteX2" fmla="*/ 0 w 40481"/>
                  <a:gd name="connsiteY2" fmla="*/ 95250 h 109537"/>
                  <a:gd name="connsiteX3" fmla="*/ 9525 w 40481"/>
                  <a:gd name="connsiteY3" fmla="*/ 109537 h 109537"/>
                  <a:gd name="connsiteX4" fmla="*/ 30956 w 40481"/>
                  <a:gd name="connsiteY4" fmla="*/ 90487 h 109537"/>
                  <a:gd name="connsiteX5" fmla="*/ 40481 w 40481"/>
                  <a:gd name="connsiteY5" fmla="*/ 52387 h 109537"/>
                  <a:gd name="connsiteX6" fmla="*/ 14288 w 40481"/>
                  <a:gd name="connsiteY6" fmla="*/ 0 h 109537"/>
                  <a:gd name="connsiteX0" fmla="*/ 14288 w 50006"/>
                  <a:gd name="connsiteY0" fmla="*/ 0 h 109537"/>
                  <a:gd name="connsiteX1" fmla="*/ 4763 w 50006"/>
                  <a:gd name="connsiteY1" fmla="*/ 57150 h 109537"/>
                  <a:gd name="connsiteX2" fmla="*/ 0 w 50006"/>
                  <a:gd name="connsiteY2" fmla="*/ 95250 h 109537"/>
                  <a:gd name="connsiteX3" fmla="*/ 9525 w 50006"/>
                  <a:gd name="connsiteY3" fmla="*/ 109537 h 109537"/>
                  <a:gd name="connsiteX4" fmla="*/ 30956 w 50006"/>
                  <a:gd name="connsiteY4" fmla="*/ 90487 h 109537"/>
                  <a:gd name="connsiteX5" fmla="*/ 50006 w 50006"/>
                  <a:gd name="connsiteY5" fmla="*/ 33337 h 109537"/>
                  <a:gd name="connsiteX6" fmla="*/ 14288 w 50006"/>
                  <a:gd name="connsiteY6" fmla="*/ 0 h 109537"/>
                  <a:gd name="connsiteX0" fmla="*/ 14288 w 50006"/>
                  <a:gd name="connsiteY0" fmla="*/ 0 h 109537"/>
                  <a:gd name="connsiteX1" fmla="*/ 4763 w 50006"/>
                  <a:gd name="connsiteY1" fmla="*/ 57150 h 109537"/>
                  <a:gd name="connsiteX2" fmla="*/ 0 w 50006"/>
                  <a:gd name="connsiteY2" fmla="*/ 95250 h 109537"/>
                  <a:gd name="connsiteX3" fmla="*/ 9525 w 50006"/>
                  <a:gd name="connsiteY3" fmla="*/ 109537 h 109537"/>
                  <a:gd name="connsiteX4" fmla="*/ 30956 w 50006"/>
                  <a:gd name="connsiteY4" fmla="*/ 90487 h 109537"/>
                  <a:gd name="connsiteX5" fmla="*/ 50006 w 50006"/>
                  <a:gd name="connsiteY5" fmla="*/ 33337 h 109537"/>
                  <a:gd name="connsiteX6" fmla="*/ 26193 w 50006"/>
                  <a:gd name="connsiteY6" fmla="*/ 11906 h 109537"/>
                  <a:gd name="connsiteX7" fmla="*/ 14288 w 50006"/>
                  <a:gd name="connsiteY7" fmla="*/ 0 h 109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006" h="109537">
                    <a:moveTo>
                      <a:pt x="14288" y="0"/>
                    </a:moveTo>
                    <a:lnTo>
                      <a:pt x="4763" y="57150"/>
                    </a:lnTo>
                    <a:lnTo>
                      <a:pt x="0" y="95250"/>
                    </a:lnTo>
                    <a:lnTo>
                      <a:pt x="9525" y="109537"/>
                    </a:lnTo>
                    <a:lnTo>
                      <a:pt x="30956" y="90487"/>
                    </a:lnTo>
                    <a:lnTo>
                      <a:pt x="50006" y="33337"/>
                    </a:lnTo>
                    <a:lnTo>
                      <a:pt x="26193" y="11906"/>
                    </a:lnTo>
                    <a:lnTo>
                      <a:pt x="1428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 dirty="0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</p:grpSp>
        <p:sp>
          <p:nvSpPr>
            <p:cNvPr id="138" name="Freeform 137"/>
            <p:cNvSpPr/>
            <p:nvPr/>
          </p:nvSpPr>
          <p:spPr>
            <a:xfrm>
              <a:off x="4114287" y="2741984"/>
              <a:ext cx="412007" cy="433781"/>
            </a:xfrm>
            <a:custGeom>
              <a:avLst/>
              <a:gdLst>
                <a:gd name="connsiteX0" fmla="*/ 0 w 652463"/>
                <a:gd name="connsiteY0" fmla="*/ 202406 h 735806"/>
                <a:gd name="connsiteX1" fmla="*/ 114300 w 652463"/>
                <a:gd name="connsiteY1" fmla="*/ 683419 h 735806"/>
                <a:gd name="connsiteX2" fmla="*/ 176213 w 652463"/>
                <a:gd name="connsiteY2" fmla="*/ 711994 h 735806"/>
                <a:gd name="connsiteX3" fmla="*/ 228600 w 652463"/>
                <a:gd name="connsiteY3" fmla="*/ 711994 h 735806"/>
                <a:gd name="connsiteX4" fmla="*/ 340519 w 652463"/>
                <a:gd name="connsiteY4" fmla="*/ 700087 h 735806"/>
                <a:gd name="connsiteX5" fmla="*/ 383382 w 652463"/>
                <a:gd name="connsiteY5" fmla="*/ 681037 h 735806"/>
                <a:gd name="connsiteX6" fmla="*/ 397669 w 652463"/>
                <a:gd name="connsiteY6" fmla="*/ 702469 h 735806"/>
                <a:gd name="connsiteX7" fmla="*/ 419100 w 652463"/>
                <a:gd name="connsiteY7" fmla="*/ 704850 h 735806"/>
                <a:gd name="connsiteX8" fmla="*/ 435769 w 652463"/>
                <a:gd name="connsiteY8" fmla="*/ 731044 h 735806"/>
                <a:gd name="connsiteX9" fmla="*/ 454819 w 652463"/>
                <a:gd name="connsiteY9" fmla="*/ 735806 h 735806"/>
                <a:gd name="connsiteX10" fmla="*/ 509588 w 652463"/>
                <a:gd name="connsiteY10" fmla="*/ 669131 h 735806"/>
                <a:gd name="connsiteX11" fmla="*/ 495300 w 652463"/>
                <a:gd name="connsiteY11" fmla="*/ 650081 h 735806"/>
                <a:gd name="connsiteX12" fmla="*/ 502444 w 652463"/>
                <a:gd name="connsiteY12" fmla="*/ 611981 h 735806"/>
                <a:gd name="connsiteX13" fmla="*/ 535782 w 652463"/>
                <a:gd name="connsiteY13" fmla="*/ 600075 h 735806"/>
                <a:gd name="connsiteX14" fmla="*/ 542925 w 652463"/>
                <a:gd name="connsiteY14" fmla="*/ 623887 h 735806"/>
                <a:gd name="connsiteX15" fmla="*/ 564357 w 652463"/>
                <a:gd name="connsiteY15" fmla="*/ 597694 h 735806"/>
                <a:gd name="connsiteX16" fmla="*/ 552450 w 652463"/>
                <a:gd name="connsiteY16" fmla="*/ 566737 h 735806"/>
                <a:gd name="connsiteX17" fmla="*/ 538163 w 652463"/>
                <a:gd name="connsiteY17" fmla="*/ 545306 h 735806"/>
                <a:gd name="connsiteX18" fmla="*/ 564357 w 652463"/>
                <a:gd name="connsiteY18" fmla="*/ 526256 h 735806"/>
                <a:gd name="connsiteX19" fmla="*/ 621507 w 652463"/>
                <a:gd name="connsiteY19" fmla="*/ 464344 h 735806"/>
                <a:gd name="connsiteX20" fmla="*/ 652463 w 652463"/>
                <a:gd name="connsiteY20" fmla="*/ 404812 h 735806"/>
                <a:gd name="connsiteX21" fmla="*/ 650082 w 652463"/>
                <a:gd name="connsiteY21" fmla="*/ 228600 h 735806"/>
                <a:gd name="connsiteX22" fmla="*/ 581025 w 652463"/>
                <a:gd name="connsiteY22" fmla="*/ 0 h 735806"/>
                <a:gd name="connsiteX23" fmla="*/ 385763 w 652463"/>
                <a:gd name="connsiteY23" fmla="*/ 159544 h 735806"/>
                <a:gd name="connsiteX24" fmla="*/ 330994 w 652463"/>
                <a:gd name="connsiteY24" fmla="*/ 178594 h 735806"/>
                <a:gd name="connsiteX25" fmla="*/ 304800 w 652463"/>
                <a:gd name="connsiteY25" fmla="*/ 197644 h 735806"/>
                <a:gd name="connsiteX26" fmla="*/ 278607 w 652463"/>
                <a:gd name="connsiteY26" fmla="*/ 169069 h 735806"/>
                <a:gd name="connsiteX27" fmla="*/ 245269 w 652463"/>
                <a:gd name="connsiteY27" fmla="*/ 176212 h 735806"/>
                <a:gd name="connsiteX28" fmla="*/ 192882 w 652463"/>
                <a:gd name="connsiteY28" fmla="*/ 152400 h 735806"/>
                <a:gd name="connsiteX29" fmla="*/ 0 w 652463"/>
                <a:gd name="connsiteY29" fmla="*/ 202406 h 735806"/>
                <a:gd name="connsiteX0" fmla="*/ 0 w 652463"/>
                <a:gd name="connsiteY0" fmla="*/ 202406 h 735806"/>
                <a:gd name="connsiteX1" fmla="*/ 114300 w 652463"/>
                <a:gd name="connsiteY1" fmla="*/ 683419 h 735806"/>
                <a:gd name="connsiteX2" fmla="*/ 176213 w 652463"/>
                <a:gd name="connsiteY2" fmla="*/ 711994 h 735806"/>
                <a:gd name="connsiteX3" fmla="*/ 228600 w 652463"/>
                <a:gd name="connsiteY3" fmla="*/ 711994 h 735806"/>
                <a:gd name="connsiteX4" fmla="*/ 340519 w 652463"/>
                <a:gd name="connsiteY4" fmla="*/ 700087 h 735806"/>
                <a:gd name="connsiteX5" fmla="*/ 383382 w 652463"/>
                <a:gd name="connsiteY5" fmla="*/ 681037 h 735806"/>
                <a:gd name="connsiteX6" fmla="*/ 397669 w 652463"/>
                <a:gd name="connsiteY6" fmla="*/ 702469 h 735806"/>
                <a:gd name="connsiteX7" fmla="*/ 419100 w 652463"/>
                <a:gd name="connsiteY7" fmla="*/ 704850 h 735806"/>
                <a:gd name="connsiteX8" fmla="*/ 435769 w 652463"/>
                <a:gd name="connsiteY8" fmla="*/ 731044 h 735806"/>
                <a:gd name="connsiteX9" fmla="*/ 454819 w 652463"/>
                <a:gd name="connsiteY9" fmla="*/ 735806 h 735806"/>
                <a:gd name="connsiteX10" fmla="*/ 509588 w 652463"/>
                <a:gd name="connsiteY10" fmla="*/ 669131 h 735806"/>
                <a:gd name="connsiteX11" fmla="*/ 495300 w 652463"/>
                <a:gd name="connsiteY11" fmla="*/ 650081 h 735806"/>
                <a:gd name="connsiteX12" fmla="*/ 502444 w 652463"/>
                <a:gd name="connsiteY12" fmla="*/ 611981 h 735806"/>
                <a:gd name="connsiteX13" fmla="*/ 535782 w 652463"/>
                <a:gd name="connsiteY13" fmla="*/ 600075 h 735806"/>
                <a:gd name="connsiteX14" fmla="*/ 542925 w 652463"/>
                <a:gd name="connsiteY14" fmla="*/ 623887 h 735806"/>
                <a:gd name="connsiteX15" fmla="*/ 564357 w 652463"/>
                <a:gd name="connsiteY15" fmla="*/ 597694 h 735806"/>
                <a:gd name="connsiteX16" fmla="*/ 552450 w 652463"/>
                <a:gd name="connsiteY16" fmla="*/ 566737 h 735806"/>
                <a:gd name="connsiteX17" fmla="*/ 538163 w 652463"/>
                <a:gd name="connsiteY17" fmla="*/ 545306 h 735806"/>
                <a:gd name="connsiteX18" fmla="*/ 564357 w 652463"/>
                <a:gd name="connsiteY18" fmla="*/ 526256 h 735806"/>
                <a:gd name="connsiteX19" fmla="*/ 628633 w 652463"/>
                <a:gd name="connsiteY19" fmla="*/ 492950 h 735806"/>
                <a:gd name="connsiteX20" fmla="*/ 652463 w 652463"/>
                <a:gd name="connsiteY20" fmla="*/ 404812 h 735806"/>
                <a:gd name="connsiteX21" fmla="*/ 650082 w 652463"/>
                <a:gd name="connsiteY21" fmla="*/ 228600 h 735806"/>
                <a:gd name="connsiteX22" fmla="*/ 581025 w 652463"/>
                <a:gd name="connsiteY22" fmla="*/ 0 h 735806"/>
                <a:gd name="connsiteX23" fmla="*/ 385763 w 652463"/>
                <a:gd name="connsiteY23" fmla="*/ 159544 h 735806"/>
                <a:gd name="connsiteX24" fmla="*/ 330994 w 652463"/>
                <a:gd name="connsiteY24" fmla="*/ 178594 h 735806"/>
                <a:gd name="connsiteX25" fmla="*/ 304800 w 652463"/>
                <a:gd name="connsiteY25" fmla="*/ 197644 h 735806"/>
                <a:gd name="connsiteX26" fmla="*/ 278607 w 652463"/>
                <a:gd name="connsiteY26" fmla="*/ 169069 h 735806"/>
                <a:gd name="connsiteX27" fmla="*/ 245269 w 652463"/>
                <a:gd name="connsiteY27" fmla="*/ 176212 h 735806"/>
                <a:gd name="connsiteX28" fmla="*/ 192882 w 652463"/>
                <a:gd name="connsiteY28" fmla="*/ 152400 h 735806"/>
                <a:gd name="connsiteX29" fmla="*/ 0 w 652463"/>
                <a:gd name="connsiteY29" fmla="*/ 202406 h 735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652463" h="735806">
                  <a:moveTo>
                    <a:pt x="0" y="202406"/>
                  </a:moveTo>
                  <a:lnTo>
                    <a:pt x="114300" y="683419"/>
                  </a:lnTo>
                  <a:lnTo>
                    <a:pt x="176213" y="711994"/>
                  </a:lnTo>
                  <a:lnTo>
                    <a:pt x="228600" y="711994"/>
                  </a:lnTo>
                  <a:lnTo>
                    <a:pt x="340519" y="700087"/>
                  </a:lnTo>
                  <a:lnTo>
                    <a:pt x="383382" y="681037"/>
                  </a:lnTo>
                  <a:lnTo>
                    <a:pt x="397669" y="702469"/>
                  </a:lnTo>
                  <a:lnTo>
                    <a:pt x="419100" y="704850"/>
                  </a:lnTo>
                  <a:lnTo>
                    <a:pt x="435769" y="731044"/>
                  </a:lnTo>
                  <a:lnTo>
                    <a:pt x="454819" y="735806"/>
                  </a:lnTo>
                  <a:lnTo>
                    <a:pt x="509588" y="669131"/>
                  </a:lnTo>
                  <a:lnTo>
                    <a:pt x="495300" y="650081"/>
                  </a:lnTo>
                  <a:lnTo>
                    <a:pt x="502444" y="611981"/>
                  </a:lnTo>
                  <a:lnTo>
                    <a:pt x="535782" y="600075"/>
                  </a:lnTo>
                  <a:lnTo>
                    <a:pt x="542925" y="623887"/>
                  </a:lnTo>
                  <a:lnTo>
                    <a:pt x="564357" y="597694"/>
                  </a:lnTo>
                  <a:lnTo>
                    <a:pt x="552450" y="566737"/>
                  </a:lnTo>
                  <a:lnTo>
                    <a:pt x="538163" y="545306"/>
                  </a:lnTo>
                  <a:lnTo>
                    <a:pt x="564357" y="526256"/>
                  </a:lnTo>
                  <a:lnTo>
                    <a:pt x="628633" y="492950"/>
                  </a:lnTo>
                  <a:cubicBezTo>
                    <a:pt x="638952" y="473106"/>
                    <a:pt x="642144" y="424656"/>
                    <a:pt x="652463" y="404812"/>
                  </a:cubicBezTo>
                  <a:cubicBezTo>
                    <a:pt x="651669" y="346075"/>
                    <a:pt x="650876" y="287337"/>
                    <a:pt x="650082" y="228600"/>
                  </a:cubicBezTo>
                  <a:lnTo>
                    <a:pt x="581025" y="0"/>
                  </a:lnTo>
                  <a:lnTo>
                    <a:pt x="385763" y="159544"/>
                  </a:lnTo>
                  <a:lnTo>
                    <a:pt x="330994" y="178594"/>
                  </a:lnTo>
                  <a:lnTo>
                    <a:pt x="304800" y="197644"/>
                  </a:lnTo>
                  <a:lnTo>
                    <a:pt x="278607" y="169069"/>
                  </a:lnTo>
                  <a:lnTo>
                    <a:pt x="245269" y="176212"/>
                  </a:lnTo>
                  <a:lnTo>
                    <a:pt x="192882" y="152400"/>
                  </a:lnTo>
                  <a:lnTo>
                    <a:pt x="0" y="20240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buClr>
                  <a:srgbClr val="000000"/>
                </a:buClr>
                <a:buSzPct val="100000"/>
                <a:buFont typeface="Times New Roman" pitchFamily="16" charset="0"/>
                <a:buNone/>
                <a:defRPr/>
              </a:pPr>
              <a:endParaRPr lang="en-GB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39" name="Rectangle 138"/>
            <p:cNvSpPr>
              <a:spLocks/>
            </p:cNvSpPr>
            <p:nvPr/>
          </p:nvSpPr>
          <p:spPr>
            <a:xfrm>
              <a:off x="2712322" y="1486237"/>
              <a:ext cx="3501364" cy="2511494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3901675" y="1868433"/>
              <a:ext cx="6061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1"/>
                  </a:solidFill>
                </a:rPr>
                <a:t>New York</a:t>
              </a:r>
            </a:p>
          </p:txBody>
        </p:sp>
        <p:sp>
          <p:nvSpPr>
            <p:cNvPr id="144" name="TextBox 143"/>
            <p:cNvSpPr txBox="1"/>
            <p:nvPr/>
          </p:nvSpPr>
          <p:spPr>
            <a:xfrm>
              <a:off x="3949416" y="2423664"/>
              <a:ext cx="6578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1"/>
                  </a:solidFill>
                </a:rPr>
                <a:t>New Jersey</a:t>
              </a:r>
            </a:p>
          </p:txBody>
        </p:sp>
        <p:sp>
          <p:nvSpPr>
            <p:cNvPr id="145" name="TextBox 144"/>
            <p:cNvSpPr txBox="1"/>
            <p:nvPr/>
          </p:nvSpPr>
          <p:spPr>
            <a:xfrm>
              <a:off x="5408578" y="2872213"/>
              <a:ext cx="82498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1"/>
                  </a:solidFill>
                </a:rPr>
                <a:t>Delaware</a:t>
              </a: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3653384" y="2889153"/>
              <a:ext cx="70203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1"/>
                  </a:solidFill>
                </a:rPr>
                <a:t>Maryland</a:t>
              </a:r>
            </a:p>
          </p:txBody>
        </p:sp>
        <p:sp>
          <p:nvSpPr>
            <p:cNvPr id="147" name="TextBox 146"/>
            <p:cNvSpPr txBox="1"/>
            <p:nvPr/>
          </p:nvSpPr>
          <p:spPr>
            <a:xfrm>
              <a:off x="3716967" y="3174950"/>
              <a:ext cx="63215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1"/>
                  </a:solidFill>
                </a:rPr>
                <a:t>Virginia</a:t>
              </a:r>
            </a:p>
          </p:txBody>
        </p:sp>
        <p:cxnSp>
          <p:nvCxnSpPr>
            <p:cNvPr id="148" name="Straight Connector 147"/>
            <p:cNvCxnSpPr/>
            <p:nvPr/>
          </p:nvCxnSpPr>
          <p:spPr bwMode="auto">
            <a:xfrm>
              <a:off x="4407622" y="1896494"/>
              <a:ext cx="0" cy="316951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49" name="Elbow Connector 148"/>
            <p:cNvCxnSpPr>
              <a:endCxn id="191" idx="21"/>
            </p:cNvCxnSpPr>
            <p:nvPr/>
          </p:nvCxnSpPr>
          <p:spPr bwMode="auto">
            <a:xfrm>
              <a:off x="4417264" y="2070461"/>
              <a:ext cx="399770" cy="256610"/>
            </a:xfrm>
            <a:prstGeom prst="bentConnector3">
              <a:avLst>
                <a:gd name="adj1" fmla="val 48990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cxnSp>
          <p:nvCxnSpPr>
            <p:cNvPr id="150" name="Straight Connector 149"/>
            <p:cNvCxnSpPr/>
            <p:nvPr/>
          </p:nvCxnSpPr>
          <p:spPr bwMode="auto">
            <a:xfrm>
              <a:off x="4455718" y="2456343"/>
              <a:ext cx="0" cy="316951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1" name="Elbow Connector 150"/>
            <p:cNvCxnSpPr>
              <a:endCxn id="133" idx="6"/>
            </p:cNvCxnSpPr>
            <p:nvPr/>
          </p:nvCxnSpPr>
          <p:spPr bwMode="auto">
            <a:xfrm>
              <a:off x="4454582" y="2614695"/>
              <a:ext cx="587726" cy="148370"/>
            </a:xfrm>
            <a:prstGeom prst="bentConnector5">
              <a:avLst>
                <a:gd name="adj1" fmla="val 2187"/>
                <a:gd name="adj2" fmla="val -1382"/>
                <a:gd name="adj3" fmla="val 47624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cxnSp>
          <p:nvCxnSpPr>
            <p:cNvPr id="152" name="Straight Connector 151"/>
            <p:cNvCxnSpPr/>
            <p:nvPr/>
          </p:nvCxnSpPr>
          <p:spPr bwMode="auto">
            <a:xfrm>
              <a:off x="4267194" y="2918503"/>
              <a:ext cx="0" cy="216482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3" name="Elbow Connector 152"/>
            <p:cNvCxnSpPr>
              <a:endCxn id="133" idx="2"/>
            </p:cNvCxnSpPr>
            <p:nvPr/>
          </p:nvCxnSpPr>
          <p:spPr bwMode="auto">
            <a:xfrm flipV="1">
              <a:off x="4265288" y="2928895"/>
              <a:ext cx="510250" cy="103896"/>
            </a:xfrm>
            <a:prstGeom prst="bentConnector3">
              <a:avLst>
                <a:gd name="adj1" fmla="val 55835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cxnSp>
          <p:nvCxnSpPr>
            <p:cNvPr id="154" name="Straight Connector 153"/>
            <p:cNvCxnSpPr/>
            <p:nvPr/>
          </p:nvCxnSpPr>
          <p:spPr bwMode="auto">
            <a:xfrm>
              <a:off x="5431936" y="2900916"/>
              <a:ext cx="0" cy="216482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5" name="Elbow Connector 154"/>
            <p:cNvCxnSpPr>
              <a:endCxn id="129" idx="14"/>
            </p:cNvCxnSpPr>
            <p:nvPr/>
          </p:nvCxnSpPr>
          <p:spPr bwMode="auto">
            <a:xfrm rot="10800000">
              <a:off x="5083803" y="2917185"/>
              <a:ext cx="346226" cy="98020"/>
            </a:xfrm>
            <a:prstGeom prst="bentConnector3">
              <a:avLst>
                <a:gd name="adj1" fmla="val 50000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cxnSp>
          <p:nvCxnSpPr>
            <p:cNvPr id="156" name="Straight Connector 155"/>
            <p:cNvCxnSpPr/>
            <p:nvPr/>
          </p:nvCxnSpPr>
          <p:spPr bwMode="auto">
            <a:xfrm>
              <a:off x="4272921" y="3215021"/>
              <a:ext cx="0" cy="216482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7" name="Elbow Connector 156"/>
            <p:cNvCxnSpPr/>
            <p:nvPr/>
          </p:nvCxnSpPr>
          <p:spPr bwMode="auto">
            <a:xfrm flipV="1">
              <a:off x="4271015" y="3225413"/>
              <a:ext cx="510250" cy="103896"/>
            </a:xfrm>
            <a:prstGeom prst="bentConnector3">
              <a:avLst>
                <a:gd name="adj1" fmla="val 55835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cxnSp>
          <p:nvCxnSpPr>
            <p:cNvPr id="158" name="Straight Connector 157"/>
            <p:cNvCxnSpPr/>
            <p:nvPr/>
          </p:nvCxnSpPr>
          <p:spPr bwMode="auto">
            <a:xfrm>
              <a:off x="5551832" y="2546241"/>
              <a:ext cx="0" cy="202628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59" name="Elbow Connector 158"/>
            <p:cNvCxnSpPr>
              <a:stCxn id="142" idx="1"/>
              <a:endCxn id="126" idx="6"/>
            </p:cNvCxnSpPr>
            <p:nvPr/>
          </p:nvCxnSpPr>
          <p:spPr bwMode="auto">
            <a:xfrm rot="10800000">
              <a:off x="5323156" y="2522130"/>
              <a:ext cx="209157" cy="147581"/>
            </a:xfrm>
            <a:prstGeom prst="bentConnector3">
              <a:avLst>
                <a:gd name="adj1" fmla="val 50000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cxnSp>
          <p:nvCxnSpPr>
            <p:cNvPr id="160" name="Straight Connector 159"/>
            <p:cNvCxnSpPr/>
            <p:nvPr/>
          </p:nvCxnSpPr>
          <p:spPr bwMode="auto">
            <a:xfrm>
              <a:off x="5549926" y="2194418"/>
              <a:ext cx="0" cy="202628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1" name="Elbow Connector 160"/>
            <p:cNvCxnSpPr>
              <a:endCxn id="126" idx="8"/>
            </p:cNvCxnSpPr>
            <p:nvPr/>
          </p:nvCxnSpPr>
          <p:spPr bwMode="auto">
            <a:xfrm rot="10800000" flipV="1">
              <a:off x="5335749" y="2275634"/>
              <a:ext cx="229964" cy="221367"/>
            </a:xfrm>
            <a:prstGeom prst="bentConnector3">
              <a:avLst>
                <a:gd name="adj1" fmla="val 50000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sp>
          <p:nvSpPr>
            <p:cNvPr id="163" name="TextBox 162"/>
            <p:cNvSpPr txBox="1"/>
            <p:nvPr/>
          </p:nvSpPr>
          <p:spPr>
            <a:xfrm>
              <a:off x="5255673" y="3318900"/>
              <a:ext cx="8249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2"/>
                  </a:solidFill>
                </a:rPr>
                <a:t>North Carolina</a:t>
              </a:r>
            </a:p>
          </p:txBody>
        </p:sp>
        <p:cxnSp>
          <p:nvCxnSpPr>
            <p:cNvPr id="164" name="Straight Connector 163"/>
            <p:cNvCxnSpPr/>
            <p:nvPr/>
          </p:nvCxnSpPr>
          <p:spPr bwMode="auto">
            <a:xfrm>
              <a:off x="5279031" y="3347603"/>
              <a:ext cx="0" cy="216482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5" name="Elbow Connector 164"/>
            <p:cNvCxnSpPr/>
            <p:nvPr/>
          </p:nvCxnSpPr>
          <p:spPr bwMode="auto">
            <a:xfrm rot="10800000">
              <a:off x="4930898" y="3363872"/>
              <a:ext cx="346226" cy="98020"/>
            </a:xfrm>
            <a:prstGeom prst="bentConnector3">
              <a:avLst>
                <a:gd name="adj1" fmla="val 50000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sp>
          <p:nvSpPr>
            <p:cNvPr id="166" name="TextBox 165"/>
            <p:cNvSpPr txBox="1"/>
            <p:nvPr/>
          </p:nvSpPr>
          <p:spPr>
            <a:xfrm>
              <a:off x="5097006" y="3607163"/>
              <a:ext cx="8249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2"/>
                  </a:solidFill>
                </a:rPr>
                <a:t>South Carolina</a:t>
              </a:r>
            </a:p>
          </p:txBody>
        </p:sp>
        <p:cxnSp>
          <p:nvCxnSpPr>
            <p:cNvPr id="167" name="Straight Connector 166"/>
            <p:cNvCxnSpPr/>
            <p:nvPr/>
          </p:nvCxnSpPr>
          <p:spPr bwMode="auto">
            <a:xfrm>
              <a:off x="5120364" y="3635867"/>
              <a:ext cx="0" cy="216482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68" name="Elbow Connector 167"/>
            <p:cNvCxnSpPr/>
            <p:nvPr/>
          </p:nvCxnSpPr>
          <p:spPr bwMode="auto">
            <a:xfrm rot="10800000">
              <a:off x="4772231" y="3652135"/>
              <a:ext cx="346226" cy="98020"/>
            </a:xfrm>
            <a:prstGeom prst="bentConnector3">
              <a:avLst>
                <a:gd name="adj1" fmla="val 50000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sp>
          <p:nvSpPr>
            <p:cNvPr id="169" name="TextBox 168"/>
            <p:cNvSpPr txBox="1"/>
            <p:nvPr/>
          </p:nvSpPr>
          <p:spPr>
            <a:xfrm>
              <a:off x="757432" y="1876735"/>
              <a:ext cx="68085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1"/>
                  </a:solidFill>
                </a:rPr>
                <a:t>Oregon</a:t>
              </a:r>
            </a:p>
          </p:txBody>
        </p:sp>
        <p:cxnSp>
          <p:nvCxnSpPr>
            <p:cNvPr id="170" name="Straight Connector 169"/>
            <p:cNvCxnSpPr/>
            <p:nvPr/>
          </p:nvCxnSpPr>
          <p:spPr bwMode="auto">
            <a:xfrm flipH="1">
              <a:off x="866211" y="2121707"/>
              <a:ext cx="464981" cy="2482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71" name="Elbow Connector 170"/>
            <p:cNvCxnSpPr>
              <a:endCxn id="94" idx="35"/>
            </p:cNvCxnSpPr>
            <p:nvPr/>
          </p:nvCxnSpPr>
          <p:spPr bwMode="auto">
            <a:xfrm rot="5400000">
              <a:off x="926132" y="2198572"/>
              <a:ext cx="245673" cy="93759"/>
            </a:xfrm>
            <a:prstGeom prst="bentConnector4">
              <a:avLst>
                <a:gd name="adj1" fmla="val 21945"/>
                <a:gd name="adj2" fmla="val 1485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sp>
          <p:nvSpPr>
            <p:cNvPr id="172" name="TextBox 171"/>
            <p:cNvSpPr txBox="1"/>
            <p:nvPr/>
          </p:nvSpPr>
          <p:spPr>
            <a:xfrm>
              <a:off x="2804728" y="2847457"/>
              <a:ext cx="55822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2"/>
                  </a:solidFill>
                </a:rPr>
                <a:t>Illinois</a:t>
              </a:r>
            </a:p>
          </p:txBody>
        </p:sp>
        <p:cxnSp>
          <p:nvCxnSpPr>
            <p:cNvPr id="173" name="Straight Connector 172"/>
            <p:cNvCxnSpPr/>
            <p:nvPr/>
          </p:nvCxnSpPr>
          <p:spPr bwMode="auto">
            <a:xfrm>
              <a:off x="3356794" y="2791126"/>
              <a:ext cx="0" cy="316951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74" name="Elbow Connector 173"/>
            <p:cNvCxnSpPr/>
            <p:nvPr/>
          </p:nvCxnSpPr>
          <p:spPr bwMode="auto">
            <a:xfrm>
              <a:off x="3353145" y="2951144"/>
              <a:ext cx="319055" cy="270558"/>
            </a:xfrm>
            <a:prstGeom prst="bentConnector3">
              <a:avLst>
                <a:gd name="adj1" fmla="val 56299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  <p:grpSp>
          <p:nvGrpSpPr>
            <p:cNvPr id="175" name="Group 66"/>
            <p:cNvGrpSpPr>
              <a:grpSpLocks/>
            </p:cNvGrpSpPr>
            <p:nvPr/>
          </p:nvGrpSpPr>
          <p:grpSpPr bwMode="auto">
            <a:xfrm>
              <a:off x="592123" y="4523830"/>
              <a:ext cx="1009756" cy="583000"/>
              <a:chOff x="2217965" y="5874544"/>
              <a:chExt cx="1375341" cy="795337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181" name="Freeform 180"/>
              <p:cNvSpPr/>
              <p:nvPr/>
            </p:nvSpPr>
            <p:spPr>
              <a:xfrm>
                <a:off x="3283616" y="6302435"/>
                <a:ext cx="309690" cy="367446"/>
              </a:xfrm>
              <a:custGeom>
                <a:avLst/>
                <a:gdLst>
                  <a:gd name="connsiteX0" fmla="*/ 23812 w 309562"/>
                  <a:gd name="connsiteY0" fmla="*/ 0 h 366712"/>
                  <a:gd name="connsiteX1" fmla="*/ 50006 w 309562"/>
                  <a:gd name="connsiteY1" fmla="*/ 73819 h 366712"/>
                  <a:gd name="connsiteX2" fmla="*/ 14287 w 309562"/>
                  <a:gd name="connsiteY2" fmla="*/ 126206 h 366712"/>
                  <a:gd name="connsiteX3" fmla="*/ 0 w 309562"/>
                  <a:gd name="connsiteY3" fmla="*/ 152400 h 366712"/>
                  <a:gd name="connsiteX4" fmla="*/ 30956 w 309562"/>
                  <a:gd name="connsiteY4" fmla="*/ 195262 h 366712"/>
                  <a:gd name="connsiteX5" fmla="*/ 47625 w 309562"/>
                  <a:gd name="connsiteY5" fmla="*/ 233362 h 366712"/>
                  <a:gd name="connsiteX6" fmla="*/ 61912 w 309562"/>
                  <a:gd name="connsiteY6" fmla="*/ 273844 h 366712"/>
                  <a:gd name="connsiteX7" fmla="*/ 57150 w 309562"/>
                  <a:gd name="connsiteY7" fmla="*/ 333375 h 366712"/>
                  <a:gd name="connsiteX8" fmla="*/ 133350 w 309562"/>
                  <a:gd name="connsiteY8" fmla="*/ 366712 h 366712"/>
                  <a:gd name="connsiteX9" fmla="*/ 147637 w 309562"/>
                  <a:gd name="connsiteY9" fmla="*/ 326231 h 366712"/>
                  <a:gd name="connsiteX10" fmla="*/ 147637 w 309562"/>
                  <a:gd name="connsiteY10" fmla="*/ 309562 h 366712"/>
                  <a:gd name="connsiteX11" fmla="*/ 190500 w 309562"/>
                  <a:gd name="connsiteY11" fmla="*/ 276225 h 366712"/>
                  <a:gd name="connsiteX12" fmla="*/ 209550 w 309562"/>
                  <a:gd name="connsiteY12" fmla="*/ 252412 h 366712"/>
                  <a:gd name="connsiteX13" fmla="*/ 238125 w 309562"/>
                  <a:gd name="connsiteY13" fmla="*/ 261937 h 366712"/>
                  <a:gd name="connsiteX14" fmla="*/ 292894 w 309562"/>
                  <a:gd name="connsiteY14" fmla="*/ 204787 h 366712"/>
                  <a:gd name="connsiteX15" fmla="*/ 309562 w 309562"/>
                  <a:gd name="connsiteY15" fmla="*/ 188119 h 366712"/>
                  <a:gd name="connsiteX16" fmla="*/ 309562 w 309562"/>
                  <a:gd name="connsiteY16" fmla="*/ 173831 h 366712"/>
                  <a:gd name="connsiteX17" fmla="*/ 276225 w 309562"/>
                  <a:gd name="connsiteY17" fmla="*/ 147637 h 366712"/>
                  <a:gd name="connsiteX18" fmla="*/ 257175 w 309562"/>
                  <a:gd name="connsiteY18" fmla="*/ 121444 h 366712"/>
                  <a:gd name="connsiteX19" fmla="*/ 242887 w 309562"/>
                  <a:gd name="connsiteY19" fmla="*/ 123825 h 366712"/>
                  <a:gd name="connsiteX20" fmla="*/ 226219 w 309562"/>
                  <a:gd name="connsiteY20" fmla="*/ 73819 h 366712"/>
                  <a:gd name="connsiteX21" fmla="*/ 173831 w 309562"/>
                  <a:gd name="connsiteY21" fmla="*/ 47625 h 366712"/>
                  <a:gd name="connsiteX22" fmla="*/ 126206 w 309562"/>
                  <a:gd name="connsiteY22" fmla="*/ 35719 h 366712"/>
                  <a:gd name="connsiteX23" fmla="*/ 100012 w 309562"/>
                  <a:gd name="connsiteY23" fmla="*/ 30956 h 366712"/>
                  <a:gd name="connsiteX24" fmla="*/ 23812 w 309562"/>
                  <a:gd name="connsiteY24" fmla="*/ 0 h 36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09562" h="366712">
                    <a:moveTo>
                      <a:pt x="23812" y="0"/>
                    </a:moveTo>
                    <a:lnTo>
                      <a:pt x="50006" y="73819"/>
                    </a:lnTo>
                    <a:lnTo>
                      <a:pt x="14287" y="126206"/>
                    </a:lnTo>
                    <a:lnTo>
                      <a:pt x="0" y="152400"/>
                    </a:lnTo>
                    <a:lnTo>
                      <a:pt x="30956" y="195262"/>
                    </a:lnTo>
                    <a:lnTo>
                      <a:pt x="47625" y="233362"/>
                    </a:lnTo>
                    <a:lnTo>
                      <a:pt x="61912" y="273844"/>
                    </a:lnTo>
                    <a:lnTo>
                      <a:pt x="57150" y="333375"/>
                    </a:lnTo>
                    <a:lnTo>
                      <a:pt x="133350" y="366712"/>
                    </a:lnTo>
                    <a:lnTo>
                      <a:pt x="147637" y="326231"/>
                    </a:lnTo>
                    <a:lnTo>
                      <a:pt x="147637" y="309562"/>
                    </a:lnTo>
                    <a:lnTo>
                      <a:pt x="190500" y="276225"/>
                    </a:lnTo>
                    <a:lnTo>
                      <a:pt x="209550" y="252412"/>
                    </a:lnTo>
                    <a:lnTo>
                      <a:pt x="238125" y="261937"/>
                    </a:lnTo>
                    <a:lnTo>
                      <a:pt x="292894" y="204787"/>
                    </a:lnTo>
                    <a:lnTo>
                      <a:pt x="309562" y="188119"/>
                    </a:lnTo>
                    <a:lnTo>
                      <a:pt x="309562" y="173831"/>
                    </a:lnTo>
                    <a:lnTo>
                      <a:pt x="276225" y="147637"/>
                    </a:lnTo>
                    <a:lnTo>
                      <a:pt x="257175" y="121444"/>
                    </a:lnTo>
                    <a:lnTo>
                      <a:pt x="242887" y="123825"/>
                    </a:lnTo>
                    <a:lnTo>
                      <a:pt x="226219" y="73819"/>
                    </a:lnTo>
                    <a:lnTo>
                      <a:pt x="173831" y="47625"/>
                    </a:lnTo>
                    <a:lnTo>
                      <a:pt x="126206" y="35719"/>
                    </a:lnTo>
                    <a:lnTo>
                      <a:pt x="100012" y="30956"/>
                    </a:lnTo>
                    <a:lnTo>
                      <a:pt x="23812" y="0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82" name="Freeform 181"/>
              <p:cNvSpPr/>
              <p:nvPr/>
            </p:nvSpPr>
            <p:spPr>
              <a:xfrm>
                <a:off x="3097802" y="6127461"/>
                <a:ext cx="169932" cy="120891"/>
              </a:xfrm>
              <a:custGeom>
                <a:avLst/>
                <a:gdLst>
                  <a:gd name="connsiteX0" fmla="*/ 78582 w 169069"/>
                  <a:gd name="connsiteY0" fmla="*/ 121444 h 121444"/>
                  <a:gd name="connsiteX1" fmla="*/ 54769 w 169069"/>
                  <a:gd name="connsiteY1" fmla="*/ 61913 h 121444"/>
                  <a:gd name="connsiteX2" fmla="*/ 23813 w 169069"/>
                  <a:gd name="connsiteY2" fmla="*/ 61913 h 121444"/>
                  <a:gd name="connsiteX3" fmla="*/ 0 w 169069"/>
                  <a:gd name="connsiteY3" fmla="*/ 21432 h 121444"/>
                  <a:gd name="connsiteX4" fmla="*/ 16669 w 169069"/>
                  <a:gd name="connsiteY4" fmla="*/ 0 h 121444"/>
                  <a:gd name="connsiteX5" fmla="*/ 57150 w 169069"/>
                  <a:gd name="connsiteY5" fmla="*/ 23813 h 121444"/>
                  <a:gd name="connsiteX6" fmla="*/ 102394 w 169069"/>
                  <a:gd name="connsiteY6" fmla="*/ 14288 h 121444"/>
                  <a:gd name="connsiteX7" fmla="*/ 123825 w 169069"/>
                  <a:gd name="connsiteY7" fmla="*/ 28575 h 121444"/>
                  <a:gd name="connsiteX8" fmla="*/ 169069 w 169069"/>
                  <a:gd name="connsiteY8" fmla="*/ 47625 h 121444"/>
                  <a:gd name="connsiteX9" fmla="*/ 169069 w 169069"/>
                  <a:gd name="connsiteY9" fmla="*/ 71438 h 121444"/>
                  <a:gd name="connsiteX10" fmla="*/ 142875 w 169069"/>
                  <a:gd name="connsiteY10" fmla="*/ 95250 h 121444"/>
                  <a:gd name="connsiteX11" fmla="*/ 78582 w 169069"/>
                  <a:gd name="connsiteY11" fmla="*/ 121444 h 121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9069" h="121444">
                    <a:moveTo>
                      <a:pt x="78582" y="121444"/>
                    </a:moveTo>
                    <a:lnTo>
                      <a:pt x="54769" y="61913"/>
                    </a:lnTo>
                    <a:lnTo>
                      <a:pt x="23813" y="61913"/>
                    </a:lnTo>
                    <a:lnTo>
                      <a:pt x="0" y="21432"/>
                    </a:lnTo>
                    <a:lnTo>
                      <a:pt x="16669" y="0"/>
                    </a:lnTo>
                    <a:lnTo>
                      <a:pt x="57150" y="23813"/>
                    </a:lnTo>
                    <a:lnTo>
                      <a:pt x="102394" y="14288"/>
                    </a:lnTo>
                    <a:lnTo>
                      <a:pt x="123825" y="28575"/>
                    </a:lnTo>
                    <a:lnTo>
                      <a:pt x="169069" y="47625"/>
                    </a:lnTo>
                    <a:lnTo>
                      <a:pt x="169069" y="71438"/>
                    </a:lnTo>
                    <a:lnTo>
                      <a:pt x="142875" y="95250"/>
                    </a:lnTo>
                    <a:lnTo>
                      <a:pt x="78582" y="121444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83" name="Freeform 182"/>
              <p:cNvSpPr/>
              <p:nvPr/>
            </p:nvSpPr>
            <p:spPr>
              <a:xfrm>
                <a:off x="2705528" y="5981119"/>
                <a:ext cx="139758" cy="127254"/>
              </a:xfrm>
              <a:custGeom>
                <a:avLst/>
                <a:gdLst>
                  <a:gd name="connsiteX0" fmla="*/ 0 w 150019"/>
                  <a:gd name="connsiteY0" fmla="*/ 47625 h 119063"/>
                  <a:gd name="connsiteX1" fmla="*/ 52388 w 150019"/>
                  <a:gd name="connsiteY1" fmla="*/ 119063 h 119063"/>
                  <a:gd name="connsiteX2" fmla="*/ 92869 w 150019"/>
                  <a:gd name="connsiteY2" fmla="*/ 102394 h 119063"/>
                  <a:gd name="connsiteX3" fmla="*/ 138113 w 150019"/>
                  <a:gd name="connsiteY3" fmla="*/ 111919 h 119063"/>
                  <a:gd name="connsiteX4" fmla="*/ 147638 w 150019"/>
                  <a:gd name="connsiteY4" fmla="*/ 104775 h 119063"/>
                  <a:gd name="connsiteX5" fmla="*/ 150019 w 150019"/>
                  <a:gd name="connsiteY5" fmla="*/ 88106 h 119063"/>
                  <a:gd name="connsiteX6" fmla="*/ 116681 w 150019"/>
                  <a:gd name="connsiteY6" fmla="*/ 66675 h 119063"/>
                  <a:gd name="connsiteX7" fmla="*/ 100013 w 150019"/>
                  <a:gd name="connsiteY7" fmla="*/ 33338 h 119063"/>
                  <a:gd name="connsiteX8" fmla="*/ 66675 w 150019"/>
                  <a:gd name="connsiteY8" fmla="*/ 0 h 119063"/>
                  <a:gd name="connsiteX9" fmla="*/ 0 w 150019"/>
                  <a:gd name="connsiteY9" fmla="*/ 47625 h 119063"/>
                  <a:gd name="connsiteX0" fmla="*/ 0 w 150019"/>
                  <a:gd name="connsiteY0" fmla="*/ 47625 h 119063"/>
                  <a:gd name="connsiteX1" fmla="*/ 52388 w 150019"/>
                  <a:gd name="connsiteY1" fmla="*/ 119063 h 119063"/>
                  <a:gd name="connsiteX2" fmla="*/ 92869 w 150019"/>
                  <a:gd name="connsiteY2" fmla="*/ 102394 h 119063"/>
                  <a:gd name="connsiteX3" fmla="*/ 138113 w 150019"/>
                  <a:gd name="connsiteY3" fmla="*/ 111919 h 119063"/>
                  <a:gd name="connsiteX4" fmla="*/ 147638 w 150019"/>
                  <a:gd name="connsiteY4" fmla="*/ 104775 h 119063"/>
                  <a:gd name="connsiteX5" fmla="*/ 150019 w 150019"/>
                  <a:gd name="connsiteY5" fmla="*/ 88106 h 119063"/>
                  <a:gd name="connsiteX6" fmla="*/ 116681 w 150019"/>
                  <a:gd name="connsiteY6" fmla="*/ 66675 h 119063"/>
                  <a:gd name="connsiteX7" fmla="*/ 100013 w 150019"/>
                  <a:gd name="connsiteY7" fmla="*/ 33338 h 119063"/>
                  <a:gd name="connsiteX8" fmla="*/ 66675 w 150019"/>
                  <a:gd name="connsiteY8" fmla="*/ 0 h 119063"/>
                  <a:gd name="connsiteX9" fmla="*/ 30956 w 150019"/>
                  <a:gd name="connsiteY9" fmla="*/ 23813 h 119063"/>
                  <a:gd name="connsiteX10" fmla="*/ 0 w 150019"/>
                  <a:gd name="connsiteY10" fmla="*/ 47625 h 119063"/>
                  <a:gd name="connsiteX0" fmla="*/ 0 w 150019"/>
                  <a:gd name="connsiteY0" fmla="*/ 47625 h 119063"/>
                  <a:gd name="connsiteX1" fmla="*/ 52388 w 150019"/>
                  <a:gd name="connsiteY1" fmla="*/ 119063 h 119063"/>
                  <a:gd name="connsiteX2" fmla="*/ 92869 w 150019"/>
                  <a:gd name="connsiteY2" fmla="*/ 102394 h 119063"/>
                  <a:gd name="connsiteX3" fmla="*/ 138113 w 150019"/>
                  <a:gd name="connsiteY3" fmla="*/ 111919 h 119063"/>
                  <a:gd name="connsiteX4" fmla="*/ 147638 w 150019"/>
                  <a:gd name="connsiteY4" fmla="*/ 104775 h 119063"/>
                  <a:gd name="connsiteX5" fmla="*/ 150019 w 150019"/>
                  <a:gd name="connsiteY5" fmla="*/ 88106 h 119063"/>
                  <a:gd name="connsiteX6" fmla="*/ 116681 w 150019"/>
                  <a:gd name="connsiteY6" fmla="*/ 66675 h 119063"/>
                  <a:gd name="connsiteX7" fmla="*/ 100013 w 150019"/>
                  <a:gd name="connsiteY7" fmla="*/ 33338 h 119063"/>
                  <a:gd name="connsiteX8" fmla="*/ 66675 w 150019"/>
                  <a:gd name="connsiteY8" fmla="*/ 0 h 119063"/>
                  <a:gd name="connsiteX9" fmla="*/ 42862 w 150019"/>
                  <a:gd name="connsiteY9" fmla="*/ 54769 h 119063"/>
                  <a:gd name="connsiteX10" fmla="*/ 0 w 150019"/>
                  <a:gd name="connsiteY10" fmla="*/ 47625 h 119063"/>
                  <a:gd name="connsiteX0" fmla="*/ 0 w 142876"/>
                  <a:gd name="connsiteY0" fmla="*/ 54769 h 119063"/>
                  <a:gd name="connsiteX1" fmla="*/ 45245 w 142876"/>
                  <a:gd name="connsiteY1" fmla="*/ 119063 h 119063"/>
                  <a:gd name="connsiteX2" fmla="*/ 85726 w 142876"/>
                  <a:gd name="connsiteY2" fmla="*/ 102394 h 119063"/>
                  <a:gd name="connsiteX3" fmla="*/ 130970 w 142876"/>
                  <a:gd name="connsiteY3" fmla="*/ 111919 h 119063"/>
                  <a:gd name="connsiteX4" fmla="*/ 140495 w 142876"/>
                  <a:gd name="connsiteY4" fmla="*/ 104775 h 119063"/>
                  <a:gd name="connsiteX5" fmla="*/ 142876 w 142876"/>
                  <a:gd name="connsiteY5" fmla="*/ 88106 h 119063"/>
                  <a:gd name="connsiteX6" fmla="*/ 109538 w 142876"/>
                  <a:gd name="connsiteY6" fmla="*/ 66675 h 119063"/>
                  <a:gd name="connsiteX7" fmla="*/ 92870 w 142876"/>
                  <a:gd name="connsiteY7" fmla="*/ 33338 h 119063"/>
                  <a:gd name="connsiteX8" fmla="*/ 59532 w 142876"/>
                  <a:gd name="connsiteY8" fmla="*/ 0 h 119063"/>
                  <a:gd name="connsiteX9" fmla="*/ 35719 w 142876"/>
                  <a:gd name="connsiteY9" fmla="*/ 54769 h 119063"/>
                  <a:gd name="connsiteX10" fmla="*/ 0 w 142876"/>
                  <a:gd name="connsiteY10" fmla="*/ 54769 h 119063"/>
                  <a:gd name="connsiteX0" fmla="*/ 0 w 142876"/>
                  <a:gd name="connsiteY0" fmla="*/ 54769 h 119063"/>
                  <a:gd name="connsiteX1" fmla="*/ 45245 w 142876"/>
                  <a:gd name="connsiteY1" fmla="*/ 119063 h 119063"/>
                  <a:gd name="connsiteX2" fmla="*/ 85726 w 142876"/>
                  <a:gd name="connsiteY2" fmla="*/ 102394 h 119063"/>
                  <a:gd name="connsiteX3" fmla="*/ 130970 w 142876"/>
                  <a:gd name="connsiteY3" fmla="*/ 111919 h 119063"/>
                  <a:gd name="connsiteX4" fmla="*/ 140495 w 142876"/>
                  <a:gd name="connsiteY4" fmla="*/ 104775 h 119063"/>
                  <a:gd name="connsiteX5" fmla="*/ 142876 w 142876"/>
                  <a:gd name="connsiteY5" fmla="*/ 88106 h 119063"/>
                  <a:gd name="connsiteX6" fmla="*/ 109538 w 142876"/>
                  <a:gd name="connsiteY6" fmla="*/ 66675 h 119063"/>
                  <a:gd name="connsiteX7" fmla="*/ 92870 w 142876"/>
                  <a:gd name="connsiteY7" fmla="*/ 33338 h 119063"/>
                  <a:gd name="connsiteX8" fmla="*/ 59532 w 142876"/>
                  <a:gd name="connsiteY8" fmla="*/ 0 h 119063"/>
                  <a:gd name="connsiteX9" fmla="*/ 42863 w 142876"/>
                  <a:gd name="connsiteY9" fmla="*/ 47625 h 119063"/>
                  <a:gd name="connsiteX10" fmla="*/ 0 w 142876"/>
                  <a:gd name="connsiteY10" fmla="*/ 54769 h 119063"/>
                  <a:gd name="connsiteX0" fmla="*/ 0 w 140495"/>
                  <a:gd name="connsiteY0" fmla="*/ 40482 h 119063"/>
                  <a:gd name="connsiteX1" fmla="*/ 42864 w 140495"/>
                  <a:gd name="connsiteY1" fmla="*/ 119063 h 119063"/>
                  <a:gd name="connsiteX2" fmla="*/ 83345 w 140495"/>
                  <a:gd name="connsiteY2" fmla="*/ 102394 h 119063"/>
                  <a:gd name="connsiteX3" fmla="*/ 128589 w 140495"/>
                  <a:gd name="connsiteY3" fmla="*/ 111919 h 119063"/>
                  <a:gd name="connsiteX4" fmla="*/ 138114 w 140495"/>
                  <a:gd name="connsiteY4" fmla="*/ 104775 h 119063"/>
                  <a:gd name="connsiteX5" fmla="*/ 140495 w 140495"/>
                  <a:gd name="connsiteY5" fmla="*/ 88106 h 119063"/>
                  <a:gd name="connsiteX6" fmla="*/ 107157 w 140495"/>
                  <a:gd name="connsiteY6" fmla="*/ 66675 h 119063"/>
                  <a:gd name="connsiteX7" fmla="*/ 90489 w 140495"/>
                  <a:gd name="connsiteY7" fmla="*/ 33338 h 119063"/>
                  <a:gd name="connsiteX8" fmla="*/ 57151 w 140495"/>
                  <a:gd name="connsiteY8" fmla="*/ 0 h 119063"/>
                  <a:gd name="connsiteX9" fmla="*/ 40482 w 140495"/>
                  <a:gd name="connsiteY9" fmla="*/ 47625 h 119063"/>
                  <a:gd name="connsiteX10" fmla="*/ 0 w 140495"/>
                  <a:gd name="connsiteY10" fmla="*/ 40482 h 119063"/>
                  <a:gd name="connsiteX0" fmla="*/ 0 w 140495"/>
                  <a:gd name="connsiteY0" fmla="*/ 40482 h 126206"/>
                  <a:gd name="connsiteX1" fmla="*/ 42864 w 140495"/>
                  <a:gd name="connsiteY1" fmla="*/ 119063 h 126206"/>
                  <a:gd name="connsiteX2" fmla="*/ 83345 w 140495"/>
                  <a:gd name="connsiteY2" fmla="*/ 126206 h 126206"/>
                  <a:gd name="connsiteX3" fmla="*/ 128589 w 140495"/>
                  <a:gd name="connsiteY3" fmla="*/ 111919 h 126206"/>
                  <a:gd name="connsiteX4" fmla="*/ 138114 w 140495"/>
                  <a:gd name="connsiteY4" fmla="*/ 104775 h 126206"/>
                  <a:gd name="connsiteX5" fmla="*/ 140495 w 140495"/>
                  <a:gd name="connsiteY5" fmla="*/ 88106 h 126206"/>
                  <a:gd name="connsiteX6" fmla="*/ 107157 w 140495"/>
                  <a:gd name="connsiteY6" fmla="*/ 66675 h 126206"/>
                  <a:gd name="connsiteX7" fmla="*/ 90489 w 140495"/>
                  <a:gd name="connsiteY7" fmla="*/ 33338 h 126206"/>
                  <a:gd name="connsiteX8" fmla="*/ 57151 w 140495"/>
                  <a:gd name="connsiteY8" fmla="*/ 0 h 126206"/>
                  <a:gd name="connsiteX9" fmla="*/ 40482 w 140495"/>
                  <a:gd name="connsiteY9" fmla="*/ 47625 h 126206"/>
                  <a:gd name="connsiteX10" fmla="*/ 0 w 140495"/>
                  <a:gd name="connsiteY10" fmla="*/ 40482 h 126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0495" h="126206">
                    <a:moveTo>
                      <a:pt x="0" y="40482"/>
                    </a:moveTo>
                    <a:lnTo>
                      <a:pt x="42864" y="119063"/>
                    </a:lnTo>
                    <a:lnTo>
                      <a:pt x="83345" y="126206"/>
                    </a:lnTo>
                    <a:lnTo>
                      <a:pt x="128589" y="111919"/>
                    </a:lnTo>
                    <a:lnTo>
                      <a:pt x="138114" y="104775"/>
                    </a:lnTo>
                    <a:lnTo>
                      <a:pt x="140495" y="88106"/>
                    </a:lnTo>
                    <a:lnTo>
                      <a:pt x="107157" y="66675"/>
                    </a:lnTo>
                    <a:lnTo>
                      <a:pt x="90489" y="33338"/>
                    </a:lnTo>
                    <a:lnTo>
                      <a:pt x="57151" y="0"/>
                    </a:lnTo>
                    <a:lnTo>
                      <a:pt x="40482" y="47625"/>
                    </a:lnTo>
                    <a:lnTo>
                      <a:pt x="0" y="40482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84" name="Freeform 183"/>
              <p:cNvSpPr/>
              <p:nvPr/>
            </p:nvSpPr>
            <p:spPr>
              <a:xfrm>
                <a:off x="2325959" y="5874544"/>
                <a:ext cx="107994" cy="100212"/>
              </a:xfrm>
              <a:custGeom>
                <a:avLst/>
                <a:gdLst>
                  <a:gd name="connsiteX0" fmla="*/ 0 w 107157"/>
                  <a:gd name="connsiteY0" fmla="*/ 73819 h 100012"/>
                  <a:gd name="connsiteX1" fmla="*/ 64294 w 107157"/>
                  <a:gd name="connsiteY1" fmla="*/ 100012 h 100012"/>
                  <a:gd name="connsiteX2" fmla="*/ 102394 w 107157"/>
                  <a:gd name="connsiteY2" fmla="*/ 88106 h 100012"/>
                  <a:gd name="connsiteX3" fmla="*/ 107157 w 107157"/>
                  <a:gd name="connsiteY3" fmla="*/ 57150 h 100012"/>
                  <a:gd name="connsiteX4" fmla="*/ 107157 w 107157"/>
                  <a:gd name="connsiteY4" fmla="*/ 28575 h 100012"/>
                  <a:gd name="connsiteX5" fmla="*/ 92869 w 107157"/>
                  <a:gd name="connsiteY5" fmla="*/ 2381 h 100012"/>
                  <a:gd name="connsiteX6" fmla="*/ 78582 w 107157"/>
                  <a:gd name="connsiteY6" fmla="*/ 4762 h 100012"/>
                  <a:gd name="connsiteX7" fmla="*/ 57150 w 107157"/>
                  <a:gd name="connsiteY7" fmla="*/ 11906 h 100012"/>
                  <a:gd name="connsiteX8" fmla="*/ 52388 w 107157"/>
                  <a:gd name="connsiteY8" fmla="*/ 0 h 100012"/>
                  <a:gd name="connsiteX9" fmla="*/ 16669 w 107157"/>
                  <a:gd name="connsiteY9" fmla="*/ 23812 h 100012"/>
                  <a:gd name="connsiteX10" fmla="*/ 0 w 107157"/>
                  <a:gd name="connsiteY10" fmla="*/ 73819 h 100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7157" h="100012">
                    <a:moveTo>
                      <a:pt x="0" y="73819"/>
                    </a:moveTo>
                    <a:lnTo>
                      <a:pt x="64294" y="100012"/>
                    </a:lnTo>
                    <a:lnTo>
                      <a:pt x="102394" y="88106"/>
                    </a:lnTo>
                    <a:lnTo>
                      <a:pt x="107157" y="57150"/>
                    </a:lnTo>
                    <a:lnTo>
                      <a:pt x="107157" y="28575"/>
                    </a:lnTo>
                    <a:lnTo>
                      <a:pt x="92869" y="2381"/>
                    </a:lnTo>
                    <a:lnTo>
                      <a:pt x="78582" y="4762"/>
                    </a:lnTo>
                    <a:lnTo>
                      <a:pt x="57150" y="11906"/>
                    </a:lnTo>
                    <a:lnTo>
                      <a:pt x="52388" y="0"/>
                    </a:lnTo>
                    <a:lnTo>
                      <a:pt x="16669" y="23812"/>
                    </a:lnTo>
                    <a:lnTo>
                      <a:pt x="0" y="73819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85" name="Freeform 184"/>
              <p:cNvSpPr/>
              <p:nvPr/>
            </p:nvSpPr>
            <p:spPr>
              <a:xfrm>
                <a:off x="2217965" y="5955668"/>
                <a:ext cx="44468" cy="73171"/>
              </a:xfrm>
              <a:custGeom>
                <a:avLst/>
                <a:gdLst>
                  <a:gd name="connsiteX0" fmla="*/ 0 w 42863"/>
                  <a:gd name="connsiteY0" fmla="*/ 26194 h 26194"/>
                  <a:gd name="connsiteX1" fmla="*/ 42863 w 42863"/>
                  <a:gd name="connsiteY1" fmla="*/ 0 h 26194"/>
                  <a:gd name="connsiteX2" fmla="*/ 0 w 42863"/>
                  <a:gd name="connsiteY2" fmla="*/ 26194 h 26194"/>
                  <a:gd name="connsiteX0" fmla="*/ 603 w 43819"/>
                  <a:gd name="connsiteY0" fmla="*/ 26585 h 48016"/>
                  <a:gd name="connsiteX1" fmla="*/ 43466 w 43819"/>
                  <a:gd name="connsiteY1" fmla="*/ 391 h 48016"/>
                  <a:gd name="connsiteX2" fmla="*/ 19653 w 43819"/>
                  <a:gd name="connsiteY2" fmla="*/ 48016 h 48016"/>
                  <a:gd name="connsiteX3" fmla="*/ 603 w 43819"/>
                  <a:gd name="connsiteY3" fmla="*/ 26585 h 48016"/>
                  <a:gd name="connsiteX0" fmla="*/ 1361 w 44335"/>
                  <a:gd name="connsiteY0" fmla="*/ 27889 h 75514"/>
                  <a:gd name="connsiteX1" fmla="*/ 44224 w 44335"/>
                  <a:gd name="connsiteY1" fmla="*/ 1695 h 75514"/>
                  <a:gd name="connsiteX2" fmla="*/ 13267 w 44335"/>
                  <a:gd name="connsiteY2" fmla="*/ 75514 h 75514"/>
                  <a:gd name="connsiteX3" fmla="*/ 1361 w 44335"/>
                  <a:gd name="connsiteY3" fmla="*/ 27889 h 75514"/>
                  <a:gd name="connsiteX0" fmla="*/ 1361 w 45202"/>
                  <a:gd name="connsiteY0" fmla="*/ 27889 h 75682"/>
                  <a:gd name="connsiteX1" fmla="*/ 44224 w 45202"/>
                  <a:gd name="connsiteY1" fmla="*/ 1695 h 75682"/>
                  <a:gd name="connsiteX2" fmla="*/ 29936 w 45202"/>
                  <a:gd name="connsiteY2" fmla="*/ 42177 h 75682"/>
                  <a:gd name="connsiteX3" fmla="*/ 13267 w 45202"/>
                  <a:gd name="connsiteY3" fmla="*/ 75514 h 75682"/>
                  <a:gd name="connsiteX4" fmla="*/ 1361 w 45202"/>
                  <a:gd name="connsiteY4" fmla="*/ 27889 h 75682"/>
                  <a:gd name="connsiteX0" fmla="*/ 1361 w 44448"/>
                  <a:gd name="connsiteY0" fmla="*/ 26261 h 74017"/>
                  <a:gd name="connsiteX1" fmla="*/ 44224 w 44448"/>
                  <a:gd name="connsiteY1" fmla="*/ 67 h 74017"/>
                  <a:gd name="connsiteX2" fmla="*/ 18030 w 44448"/>
                  <a:gd name="connsiteY2" fmla="*/ 33405 h 74017"/>
                  <a:gd name="connsiteX3" fmla="*/ 13267 w 44448"/>
                  <a:gd name="connsiteY3" fmla="*/ 73886 h 74017"/>
                  <a:gd name="connsiteX4" fmla="*/ 1361 w 44448"/>
                  <a:gd name="connsiteY4" fmla="*/ 26261 h 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448" h="74017">
                    <a:moveTo>
                      <a:pt x="1361" y="26261"/>
                    </a:moveTo>
                    <a:cubicBezTo>
                      <a:pt x="6520" y="13958"/>
                      <a:pt x="41446" y="-1124"/>
                      <a:pt x="44224" y="67"/>
                    </a:cubicBezTo>
                    <a:cubicBezTo>
                      <a:pt x="47002" y="1258"/>
                      <a:pt x="23189" y="21102"/>
                      <a:pt x="18030" y="33405"/>
                    </a:cubicBezTo>
                    <a:cubicBezTo>
                      <a:pt x="12871" y="45708"/>
                      <a:pt x="18029" y="76267"/>
                      <a:pt x="13267" y="73886"/>
                    </a:cubicBezTo>
                    <a:cubicBezTo>
                      <a:pt x="6917" y="66742"/>
                      <a:pt x="-3798" y="38564"/>
                      <a:pt x="1361" y="26261"/>
                    </a:cubicBez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86" name="Freeform 185"/>
              <p:cNvSpPr/>
              <p:nvPr/>
            </p:nvSpPr>
            <p:spPr>
              <a:xfrm>
                <a:off x="2934222" y="6076559"/>
                <a:ext cx="149286" cy="50902"/>
              </a:xfrm>
              <a:custGeom>
                <a:avLst/>
                <a:gdLst>
                  <a:gd name="connsiteX0" fmla="*/ 0 w 133350"/>
                  <a:gd name="connsiteY0" fmla="*/ 9525 h 47625"/>
                  <a:gd name="connsiteX1" fmla="*/ 38100 w 133350"/>
                  <a:gd name="connsiteY1" fmla="*/ 47625 h 47625"/>
                  <a:gd name="connsiteX2" fmla="*/ 59531 w 133350"/>
                  <a:gd name="connsiteY2" fmla="*/ 40481 h 47625"/>
                  <a:gd name="connsiteX3" fmla="*/ 73819 w 133350"/>
                  <a:gd name="connsiteY3" fmla="*/ 47625 h 47625"/>
                  <a:gd name="connsiteX4" fmla="*/ 100012 w 133350"/>
                  <a:gd name="connsiteY4" fmla="*/ 45244 h 47625"/>
                  <a:gd name="connsiteX5" fmla="*/ 133350 w 133350"/>
                  <a:gd name="connsiteY5" fmla="*/ 26194 h 47625"/>
                  <a:gd name="connsiteX6" fmla="*/ 119062 w 133350"/>
                  <a:gd name="connsiteY6" fmla="*/ 14288 h 47625"/>
                  <a:gd name="connsiteX7" fmla="*/ 83344 w 133350"/>
                  <a:gd name="connsiteY7" fmla="*/ 21431 h 47625"/>
                  <a:gd name="connsiteX8" fmla="*/ 64294 w 133350"/>
                  <a:gd name="connsiteY8" fmla="*/ 0 h 47625"/>
                  <a:gd name="connsiteX9" fmla="*/ 57150 w 133350"/>
                  <a:gd name="connsiteY9" fmla="*/ 19050 h 47625"/>
                  <a:gd name="connsiteX10" fmla="*/ 0 w 133350"/>
                  <a:gd name="connsiteY10" fmla="*/ 9525 h 47625"/>
                  <a:gd name="connsiteX0" fmla="*/ 0 w 133350"/>
                  <a:gd name="connsiteY0" fmla="*/ 9525 h 47625"/>
                  <a:gd name="connsiteX1" fmla="*/ 21431 w 133350"/>
                  <a:gd name="connsiteY1" fmla="*/ 30956 h 47625"/>
                  <a:gd name="connsiteX2" fmla="*/ 38100 w 133350"/>
                  <a:gd name="connsiteY2" fmla="*/ 47625 h 47625"/>
                  <a:gd name="connsiteX3" fmla="*/ 59531 w 133350"/>
                  <a:gd name="connsiteY3" fmla="*/ 40481 h 47625"/>
                  <a:gd name="connsiteX4" fmla="*/ 73819 w 133350"/>
                  <a:gd name="connsiteY4" fmla="*/ 47625 h 47625"/>
                  <a:gd name="connsiteX5" fmla="*/ 100012 w 133350"/>
                  <a:gd name="connsiteY5" fmla="*/ 45244 h 47625"/>
                  <a:gd name="connsiteX6" fmla="*/ 133350 w 133350"/>
                  <a:gd name="connsiteY6" fmla="*/ 26194 h 47625"/>
                  <a:gd name="connsiteX7" fmla="*/ 119062 w 133350"/>
                  <a:gd name="connsiteY7" fmla="*/ 14288 h 47625"/>
                  <a:gd name="connsiteX8" fmla="*/ 83344 w 133350"/>
                  <a:gd name="connsiteY8" fmla="*/ 21431 h 47625"/>
                  <a:gd name="connsiteX9" fmla="*/ 64294 w 133350"/>
                  <a:gd name="connsiteY9" fmla="*/ 0 h 47625"/>
                  <a:gd name="connsiteX10" fmla="*/ 57150 w 133350"/>
                  <a:gd name="connsiteY10" fmla="*/ 19050 h 47625"/>
                  <a:gd name="connsiteX11" fmla="*/ 0 w 133350"/>
                  <a:gd name="connsiteY11" fmla="*/ 9525 h 47625"/>
                  <a:gd name="connsiteX0" fmla="*/ 16669 w 150019"/>
                  <a:gd name="connsiteY0" fmla="*/ 9525 h 50006"/>
                  <a:gd name="connsiteX1" fmla="*/ 0 w 150019"/>
                  <a:gd name="connsiteY1" fmla="*/ 50006 h 50006"/>
                  <a:gd name="connsiteX2" fmla="*/ 54769 w 150019"/>
                  <a:gd name="connsiteY2" fmla="*/ 47625 h 50006"/>
                  <a:gd name="connsiteX3" fmla="*/ 76200 w 150019"/>
                  <a:gd name="connsiteY3" fmla="*/ 40481 h 50006"/>
                  <a:gd name="connsiteX4" fmla="*/ 90488 w 150019"/>
                  <a:gd name="connsiteY4" fmla="*/ 47625 h 50006"/>
                  <a:gd name="connsiteX5" fmla="*/ 116681 w 150019"/>
                  <a:gd name="connsiteY5" fmla="*/ 45244 h 50006"/>
                  <a:gd name="connsiteX6" fmla="*/ 150019 w 150019"/>
                  <a:gd name="connsiteY6" fmla="*/ 26194 h 50006"/>
                  <a:gd name="connsiteX7" fmla="*/ 135731 w 150019"/>
                  <a:gd name="connsiteY7" fmla="*/ 14288 h 50006"/>
                  <a:gd name="connsiteX8" fmla="*/ 100013 w 150019"/>
                  <a:gd name="connsiteY8" fmla="*/ 21431 h 50006"/>
                  <a:gd name="connsiteX9" fmla="*/ 80963 w 150019"/>
                  <a:gd name="connsiteY9" fmla="*/ 0 h 50006"/>
                  <a:gd name="connsiteX10" fmla="*/ 73819 w 150019"/>
                  <a:gd name="connsiteY10" fmla="*/ 19050 h 50006"/>
                  <a:gd name="connsiteX11" fmla="*/ 16669 w 150019"/>
                  <a:gd name="connsiteY11" fmla="*/ 9525 h 5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019" h="50006">
                    <a:moveTo>
                      <a:pt x="16669" y="9525"/>
                    </a:moveTo>
                    <a:lnTo>
                      <a:pt x="0" y="50006"/>
                    </a:lnTo>
                    <a:lnTo>
                      <a:pt x="54769" y="47625"/>
                    </a:lnTo>
                    <a:lnTo>
                      <a:pt x="76200" y="40481"/>
                    </a:lnTo>
                    <a:lnTo>
                      <a:pt x="90488" y="47625"/>
                    </a:lnTo>
                    <a:lnTo>
                      <a:pt x="116681" y="45244"/>
                    </a:lnTo>
                    <a:lnTo>
                      <a:pt x="150019" y="26194"/>
                    </a:lnTo>
                    <a:lnTo>
                      <a:pt x="135731" y="14288"/>
                    </a:lnTo>
                    <a:lnTo>
                      <a:pt x="100013" y="21431"/>
                    </a:lnTo>
                    <a:lnTo>
                      <a:pt x="80963" y="0"/>
                    </a:lnTo>
                    <a:lnTo>
                      <a:pt x="73819" y="19050"/>
                    </a:lnTo>
                    <a:lnTo>
                      <a:pt x="16669" y="9525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87" name="Freeform 186"/>
              <p:cNvSpPr/>
              <p:nvPr/>
            </p:nvSpPr>
            <p:spPr>
              <a:xfrm>
                <a:off x="3007277" y="6160865"/>
                <a:ext cx="65115" cy="57264"/>
              </a:xfrm>
              <a:custGeom>
                <a:avLst/>
                <a:gdLst>
                  <a:gd name="connsiteX0" fmla="*/ 0 w 64294"/>
                  <a:gd name="connsiteY0" fmla="*/ 0 h 52388"/>
                  <a:gd name="connsiteX1" fmla="*/ 21431 w 64294"/>
                  <a:gd name="connsiteY1" fmla="*/ 52388 h 52388"/>
                  <a:gd name="connsiteX2" fmla="*/ 42862 w 64294"/>
                  <a:gd name="connsiteY2" fmla="*/ 50007 h 52388"/>
                  <a:gd name="connsiteX3" fmla="*/ 64294 w 64294"/>
                  <a:gd name="connsiteY3" fmla="*/ 28575 h 52388"/>
                  <a:gd name="connsiteX4" fmla="*/ 0 w 64294"/>
                  <a:gd name="connsiteY4" fmla="*/ 0 h 52388"/>
                  <a:gd name="connsiteX0" fmla="*/ 0 w 64294"/>
                  <a:gd name="connsiteY0" fmla="*/ 0 h 52388"/>
                  <a:gd name="connsiteX1" fmla="*/ 21431 w 64294"/>
                  <a:gd name="connsiteY1" fmla="*/ 52388 h 52388"/>
                  <a:gd name="connsiteX2" fmla="*/ 42862 w 64294"/>
                  <a:gd name="connsiteY2" fmla="*/ 50007 h 52388"/>
                  <a:gd name="connsiteX3" fmla="*/ 64294 w 64294"/>
                  <a:gd name="connsiteY3" fmla="*/ 28575 h 52388"/>
                  <a:gd name="connsiteX4" fmla="*/ 26194 w 64294"/>
                  <a:gd name="connsiteY4" fmla="*/ 9525 h 52388"/>
                  <a:gd name="connsiteX5" fmla="*/ 0 w 64294"/>
                  <a:gd name="connsiteY5" fmla="*/ 0 h 52388"/>
                  <a:gd name="connsiteX0" fmla="*/ 0 w 64294"/>
                  <a:gd name="connsiteY0" fmla="*/ 4762 h 57150"/>
                  <a:gd name="connsiteX1" fmla="*/ 21431 w 64294"/>
                  <a:gd name="connsiteY1" fmla="*/ 57150 h 57150"/>
                  <a:gd name="connsiteX2" fmla="*/ 42862 w 64294"/>
                  <a:gd name="connsiteY2" fmla="*/ 54769 h 57150"/>
                  <a:gd name="connsiteX3" fmla="*/ 64294 w 64294"/>
                  <a:gd name="connsiteY3" fmla="*/ 33337 h 57150"/>
                  <a:gd name="connsiteX4" fmla="*/ 28576 w 64294"/>
                  <a:gd name="connsiteY4" fmla="*/ 0 h 57150"/>
                  <a:gd name="connsiteX5" fmla="*/ 0 w 64294"/>
                  <a:gd name="connsiteY5" fmla="*/ 4762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294" h="57150">
                    <a:moveTo>
                      <a:pt x="0" y="4762"/>
                    </a:moveTo>
                    <a:lnTo>
                      <a:pt x="21431" y="57150"/>
                    </a:lnTo>
                    <a:lnTo>
                      <a:pt x="42862" y="54769"/>
                    </a:lnTo>
                    <a:lnTo>
                      <a:pt x="64294" y="33337"/>
                    </a:lnTo>
                    <a:lnTo>
                      <a:pt x="28576" y="0"/>
                    </a:lnTo>
                    <a:lnTo>
                      <a:pt x="0" y="4762"/>
                    </a:ln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  <p:sp>
            <p:nvSpPr>
              <p:cNvPr id="188" name="Freeform 187"/>
              <p:cNvSpPr/>
              <p:nvPr/>
            </p:nvSpPr>
            <p:spPr>
              <a:xfrm>
                <a:off x="3107331" y="6235626"/>
                <a:ext cx="38116" cy="31813"/>
              </a:xfrm>
              <a:custGeom>
                <a:avLst/>
                <a:gdLst>
                  <a:gd name="connsiteX0" fmla="*/ 0 w 9525"/>
                  <a:gd name="connsiteY0" fmla="*/ 0 h 23813"/>
                  <a:gd name="connsiteX1" fmla="*/ 9525 w 9525"/>
                  <a:gd name="connsiteY1" fmla="*/ 23813 h 23813"/>
                  <a:gd name="connsiteX2" fmla="*/ 0 w 9525"/>
                  <a:gd name="connsiteY2" fmla="*/ 0 h 23813"/>
                  <a:gd name="connsiteX0" fmla="*/ 414 w 10422"/>
                  <a:gd name="connsiteY0" fmla="*/ 0 h 11276"/>
                  <a:gd name="connsiteX1" fmla="*/ 10414 w 10422"/>
                  <a:gd name="connsiteY1" fmla="*/ 10000 h 11276"/>
                  <a:gd name="connsiteX2" fmla="*/ 2080 w 10422"/>
                  <a:gd name="connsiteY2" fmla="*/ 10000 h 11276"/>
                  <a:gd name="connsiteX3" fmla="*/ 414 w 10422"/>
                  <a:gd name="connsiteY3" fmla="*/ 0 h 11276"/>
                  <a:gd name="connsiteX0" fmla="*/ 4640 w 8508"/>
                  <a:gd name="connsiteY0" fmla="*/ 0 h 6867"/>
                  <a:gd name="connsiteX1" fmla="*/ 8390 w 8508"/>
                  <a:gd name="connsiteY1" fmla="*/ 5833 h 6867"/>
                  <a:gd name="connsiteX2" fmla="*/ 56 w 8508"/>
                  <a:gd name="connsiteY2" fmla="*/ 5833 h 6867"/>
                  <a:gd name="connsiteX3" fmla="*/ 4640 w 8508"/>
                  <a:gd name="connsiteY3" fmla="*/ 0 h 6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08" h="6867">
                    <a:moveTo>
                      <a:pt x="4640" y="0"/>
                    </a:moveTo>
                    <a:cubicBezTo>
                      <a:pt x="6029" y="0"/>
                      <a:pt x="9154" y="4861"/>
                      <a:pt x="8390" y="5833"/>
                    </a:cubicBezTo>
                    <a:cubicBezTo>
                      <a:pt x="7626" y="6805"/>
                      <a:pt x="2139" y="7569"/>
                      <a:pt x="56" y="5833"/>
                    </a:cubicBezTo>
                    <a:cubicBezTo>
                      <a:pt x="-499" y="2500"/>
                      <a:pt x="3251" y="0"/>
                      <a:pt x="4640" y="0"/>
                    </a:cubicBezTo>
                    <a:close/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defRPr/>
                </a:pPr>
                <a:endParaRPr lang="en-GB">
                  <a:solidFill>
                    <a:schemeClr val="bg1"/>
                  </a:solidFill>
                  <a:ea typeface="ＭＳ Ｐゴシック" charset="-128"/>
                </a:endParaRPr>
              </a:p>
            </p:txBody>
          </p:sp>
        </p:grpSp>
        <p:sp>
          <p:nvSpPr>
            <p:cNvPr id="176" name="Rectangle 175"/>
            <p:cNvSpPr>
              <a:spLocks/>
            </p:cNvSpPr>
            <p:nvPr/>
          </p:nvSpPr>
          <p:spPr>
            <a:xfrm>
              <a:off x="423178" y="4043283"/>
              <a:ext cx="1224106" cy="1130520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77" name="TextBox 176"/>
            <p:cNvSpPr txBox="1"/>
            <p:nvPr/>
          </p:nvSpPr>
          <p:spPr>
            <a:xfrm>
              <a:off x="567635" y="4116318"/>
              <a:ext cx="62859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2"/>
                  </a:solidFill>
                </a:rPr>
                <a:t>Hawaii</a:t>
              </a:r>
            </a:p>
          </p:txBody>
        </p:sp>
        <p:sp>
          <p:nvSpPr>
            <p:cNvPr id="178" name="TextBox 177"/>
            <p:cNvSpPr txBox="1"/>
            <p:nvPr/>
          </p:nvSpPr>
          <p:spPr>
            <a:xfrm>
              <a:off x="5322586" y="1508851"/>
              <a:ext cx="5416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900" b="1" dirty="0">
                  <a:solidFill>
                    <a:schemeClr val="accent2"/>
                  </a:solidFill>
                </a:rPr>
                <a:t>Maine</a:t>
              </a:r>
            </a:p>
          </p:txBody>
        </p:sp>
        <p:cxnSp>
          <p:nvCxnSpPr>
            <p:cNvPr id="179" name="Straight Connector 178"/>
            <p:cNvCxnSpPr/>
            <p:nvPr/>
          </p:nvCxnSpPr>
          <p:spPr bwMode="auto">
            <a:xfrm>
              <a:off x="5335750" y="1515460"/>
              <a:ext cx="0" cy="216482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80" name="Elbow Connector 179"/>
            <p:cNvCxnSpPr>
              <a:stCxn id="178" idx="1"/>
            </p:cNvCxnSpPr>
            <p:nvPr/>
          </p:nvCxnSpPr>
          <p:spPr bwMode="auto">
            <a:xfrm rot="10800000" flipH="1" flipV="1">
              <a:off x="5322586" y="1624266"/>
              <a:ext cx="84416" cy="334001"/>
            </a:xfrm>
            <a:prstGeom prst="bentConnector4">
              <a:avLst>
                <a:gd name="adj1" fmla="val -270802"/>
                <a:gd name="adj2" fmla="val 67278"/>
              </a:avLst>
            </a:prstGeom>
            <a:solidFill>
              <a:schemeClr val="accent2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</p:grpSp>
      <p:sp>
        <p:nvSpPr>
          <p:cNvPr id="5" name="Rectangle 4"/>
          <p:cNvSpPr/>
          <p:nvPr/>
        </p:nvSpPr>
        <p:spPr>
          <a:xfrm>
            <a:off x="3856189" y="5289847"/>
            <a:ext cx="181004" cy="1810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070600" y="5268708"/>
            <a:ext cx="21259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1000" dirty="0" smtClean="0"/>
              <a:t>State with Offshore Wind Activity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3856189" y="5549681"/>
            <a:ext cx="181004" cy="18100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4070600" y="5528542"/>
            <a:ext cx="21259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1000" dirty="0" smtClean="0"/>
              <a:t>State with Offshore Wind Plans</a:t>
            </a:r>
          </a:p>
        </p:txBody>
      </p:sp>
    </p:spTree>
    <p:extLst>
      <p:ext uri="{BB962C8B-B14F-4D97-AF65-F5344CB8AC3E}">
        <p14:creationId xmlns:p14="http://schemas.microsoft.com/office/powerpoint/2010/main" xmlns="" val="3952670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7676" name="think-cell Slide" r:id="rId29" imgW="360" imgH="360" progId="">
              <p:embed/>
            </p:oleObj>
          </a:graphicData>
        </a:graphic>
      </p:graphicFrame>
      <p:sp>
        <p:nvSpPr>
          <p:cNvPr id="51" name="Rectangle 5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endParaRPr lang="en-GB" sz="800" dirty="0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By 2025 offshore wind will be truly global…</a:t>
            </a:r>
            <a:r>
              <a:rPr lang="en-GB" sz="2400" dirty="0"/>
              <a:t/>
            </a:r>
            <a:br>
              <a:rPr lang="en-GB" sz="2400" dirty="0"/>
            </a:b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4294967295"/>
          </p:nvPr>
        </p:nvSpPr>
        <p:spPr>
          <a:xfrm>
            <a:off x="546450" y="1322056"/>
            <a:ext cx="8879489" cy="446496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b="1" dirty="0" smtClean="0"/>
              <a:t>Strong growth in established and new offshore wind markets</a:t>
            </a:r>
          </a:p>
          <a:p>
            <a:pPr marL="0" indent="0">
              <a:buNone/>
            </a:pPr>
            <a:r>
              <a:rPr lang="en-GB" dirty="0" smtClean="0"/>
              <a:t>Installed Capacity, GW</a:t>
            </a:r>
            <a:endParaRPr lang="en-GB" dirty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extLst/>
          </p:nvPr>
        </p:nvGraphicFramePr>
        <p:xfrm>
          <a:off x="342900" y="2057400"/>
          <a:ext cx="8867742" cy="3295650"/>
        </p:xfrm>
        <a:graphic>
          <a:graphicData uri="http://schemas.openxmlformats.org/presentationml/2006/ole">
            <p:oleObj spid="_x0000_s667677" name="Chart" r:id="rId30" imgW="8867944" imgH="3295682" progId="MSGraph.Chart.8">
              <p:embed followColorScheme="full"/>
            </p:oleObj>
          </a:graphicData>
        </a:graphic>
      </p:graphicFrame>
      <p:cxnSp>
        <p:nvCxnSpPr>
          <p:cNvPr id="10" name="Straight Connector 9"/>
          <p:cNvCxnSpPr/>
          <p:nvPr>
            <p:custDataLst>
              <p:tags r:id="rId3"/>
            </p:custDataLst>
          </p:nvPr>
        </p:nvCxnSpPr>
        <p:spPr bwMode="gray">
          <a:xfrm flipV="1">
            <a:off x="5895975" y="1812925"/>
            <a:ext cx="0" cy="171450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4"/>
            </p:custDataLst>
          </p:nvPr>
        </p:nvCxnSpPr>
        <p:spPr bwMode="gray">
          <a:xfrm>
            <a:off x="5819775" y="3375025"/>
            <a:ext cx="0" cy="15240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gray">
          <a:xfrm>
            <a:off x="8020050" y="1812925"/>
            <a:ext cx="0" cy="15240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6"/>
            </p:custDataLst>
          </p:nvPr>
        </p:nvCxnSpPr>
        <p:spPr bwMode="gray">
          <a:xfrm>
            <a:off x="5895975" y="1812925"/>
            <a:ext cx="2124075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7"/>
            </p:custDataLst>
          </p:nvPr>
        </p:nvCxnSpPr>
        <p:spPr bwMode="gray">
          <a:xfrm>
            <a:off x="3733800" y="3375025"/>
            <a:ext cx="2085975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8"/>
            </p:custDataLst>
          </p:nvPr>
        </p:nvCxnSpPr>
        <p:spPr bwMode="gray">
          <a:xfrm flipV="1">
            <a:off x="1533525" y="4405313"/>
            <a:ext cx="0" cy="598488"/>
          </a:xfrm>
          <a:prstGeom prst="line">
            <a:avLst/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9"/>
            </p:custDataLst>
          </p:nvPr>
        </p:nvCxnSpPr>
        <p:spPr bwMode="gray">
          <a:xfrm>
            <a:off x="3657600" y="4405313"/>
            <a:ext cx="0" cy="15240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10"/>
            </p:custDataLst>
          </p:nvPr>
        </p:nvCxnSpPr>
        <p:spPr bwMode="gray">
          <a:xfrm flipV="1">
            <a:off x="3733800" y="3375025"/>
            <a:ext cx="0" cy="1182688"/>
          </a:xfrm>
          <a:prstGeom prst="line">
            <a:avLst/>
          </a:prstGeom>
          <a:ln w="12700">
            <a:solidFill>
              <a:schemeClr val="accent2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1"/>
            </p:custDataLst>
          </p:nvPr>
        </p:nvCxnSpPr>
        <p:spPr bwMode="gray">
          <a:xfrm>
            <a:off x="1533525" y="4405313"/>
            <a:ext cx="2124075" cy="0"/>
          </a:xfrm>
          <a:prstGeom prst="line">
            <a:avLst/>
          </a:prstGeom>
          <a:ln w="127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5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874000" y="53562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F22BE77-7DEA-4F56-959A-A8BFAB91C209}" type="datetime'''''''''''''2''''''0''''''''''''''''''''25'''''''''''''''''''">
              <a:rPr lang="en-US"/>
              <a:pPr algn="ctr">
                <a:spcBef>
                  <a:spcPct val="0"/>
                </a:spcBef>
              </a:pPr>
              <a:t>2025</a:t>
            </a:fld>
            <a:endParaRPr lang="en-GB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880350" y="2003425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00CF2BB-836E-4BC0-8369-C5F03FF611DD}" type="datetime'8''''''''''''''''''2.''''''''''''''''''''''7'''''''''''''''">
              <a:rPr lang="en-US" b="1">
                <a:cs typeface="+mn-cs"/>
              </a:rPr>
              <a:pPr algn="ctr">
                <a:spcBef>
                  <a:spcPct val="0"/>
                </a:spcBef>
              </a:pPr>
              <a:t>82.7</a:t>
            </a:fld>
            <a:endParaRPr lang="en-GB" b="1" dirty="0">
              <a:cs typeface="+mn-cs"/>
              <a:sym typeface="+mn-lt"/>
            </a:endParaRPr>
          </a:p>
        </p:txBody>
      </p:sp>
      <p:sp>
        <p:nvSpPr>
          <p:cNvPr id="29" name="Text Placeholder 35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732588" y="1735138"/>
            <a:ext cx="452438" cy="155575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GB" sz="800" b="1" dirty="0" smtClean="0">
                <a:solidFill>
                  <a:schemeClr val="bg1"/>
                </a:solidFill>
                <a:cs typeface="+mn-cs"/>
                <a:sym typeface="+mn-lt"/>
              </a:rPr>
              <a:t>+8 GW</a:t>
            </a:r>
            <a:endParaRPr lang="en-GB" sz="800" b="1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27" name="Text Placeholder 34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551363" y="3297238"/>
            <a:ext cx="452438" cy="155575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800" b="1" dirty="0" smtClean="0">
                <a:solidFill>
                  <a:schemeClr val="bg1"/>
                </a:solidFill>
                <a:cs typeface="+mn-cs"/>
                <a:sym typeface="+mn-lt"/>
              </a:rPr>
              <a:t>+6 GW</a:t>
            </a:r>
            <a:endParaRPr lang="en-GB" sz="800" b="1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70138" y="4327525"/>
            <a:ext cx="452438" cy="155575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800" b="1" dirty="0" smtClean="0">
                <a:solidFill>
                  <a:schemeClr val="bg1"/>
                </a:solidFill>
                <a:cs typeface="+mn-cs"/>
                <a:sym typeface="+mn-lt"/>
              </a:rPr>
              <a:t>+1 GW</a:t>
            </a:r>
            <a:endParaRPr lang="en-GB" sz="800" b="1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33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718175" y="3565525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ECF596D-09C3-4E30-8B2A-BAD2993CBAFA}" type="datetime'4''''''''''''''''''''''0''''''''''''''''''''''.''''4'''''''">
              <a:rPr lang="en-US" b="1">
                <a:cs typeface="+mn-cs"/>
              </a:rPr>
              <a:pPr algn="ctr">
                <a:spcBef>
                  <a:spcPct val="0"/>
                </a:spcBef>
              </a:pPr>
              <a:t>40.4</a:t>
            </a:fld>
            <a:endParaRPr lang="en-GB" b="1" dirty="0">
              <a:cs typeface="+mn-cs"/>
              <a:sym typeface="+mn-lt"/>
            </a:endParaRPr>
          </a:p>
        </p:txBody>
      </p:sp>
      <p:sp>
        <p:nvSpPr>
          <p:cNvPr id="23" name="Text Placeholder 10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56000" y="4595813"/>
            <a:ext cx="279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B6B85E4-E07B-4A19-BFAB-2E4D4C69A457}" type="datetime'''''''''''''1''''''''''1''''''''''.7'">
              <a:rPr lang="en-US" b="1">
                <a:cs typeface="+mn-cs"/>
              </a:rPr>
              <a:pPr algn="ctr">
                <a:spcBef>
                  <a:spcPct val="0"/>
                </a:spcBef>
              </a:pPr>
              <a:t>11.7</a:t>
            </a:fld>
            <a:endParaRPr lang="en-GB" b="1" dirty="0">
              <a:cs typeface="+mn-cs"/>
              <a:sym typeface="+mn-lt"/>
            </a:endParaRPr>
          </a:p>
        </p:txBody>
      </p:sp>
      <p:sp>
        <p:nvSpPr>
          <p:cNvPr id="22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549650" y="53562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3E84C3A-85C6-45FE-B222-75039571F539}" type="datetime'''2''''''''''''''''''''''''''''''''''''0''''1''''5'''">
              <a:rPr lang="en-US"/>
              <a:pPr algn="ctr">
                <a:spcBef>
                  <a:spcPct val="0"/>
                </a:spcBef>
              </a:pPr>
              <a:t>2015</a:t>
            </a:fld>
            <a:endParaRPr lang="en-GB" dirty="0">
              <a:sym typeface="+mn-lt"/>
            </a:endParaRPr>
          </a:p>
        </p:txBody>
      </p:sp>
      <p:sp>
        <p:nvSpPr>
          <p:cNvPr id="32" name="Text Placeholder 4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711825" y="53562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05DEABD-D63D-4C81-9EE5-E249F94859A7}" type="datetime'''''''''''''''''2''''''''''''''''0''2''0'''''''''''''">
              <a:rPr lang="en-US"/>
              <a:pPr algn="ctr">
                <a:spcBef>
                  <a:spcPct val="0"/>
                </a:spcBef>
              </a:pPr>
              <a:t>2020</a:t>
            </a:fld>
            <a:endParaRPr lang="en-GB" dirty="0">
              <a:sym typeface="+mn-lt"/>
            </a:endParaRPr>
          </a:p>
        </p:txBody>
      </p:sp>
      <p:sp>
        <p:nvSpPr>
          <p:cNvPr id="18" name="Text Placeholder 2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590925" y="4748213"/>
            <a:ext cx="209550" cy="152400"/>
          </a:xfrm>
          <a:prstGeom prst="rect">
            <a:avLst/>
          </a:prstGeom>
          <a:solidFill>
            <a:schemeClr val="accent2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83F44AD-2D58-4D5E-AEC5-57BAF884DB58}" type="datetime'''''''''''''''''''''''''''''0''''''''.''''''''''''''9'''''''''">
              <a:rPr lang="en-US">
                <a:solidFill>
                  <a:schemeClr val="bg1"/>
                </a:solidFill>
              </a:rPr>
              <a:pPr algn="ctr">
                <a:spcBef>
                  <a:spcPct val="0"/>
                </a:spcBef>
              </a:pPr>
              <a:t>0.9</a:t>
            </a:fld>
            <a:endParaRPr lang="en-GB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87475" y="53562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B02BB9C-EDB8-4D99-B368-265856155844}" type="datetime'''2''''''''''''''0''''''0''''''''''''''''''4'''''''''''''''''">
              <a:rPr lang="en-US"/>
              <a:pPr algn="ctr">
                <a:spcBef>
                  <a:spcPct val="0"/>
                </a:spcBef>
              </a:pPr>
              <a:t>2004</a:t>
            </a:fld>
            <a:endParaRPr lang="en-GB" dirty="0">
              <a:sym typeface="+mn-lt"/>
            </a:endParaRPr>
          </a:p>
        </p:txBody>
      </p:sp>
      <p:sp>
        <p:nvSpPr>
          <p:cNvPr id="20" name="Text Placeholder 9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428750" y="5041900"/>
            <a:ext cx="2095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70EA0EC-E4A2-4E11-9EA3-38F63B3CCACB}" type="datetime'''''''''''''''''0''''''''''''.''''''''''''4'''''''''''''''''''">
              <a:rPr lang="en-US" b="1">
                <a:cs typeface="+mn-cs"/>
              </a:rPr>
              <a:pPr algn="ctr">
                <a:spcBef>
                  <a:spcPct val="0"/>
                </a:spcBef>
              </a:pPr>
              <a:t>0.4</a:t>
            </a:fld>
            <a:endParaRPr lang="en-GB" b="1" dirty="0">
              <a:cs typeface="+mn-cs"/>
              <a:sym typeface="+mn-lt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3591102" y="5582659"/>
            <a:ext cx="447064" cy="15197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300"/>
              </a:spcAft>
            </a:pPr>
            <a:r>
              <a:rPr lang="en-GB" sz="800" b="1" dirty="0">
                <a:solidFill>
                  <a:schemeClr val="bg1"/>
                </a:solidFill>
              </a:rPr>
              <a:t>%</a:t>
            </a:r>
            <a:endParaRPr lang="en-GB" sz="800" b="1" dirty="0" smtClean="0">
              <a:solidFill>
                <a:schemeClr val="bg1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2123728" y="5590192"/>
            <a:ext cx="447064" cy="151972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300"/>
              </a:spcAft>
            </a:pPr>
            <a:r>
              <a:rPr lang="en-GB" sz="800" b="1" dirty="0" smtClean="0">
                <a:solidFill>
                  <a:schemeClr val="bg1"/>
                </a:solidFill>
              </a:rPr>
              <a:t>#</a:t>
            </a:r>
          </a:p>
        </p:txBody>
      </p:sp>
      <p:sp>
        <p:nvSpPr>
          <p:cNvPr id="36" name="Rectangle 35"/>
          <p:cNvSpPr/>
          <p:nvPr>
            <p:custDataLst>
              <p:tags r:id="rId24"/>
            </p:custDataLst>
          </p:nvPr>
        </p:nvSpPr>
        <p:spPr bwMode="auto">
          <a:xfrm>
            <a:off x="1485900" y="5605463"/>
            <a:ext cx="142875" cy="1063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>
            <p:custDataLst>
              <p:tags r:id="rId25"/>
            </p:custDataLst>
          </p:nvPr>
        </p:nvSpPr>
        <p:spPr bwMode="auto">
          <a:xfrm>
            <a:off x="596900" y="5605464"/>
            <a:ext cx="142875" cy="106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39" name="Text Placeholder 4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90575" y="5602288"/>
            <a:ext cx="593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883A57E-BAAF-4C19-A51C-9A10EEBF24F6}" type="datetime'''''N''e''''''''w'''''''''' ''''''mar''''k''''''''''et''s'">
              <a:rPr lang="en-US" sz="800" smtClean="0">
                <a:cs typeface="+mn-cs"/>
              </a:rPr>
              <a:pPr>
                <a:spcBef>
                  <a:spcPct val="0"/>
                </a:spcBef>
              </a:pPr>
              <a:t>New markets</a:t>
            </a:fld>
            <a:endParaRPr lang="en-GB" sz="800" baseline="30000" dirty="0">
              <a:cs typeface="+mn-cs"/>
              <a:sym typeface="+mn-lt"/>
            </a:endParaRPr>
          </a:p>
        </p:txBody>
      </p:sp>
      <p:sp>
        <p:nvSpPr>
          <p:cNvPr id="38" name="Text Placeholder 45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679575" y="5602288"/>
            <a:ext cx="3302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1D00C7D8-BBC1-4BB6-A825-F3CFC6EF122E}" type="datetime'''''Eu''''''''''''''''''''''''''r''ope'''''''''''">
              <a:rPr lang="en-US" sz="800">
                <a:cs typeface="+mn-cs"/>
              </a:rPr>
              <a:pPr>
                <a:spcBef>
                  <a:spcPct val="0"/>
                </a:spcBef>
              </a:pPr>
              <a:t>Europe</a:t>
            </a:fld>
            <a:endParaRPr lang="en-GB" sz="800" dirty="0">
              <a:cs typeface="+mn-cs"/>
              <a:sym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568873" y="5567887"/>
            <a:ext cx="10181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800" dirty="0" smtClean="0"/>
              <a:t>GW addition/year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032197" y="5567887"/>
            <a:ext cx="10181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800" dirty="0" smtClean="0"/>
              <a:t>CAGR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2368550" y="4505405"/>
            <a:ext cx="468000" cy="248400"/>
            <a:chOff x="1323304" y="4694249"/>
            <a:chExt cx="461231" cy="215444"/>
          </a:xfrm>
        </p:grpSpPr>
        <p:sp>
          <p:nvSpPr>
            <p:cNvPr id="43" name="Oval 42"/>
            <p:cNvSpPr/>
            <p:nvPr/>
          </p:nvSpPr>
          <p:spPr>
            <a:xfrm>
              <a:off x="1326234" y="4717193"/>
              <a:ext cx="455370" cy="151972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spcAft>
                  <a:spcPts val="300"/>
                </a:spcAft>
              </a:pPr>
              <a:endParaRPr lang="en-GB" sz="7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323304" y="4694249"/>
              <a:ext cx="461231" cy="21544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auto">
                <a:spcAft>
                  <a:spcPts val="600"/>
                </a:spcAft>
              </a:pPr>
              <a:r>
                <a:rPr lang="en-GB" sz="800" b="1" dirty="0" smtClean="0">
                  <a:solidFill>
                    <a:schemeClr val="bg1"/>
                  </a:solidFill>
                </a:rPr>
                <a:t>35%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538974" y="3467735"/>
            <a:ext cx="468000" cy="248400"/>
            <a:chOff x="1323304" y="4694249"/>
            <a:chExt cx="461231" cy="215444"/>
          </a:xfrm>
        </p:grpSpPr>
        <p:sp>
          <p:nvSpPr>
            <p:cNvPr id="46" name="Oval 45"/>
            <p:cNvSpPr/>
            <p:nvPr/>
          </p:nvSpPr>
          <p:spPr>
            <a:xfrm>
              <a:off x="1326234" y="4717193"/>
              <a:ext cx="455370" cy="151972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spcAft>
                  <a:spcPts val="300"/>
                </a:spcAft>
              </a:pPr>
              <a:endParaRPr lang="en-GB" sz="7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323304" y="4694249"/>
              <a:ext cx="461231" cy="21544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auto">
                <a:spcAft>
                  <a:spcPts val="600"/>
                </a:spcAft>
              </a:pPr>
              <a:r>
                <a:rPr lang="en-GB" sz="800" b="1" dirty="0" smtClean="0">
                  <a:solidFill>
                    <a:schemeClr val="bg1"/>
                  </a:solidFill>
                </a:rPr>
                <a:t>28%</a:t>
              </a: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6731000" y="1908169"/>
            <a:ext cx="468000" cy="247650"/>
            <a:chOff x="1323304" y="4694243"/>
            <a:chExt cx="461231" cy="215444"/>
          </a:xfrm>
        </p:grpSpPr>
        <p:sp>
          <p:nvSpPr>
            <p:cNvPr id="49" name="Oval 48"/>
            <p:cNvSpPr/>
            <p:nvPr/>
          </p:nvSpPr>
          <p:spPr>
            <a:xfrm>
              <a:off x="1326234" y="4717193"/>
              <a:ext cx="455370" cy="151972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317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>
                <a:spcAft>
                  <a:spcPts val="300"/>
                </a:spcAft>
              </a:pPr>
              <a:endParaRPr lang="en-GB" sz="7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323304" y="4694243"/>
              <a:ext cx="461231" cy="21544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auto">
                <a:spcAft>
                  <a:spcPts val="600"/>
                </a:spcAft>
              </a:pPr>
              <a:r>
                <a:rPr lang="en-GB" sz="800" b="1" dirty="0" smtClean="0">
                  <a:solidFill>
                    <a:schemeClr val="bg1"/>
                  </a:solidFill>
                </a:rPr>
                <a:t>15%</a:t>
              </a: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392399" y="5975777"/>
            <a:ext cx="5655976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85725" indent="-85725"/>
            <a:r>
              <a:rPr lang="en-GB" sz="8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Bloomberg New Energy Finance (BNEF), H1 2016 offshore wind market 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</a:rPr>
              <a:t>outlook</a:t>
            </a:r>
            <a:endParaRPr lang="en-GB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7691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fontAlgn="auto">
              <a:spcAft>
                <a:spcPts val="0"/>
              </a:spcAft>
            </a:pPr>
            <a:r>
              <a:rPr lang="en-GB" sz="2000" dirty="0" smtClean="0"/>
              <a:t>Industry evolution in perspective; wind turbines</a:t>
            </a:r>
            <a:endParaRPr lang="en-GB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2</a:t>
            </a:fld>
            <a:endParaRPr lang="en-GB" dirty="0"/>
          </a:p>
        </p:txBody>
      </p:sp>
      <p:graphicFrame>
        <p:nvGraphicFramePr>
          <p:cNvPr id="14" name="Content Placeholder 5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416301" y="4338084"/>
          <a:ext cx="9037665" cy="10593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0524"/>
                <a:gridCol w="795347"/>
                <a:gridCol w="1077132"/>
                <a:gridCol w="960895"/>
                <a:gridCol w="1170120"/>
                <a:gridCol w="1270863"/>
                <a:gridCol w="1952784"/>
              </a:tblGrid>
              <a:tr h="3278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kern="1200" baseline="0" dirty="0" smtClean="0">
                          <a:latin typeface="Arial" panose="020B0604020202020204" pitchFamily="34" charset="0"/>
                        </a:rPr>
                        <a:t>DONG Energy wind farms</a:t>
                      </a:r>
                      <a:endParaRPr lang="en-GB" sz="1000" b="1" i="0" u="none" strike="noStrike" kern="1200" baseline="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kern="1200" baseline="0" dirty="0" smtClean="0">
                          <a:latin typeface="Arial" panose="020B0604020202020204" pitchFamily="34" charset="0"/>
                        </a:rPr>
                        <a:t>1991</a:t>
                      </a:r>
                      <a:endParaRPr lang="en-GB" sz="1000" b="1" i="0" u="none" strike="noStrike" kern="1200" baseline="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kern="1200" baseline="0" dirty="0" smtClean="0">
                          <a:latin typeface="Arial" panose="020B0604020202020204" pitchFamily="34" charset="0"/>
                        </a:rPr>
                        <a:t>2001</a:t>
                      </a:r>
                      <a:endParaRPr lang="en-GB" sz="1000" b="1" i="0" u="none" strike="noStrike" kern="1200" baseline="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GB" sz="1000" b="1" i="0" u="none" strike="noStrike" kern="1200" baseline="0" dirty="0" smtClean="0">
                          <a:latin typeface="Arial" panose="020B0604020202020204" pitchFamily="34" charset="0"/>
                        </a:rPr>
                        <a:t>2010</a:t>
                      </a:r>
                      <a:endParaRPr lang="en-GB" sz="1000" b="1" i="0" u="none" strike="noStrike" kern="1200" baseline="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kern="1200" baseline="0" dirty="0" smtClean="0">
                          <a:latin typeface="Arial" panose="020B0604020202020204" pitchFamily="34" charset="0"/>
                        </a:rPr>
                        <a:t>2013</a:t>
                      </a:r>
                      <a:endParaRPr lang="en-GB" sz="1000" b="1" i="0" u="none" strike="noStrike" kern="1200" baseline="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kern="1200" baseline="0" dirty="0" smtClean="0">
                          <a:latin typeface="Arial" panose="020B0604020202020204" pitchFamily="34" charset="0"/>
                        </a:rPr>
                        <a:t>2015</a:t>
                      </a:r>
                      <a:endParaRPr lang="en-GB" sz="1000" b="1" i="0" u="none" strike="noStrike" kern="1200" baseline="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i="0" u="none" strike="noStrike" kern="1200" baseline="0" dirty="0" smtClean="0">
                          <a:latin typeface="Arial" panose="020B0604020202020204" pitchFamily="34" charset="0"/>
                        </a:rPr>
                        <a:t>2017</a:t>
                      </a:r>
                      <a:endParaRPr lang="en-GB" sz="1000" b="1" i="0" u="none" strike="noStrike" kern="1200" baseline="0" dirty="0" smtClean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2273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 baseline="0" dirty="0" smtClean="0">
                          <a:latin typeface="Arial" panose="020B0604020202020204" pitchFamily="34" charset="0"/>
                        </a:rPr>
                        <a:t>Turbine capacity</a:t>
                      </a:r>
                      <a:endParaRPr lang="en-GB" sz="100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 baseline="0" dirty="0" smtClean="0">
                          <a:latin typeface="Arial" panose="020B0604020202020204" pitchFamily="34" charset="0"/>
                        </a:rPr>
                        <a:t>0,45 MW</a:t>
                      </a:r>
                      <a:endParaRPr lang="en-GB" sz="100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2 MW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2,3 MW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3,6 MW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6 MW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8 MW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otor diameter</a:t>
                      </a:r>
                    </a:p>
                  </a:txBody>
                  <a:tcPr anchor="b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 baseline="0" dirty="0" smtClean="0">
                          <a:latin typeface="Arial" panose="020B0604020202020204" pitchFamily="34" charset="0"/>
                        </a:rPr>
                        <a:t>35 m</a:t>
                      </a:r>
                      <a:endParaRPr lang="en-GB" sz="1000" b="0" i="0" u="none" strike="noStrike" kern="1200" baseline="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5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76 m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5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93 m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5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120 m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5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154 m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5E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latin typeface="Arial" panose="020B0604020202020204" pitchFamily="34" charset="0"/>
                        </a:rPr>
                        <a:t>164 m</a:t>
                      </a:r>
                      <a:endParaRPr lang="da-DK" sz="1000" b="0" i="0" baseline="0" dirty="0"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5E0"/>
                    </a:solidFill>
                  </a:tcPr>
                </a:tc>
              </a:tr>
              <a:tr h="2273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Hub height from water level</a:t>
                      </a:r>
                      <a:endParaRPr lang="en-GB" sz="1000" b="0" i="0" u="none" strike="noStrike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12700" cmpd="sng"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35 m</a:t>
                      </a:r>
                      <a:endParaRPr lang="en-GB" sz="1000" b="0" i="0" u="none" strike="noStrike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64 m</a:t>
                      </a:r>
                      <a:endParaRPr lang="da-DK" sz="10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68 m</a:t>
                      </a:r>
                      <a:endParaRPr lang="da-DK" sz="10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81,6 m</a:t>
                      </a:r>
                      <a:endParaRPr lang="da-DK" sz="10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102 m</a:t>
                      </a:r>
                      <a:endParaRPr lang="da-DK" sz="10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000" b="0" i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105 m</a:t>
                      </a:r>
                      <a:endParaRPr lang="da-DK" sz="1000" b="0" i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" name="Rectangle 14"/>
          <p:cNvSpPr/>
          <p:nvPr/>
        </p:nvSpPr>
        <p:spPr>
          <a:xfrm>
            <a:off x="6610546" y="865225"/>
            <a:ext cx="1583244" cy="759982"/>
          </a:xfrm>
          <a:prstGeom prst="rect">
            <a:avLst/>
          </a:prstGeom>
          <a:solidFill>
            <a:srgbClr val="008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defTabSz="720725" fontAlgn="auto">
              <a:spcAft>
                <a:spcPts val="0"/>
              </a:spcAft>
            </a:pPr>
            <a:r>
              <a:rPr lang="en-US" sz="700" b="1" dirty="0" smtClean="0">
                <a:solidFill>
                  <a:schemeClr val="bg1"/>
                </a:solidFill>
              </a:rPr>
              <a:t>AIRBUS A380 - 800 </a:t>
            </a:r>
          </a:p>
          <a:p>
            <a:pPr defTabSz="720725" fontAlgn="auto">
              <a:spcAft>
                <a:spcPts val="0"/>
              </a:spcAft>
            </a:pPr>
            <a:endParaRPr lang="en-US" sz="700" b="1" dirty="0" smtClean="0">
              <a:solidFill>
                <a:schemeClr val="bg1"/>
              </a:solidFill>
            </a:endParaRPr>
          </a:p>
          <a:p>
            <a:pPr defTabSz="715963" fontAlgn="auto">
              <a:spcAft>
                <a:spcPts val="0"/>
              </a:spcAft>
              <a:tabLst>
                <a:tab pos="630238" algn="l"/>
              </a:tabLst>
            </a:pPr>
            <a:r>
              <a:rPr lang="en-GB" sz="700" dirty="0" smtClean="0">
                <a:solidFill>
                  <a:schemeClr val="bg1"/>
                </a:solidFill>
              </a:rPr>
              <a:t>Wing span:	79.8 m (261 ft.) Length: 	72.7 m </a:t>
            </a:r>
            <a:r>
              <a:rPr lang="en-GB" sz="700" dirty="0">
                <a:solidFill>
                  <a:schemeClr val="bg1"/>
                </a:solidFill>
              </a:rPr>
              <a:t>(</a:t>
            </a:r>
            <a:r>
              <a:rPr lang="en-GB" sz="700" dirty="0" smtClean="0">
                <a:solidFill>
                  <a:schemeClr val="bg1"/>
                </a:solidFill>
              </a:rPr>
              <a:t>238 ft.)</a:t>
            </a:r>
          </a:p>
          <a:p>
            <a:pPr defTabSz="720725" fontAlgn="auto">
              <a:spcAft>
                <a:spcPts val="0"/>
              </a:spcAft>
              <a:tabLst>
                <a:tab pos="630238" algn="l"/>
              </a:tabLst>
            </a:pPr>
            <a:r>
              <a:rPr lang="en-GB" sz="700" dirty="0" smtClean="0">
                <a:solidFill>
                  <a:schemeClr val="bg1"/>
                </a:solidFill>
              </a:rPr>
              <a:t>Height: 	24.8 m (79 ft.)</a:t>
            </a:r>
          </a:p>
          <a:p>
            <a:pPr defTabSz="720725" fontAlgn="auto">
              <a:spcAft>
                <a:spcPts val="0"/>
              </a:spcAft>
              <a:tabLst>
                <a:tab pos="630238" algn="l"/>
              </a:tabLst>
            </a:pPr>
            <a:r>
              <a:rPr lang="en-GB" sz="700" dirty="0" smtClean="0">
                <a:solidFill>
                  <a:schemeClr val="bg1"/>
                </a:solidFill>
              </a:rPr>
              <a:t>Capacity:	555 </a:t>
            </a:r>
            <a:r>
              <a:rPr lang="en-GB" sz="700" dirty="0">
                <a:solidFill>
                  <a:schemeClr val="bg1"/>
                </a:solidFill>
              </a:rPr>
              <a:t>passengers </a:t>
            </a:r>
            <a:r>
              <a:rPr lang="en-US" sz="700" dirty="0">
                <a:solidFill>
                  <a:schemeClr val="bg1"/>
                </a:solidFill>
              </a:rPr>
              <a:t/>
            </a:r>
            <a:br>
              <a:rPr lang="en-US" sz="700" dirty="0">
                <a:solidFill>
                  <a:schemeClr val="bg1"/>
                </a:solidFill>
              </a:rPr>
            </a:br>
            <a:r>
              <a:rPr lang="en-US" sz="700" dirty="0">
                <a:solidFill>
                  <a:schemeClr val="bg1"/>
                </a:solidFill>
              </a:rPr>
              <a:t>	</a:t>
            </a:r>
            <a:endParaRPr lang="da-DK" sz="700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/>
          <p:cNvCxnSpPr>
            <a:stCxn id="15" idx="3"/>
          </p:cNvCxnSpPr>
          <p:nvPr/>
        </p:nvCxnSpPr>
        <p:spPr>
          <a:xfrm>
            <a:off x="8193790" y="1245216"/>
            <a:ext cx="780916" cy="39544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35022" y="1662455"/>
            <a:ext cx="2293715" cy="2714327"/>
          </a:xfrm>
          <a:prstGeom prst="rect">
            <a:avLst/>
          </a:prstGeom>
          <a:ln>
            <a:tailEnd type="triangle"/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40225" y="1924409"/>
            <a:ext cx="2116822" cy="2511882"/>
          </a:xfrm>
          <a:prstGeom prst="rect">
            <a:avLst/>
          </a:prstGeom>
          <a:ln>
            <a:tailEnd type="triangle"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03477" y="2386149"/>
            <a:ext cx="1728341" cy="2030703"/>
          </a:xfrm>
          <a:prstGeom prst="rect">
            <a:avLst/>
          </a:prstGeom>
          <a:ln>
            <a:tailEnd type="triangle"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11719" y="2826018"/>
            <a:ext cx="1273631" cy="1576314"/>
          </a:xfrm>
          <a:prstGeom prst="rect">
            <a:avLst/>
          </a:prstGeom>
          <a:ln>
            <a:tailEnd type="triangle"/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49222" y="3488384"/>
            <a:ext cx="815674" cy="913948"/>
          </a:xfrm>
          <a:prstGeom prst="rect">
            <a:avLst/>
          </a:prstGeom>
          <a:ln>
            <a:tailEnd type="triangle"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97142" y="2678757"/>
            <a:ext cx="1410373" cy="1738095"/>
          </a:xfrm>
          <a:prstGeom prst="rect">
            <a:avLst/>
          </a:prstGeom>
          <a:ln>
            <a:tailEnd type="triangle"/>
          </a:ln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06143" y="1730211"/>
            <a:ext cx="1137127" cy="461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30511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p:oleObj spid="_x0000_s668682" name="think-cell Slide" r:id="rId4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GB" sz="1000" dirty="0">
              <a:solidFill>
                <a:schemeClr val="bg1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2399" y="338400"/>
            <a:ext cx="9104401" cy="398435"/>
          </a:xfrm>
        </p:spPr>
        <p:txBody>
          <a:bodyPr/>
          <a:lstStyle/>
          <a:p>
            <a:r>
              <a:rPr lang="en-GB" dirty="0" smtClean="0"/>
              <a:t>Introducing Bay State Wind…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368437" y="3609392"/>
            <a:ext cx="3829972" cy="2141370"/>
          </a:xfrm>
          <a:prstGeom prst="rect">
            <a:avLst/>
          </a:prstGeom>
        </p:spPr>
      </p:pic>
      <p:sp>
        <p:nvSpPr>
          <p:cNvPr id="98" name="Rectangle 97"/>
          <p:cNvSpPr/>
          <p:nvPr/>
        </p:nvSpPr>
        <p:spPr>
          <a:xfrm>
            <a:off x="5351929" y="1558122"/>
            <a:ext cx="3846480" cy="1884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408778" y="1689112"/>
            <a:ext cx="37083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 smtClean="0"/>
              <a:t>100% DONG Energy ownership</a:t>
            </a:r>
          </a:p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/>
              <a:t>+</a:t>
            </a:r>
            <a:r>
              <a:rPr lang="en-GB" sz="1200" dirty="0" smtClean="0"/>
              <a:t>1,000MW capacity </a:t>
            </a:r>
          </a:p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 smtClean="0"/>
              <a:t>15 nautical miles from Martha’s Vineyard</a:t>
            </a:r>
          </a:p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 smtClean="0"/>
              <a:t>Connecting into Massachusetts</a:t>
            </a:r>
          </a:p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 smtClean="0"/>
              <a:t>Water depths 40-60m (130-160ft)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48034" y="1474788"/>
            <a:ext cx="4581525" cy="42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55695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p:oleObj spid="_x0000_s666639" name="think-cell Slide" r:id="rId4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GB" sz="1000" dirty="0">
              <a:solidFill>
                <a:schemeClr val="bg1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ing Ocean Wind…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20740" y="1614061"/>
            <a:ext cx="4914376" cy="3791803"/>
          </a:xfrm>
          <a:prstGeom prst="rect">
            <a:avLst/>
          </a:prstGeom>
        </p:spPr>
      </p:pic>
      <p:sp>
        <p:nvSpPr>
          <p:cNvPr id="97" name="Rectangle 96"/>
          <p:cNvSpPr/>
          <p:nvPr/>
        </p:nvSpPr>
        <p:spPr>
          <a:xfrm>
            <a:off x="5530652" y="1614061"/>
            <a:ext cx="3846480" cy="1884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599728" y="1696732"/>
            <a:ext cx="3708328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 smtClean="0"/>
              <a:t>DONG Energy will take over project rights, following BOEM approval</a:t>
            </a:r>
            <a:endParaRPr lang="en-GB" sz="1200" dirty="0"/>
          </a:p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 smtClean="0"/>
              <a:t>+1,000MW potential capacity </a:t>
            </a:r>
          </a:p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 smtClean="0"/>
              <a:t>10 nautical miles from shore</a:t>
            </a:r>
          </a:p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 smtClean="0"/>
              <a:t>Connecting into New Jersey</a:t>
            </a:r>
          </a:p>
          <a:p>
            <a:pPr marL="285750" indent="-285750" fontAlgn="auto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200" dirty="0" smtClean="0"/>
              <a:t>Water depths 20-30m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16" t="5389" r="3231" b="8420"/>
          <a:stretch/>
        </p:blipFill>
        <p:spPr>
          <a:xfrm>
            <a:off x="5688556" y="3549118"/>
            <a:ext cx="36195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61428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11349904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p:oleObj spid="_x0000_s631902" name="think-cell Slide" r:id="rId3" imgW="360" imgH="360" progId="">
              <p:embed/>
            </p:oleObj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211815A-B20D-485D-A42D-61E71CBE0279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grpSp>
        <p:nvGrpSpPr>
          <p:cNvPr id="11" name="Group 10"/>
          <p:cNvGrpSpPr/>
          <p:nvPr/>
        </p:nvGrpSpPr>
        <p:grpSpPr>
          <a:xfrm>
            <a:off x="381000" y="954738"/>
            <a:ext cx="9152878" cy="4926614"/>
            <a:chOff x="178320" y="954738"/>
            <a:chExt cx="8690808" cy="4587290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79512" y="954739"/>
              <a:ext cx="3063320" cy="2042213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78320" y="2996951"/>
              <a:ext cx="3817615" cy="2545077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242833" y="3368131"/>
              <a:ext cx="3260846" cy="2173897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197806" y="3769423"/>
              <a:ext cx="2658908" cy="1772605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508473" y="954738"/>
              <a:ext cx="4360655" cy="2907103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214617" y="954739"/>
              <a:ext cx="1879007" cy="29071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1695029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08720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61601" name="think-cell Slide" r:id="rId101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200" dirty="0"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ONG Energy at a glance</a:t>
            </a:r>
            <a:endParaRPr lang="da-DK" dirty="0"/>
          </a:p>
        </p:txBody>
      </p:sp>
      <p:sp>
        <p:nvSpPr>
          <p:cNvPr id="58" name="Rectangle 57"/>
          <p:cNvSpPr/>
          <p:nvPr/>
        </p:nvSpPr>
        <p:spPr bwMode="auto">
          <a:xfrm>
            <a:off x="7795955" y="1190625"/>
            <a:ext cx="1715757" cy="291624"/>
          </a:xfrm>
          <a:prstGeom prst="rect">
            <a:avLst/>
          </a:prstGeom>
          <a:solidFill>
            <a:srgbClr val="183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rtlCol="0" anchor="ctr"/>
          <a:lstStyle/>
          <a:p>
            <a:pPr algn="ctr"/>
            <a:r>
              <a:rPr lang="da-DK" sz="900" b="1" dirty="0" err="1">
                <a:solidFill>
                  <a:schemeClr val="bg1"/>
                </a:solidFill>
              </a:rPr>
              <a:t>Bioenergy</a:t>
            </a:r>
            <a:r>
              <a:rPr lang="da-DK" sz="900" b="1" dirty="0">
                <a:solidFill>
                  <a:schemeClr val="bg1"/>
                </a:solidFill>
              </a:rPr>
              <a:t> &amp; Thermal Power</a:t>
            </a:r>
            <a:endParaRPr lang="da-DK" sz="900" b="1" cap="all" dirty="0">
              <a:solidFill>
                <a:schemeClr val="bg1"/>
              </a:solidFill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2244263" y="1190625"/>
            <a:ext cx="1715757" cy="291624"/>
          </a:xfrm>
          <a:prstGeom prst="rect">
            <a:avLst/>
          </a:prstGeom>
          <a:solidFill>
            <a:srgbClr val="183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rtlCol="0" anchor="ctr"/>
          <a:lstStyle/>
          <a:p>
            <a:pPr algn="ctr"/>
            <a:r>
              <a:rPr lang="da-DK" sz="900" b="1" dirty="0">
                <a:solidFill>
                  <a:schemeClr val="bg1"/>
                </a:solidFill>
              </a:rPr>
              <a:t>Oil &amp; </a:t>
            </a:r>
            <a:r>
              <a:rPr lang="da-DK" sz="900" b="1" dirty="0" smtClean="0">
                <a:solidFill>
                  <a:schemeClr val="bg1"/>
                </a:solidFill>
              </a:rPr>
              <a:t>Gas</a:t>
            </a:r>
            <a:endParaRPr lang="da-DK" sz="900" b="1" dirty="0">
              <a:solidFill>
                <a:schemeClr val="bg1"/>
              </a:solidFill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5945391" y="1190625"/>
            <a:ext cx="1715757" cy="291624"/>
          </a:xfrm>
          <a:prstGeom prst="rect">
            <a:avLst/>
          </a:prstGeom>
          <a:solidFill>
            <a:srgbClr val="183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rtlCol="0" anchor="ctr"/>
          <a:lstStyle/>
          <a:p>
            <a:pPr algn="ctr"/>
            <a:r>
              <a:rPr lang="da-DK" sz="900" b="1" dirty="0">
                <a:solidFill>
                  <a:schemeClr val="bg1"/>
                </a:solidFill>
              </a:rPr>
              <a:t>Distribution &amp; </a:t>
            </a:r>
            <a:r>
              <a:rPr lang="da-DK" sz="900" b="1" dirty="0" smtClean="0">
                <a:solidFill>
                  <a:schemeClr val="bg1"/>
                </a:solidFill>
              </a:rPr>
              <a:t/>
            </a:r>
            <a:br>
              <a:rPr lang="da-DK" sz="900" b="1" dirty="0" smtClean="0">
                <a:solidFill>
                  <a:schemeClr val="bg1"/>
                </a:solidFill>
              </a:rPr>
            </a:br>
            <a:r>
              <a:rPr lang="da-DK" sz="900" b="1" dirty="0" smtClean="0">
                <a:solidFill>
                  <a:schemeClr val="bg1"/>
                </a:solidFill>
              </a:rPr>
              <a:t>Customers </a:t>
            </a:r>
            <a:r>
              <a:rPr lang="da-DK" sz="900" b="1" dirty="0">
                <a:solidFill>
                  <a:schemeClr val="bg1"/>
                </a:solidFill>
              </a:rPr>
              <a:t>Solutions</a:t>
            </a:r>
            <a:endParaRPr lang="da-DK" sz="900" b="1" cap="all" dirty="0">
              <a:solidFill>
                <a:schemeClr val="bg1"/>
              </a:solidFill>
            </a:endParaRPr>
          </a:p>
        </p:txBody>
      </p:sp>
      <p:sp>
        <p:nvSpPr>
          <p:cNvPr id="68" name="Rectangle 67"/>
          <p:cNvSpPr/>
          <p:nvPr/>
        </p:nvSpPr>
        <p:spPr bwMode="auto">
          <a:xfrm>
            <a:off x="4094827" y="1190625"/>
            <a:ext cx="1715757" cy="291624"/>
          </a:xfrm>
          <a:prstGeom prst="rect">
            <a:avLst/>
          </a:prstGeom>
          <a:solidFill>
            <a:srgbClr val="183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rtlCol="0" anchor="ctr"/>
          <a:lstStyle/>
          <a:p>
            <a:pPr algn="ctr"/>
            <a:r>
              <a:rPr lang="da-DK" sz="900" b="1" cap="all" dirty="0" smtClean="0">
                <a:solidFill>
                  <a:schemeClr val="bg1"/>
                </a:solidFill>
              </a:rPr>
              <a:t>Wind Power</a:t>
            </a:r>
            <a:endParaRPr lang="da-DK" sz="900" b="1" cap="all" dirty="0">
              <a:solidFill>
                <a:schemeClr val="bg1"/>
              </a:solidFill>
            </a:endParaRPr>
          </a:p>
        </p:txBody>
      </p:sp>
      <p:graphicFrame>
        <p:nvGraphicFramePr>
          <p:cNvPr id="104" name="Object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689685027"/>
              </p:ext>
            </p:extLst>
          </p:nvPr>
        </p:nvGraphicFramePr>
        <p:xfrm>
          <a:off x="2058988" y="2363788"/>
          <a:ext cx="1993900" cy="1003300"/>
        </p:xfrm>
        <a:graphic>
          <a:graphicData uri="http://schemas.openxmlformats.org/presentationml/2006/ole">
            <p:oleObj spid="_x0000_s661602" name="Chart" r:id="rId102" imgW="1983960" imgH="987120" progId="MSGraph.Chart.8">
              <p:embed followColorScheme="full"/>
            </p:oleObj>
          </a:graphicData>
        </a:graphic>
      </p:graphicFrame>
      <p:sp>
        <p:nvSpPr>
          <p:cNvPr id="238" name="Text Placeholder 6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976563" y="2663825"/>
            <a:ext cx="255588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anchor="b" anchorCtr="0">
            <a:noAutofit/>
          </a:bodyPr>
          <a:lstStyle>
            <a:lvl1pPr marL="182563" indent="-182563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123F91D-6ED0-46C6-AC99-5C0EF656B64C}" type="datetime'''''1''''.''''''''''''''''''''''''''''''''''''''''''''''''5'''">
              <a:rPr lang="da-DK" altLang="en-US" b="1"/>
              <a:pPr marL="0" indent="0" algn="ctr">
                <a:spcBef>
                  <a:spcPct val="0"/>
                </a:spcBef>
                <a:buNone/>
              </a:pPr>
              <a:t>1.5</a:t>
            </a:fld>
            <a:endParaRPr lang="da-DK" b="1" dirty="0">
              <a:latin typeface="Arial"/>
              <a:sym typeface="Arial"/>
            </a:endParaRPr>
          </a:p>
        </p:txBody>
      </p:sp>
      <p:graphicFrame>
        <p:nvGraphicFramePr>
          <p:cNvPr id="115" name="Object 1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611692184"/>
              </p:ext>
            </p:extLst>
          </p:nvPr>
        </p:nvGraphicFramePr>
        <p:xfrm>
          <a:off x="5754688" y="2325688"/>
          <a:ext cx="2006600" cy="1041400"/>
        </p:xfrm>
        <a:graphic>
          <a:graphicData uri="http://schemas.openxmlformats.org/presentationml/2006/ole">
            <p:oleObj spid="_x0000_s661603" name="Chart" r:id="rId103" imgW="1992960" imgH="1032840" progId="MSGraph.Chart.8">
              <p:embed followColorScheme="full"/>
            </p:oleObj>
          </a:graphicData>
        </a:graphic>
      </p:graphicFrame>
      <p:sp>
        <p:nvSpPr>
          <p:cNvPr id="240" name="Text Placeholder 8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669088" y="2968625"/>
            <a:ext cx="255588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b" anchorCtr="0">
            <a:noAutofit/>
          </a:bodyPr>
          <a:lstStyle>
            <a:lvl1pPr marL="182563" indent="-182563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B56EBDC-5807-475F-9463-0D66A4032B99}" type="datetime'0''''''''''''''''.''''''''''''''''''''''''''3'''''''''''''">
              <a:rPr lang="da-DK" altLang="en-US" b="1"/>
              <a:pPr marL="0" indent="0" algn="ctr">
                <a:spcBef>
                  <a:spcPct val="0"/>
                </a:spcBef>
                <a:buNone/>
              </a:pPr>
              <a:t>0.3</a:t>
            </a:fld>
            <a:endParaRPr lang="da-DK" b="1" dirty="0">
              <a:latin typeface="Arial"/>
              <a:sym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239963" y="3579813"/>
            <a:ext cx="1720561" cy="1169821"/>
          </a:xfrm>
          <a:prstGeom prst="rect">
            <a:avLst/>
          </a:prstGeom>
          <a:noFill/>
          <a:ln>
            <a:noFill/>
          </a:ln>
        </p:spPr>
        <p:txBody>
          <a:bodyPr wrap="square" lIns="72000" rtlCol="0">
            <a:noAutofit/>
          </a:bodyPr>
          <a:lstStyle/>
          <a:p>
            <a:pPr marL="177800" lvl="1" indent="-1778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a-DK" sz="1200" dirty="0" smtClean="0">
                <a:solidFill>
                  <a:prstClr val="black"/>
                </a:solidFill>
              </a:rPr>
              <a:t>Oil and gas </a:t>
            </a:r>
            <a:r>
              <a:rPr lang="da-DK" sz="1200" dirty="0" err="1" smtClean="0">
                <a:solidFill>
                  <a:prstClr val="black"/>
                </a:solidFill>
              </a:rPr>
              <a:t>exploration</a:t>
            </a:r>
            <a:r>
              <a:rPr lang="da-DK" sz="1200" dirty="0" smtClean="0">
                <a:solidFill>
                  <a:prstClr val="black"/>
                </a:solidFill>
              </a:rPr>
              <a:t> and </a:t>
            </a:r>
            <a:r>
              <a:rPr lang="da-DK" sz="1200" dirty="0" err="1" smtClean="0">
                <a:solidFill>
                  <a:prstClr val="black"/>
                </a:solidFill>
              </a:rPr>
              <a:t>production</a:t>
            </a:r>
            <a:endParaRPr lang="da-DK" sz="1200" dirty="0" smtClean="0">
              <a:solidFill>
                <a:prstClr val="black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177800" lvl="1" indent="-1778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a-DK" sz="1200" dirty="0" smtClean="0">
                <a:solidFill>
                  <a:prstClr val="black"/>
                </a:solidFill>
              </a:rPr>
              <a:t>Production of &gt;100 </a:t>
            </a:r>
            <a:r>
              <a:rPr lang="da-DK" sz="1200" dirty="0" err="1" smtClean="0">
                <a:solidFill>
                  <a:prstClr val="black"/>
                </a:solidFill>
              </a:rPr>
              <a:t>kboe</a:t>
            </a:r>
            <a:r>
              <a:rPr lang="da-DK" sz="1200" dirty="0" smtClean="0">
                <a:solidFill>
                  <a:prstClr val="black"/>
                </a:solidFill>
              </a:rPr>
              <a:t>/</a:t>
            </a:r>
            <a:r>
              <a:rPr lang="da-DK" sz="1200" dirty="0" err="1" smtClean="0">
                <a:solidFill>
                  <a:prstClr val="black"/>
                </a:solidFill>
              </a:rPr>
              <a:t>day</a:t>
            </a:r>
            <a:endParaRPr lang="da-DK" sz="1200" dirty="0" smtClean="0">
              <a:solidFill>
                <a:prstClr val="black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177800" indent="-1778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a-DK" sz="1200" dirty="0" err="1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Strong</a:t>
            </a:r>
            <a:r>
              <a:rPr lang="da-DK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 North Sea and West-of-</a:t>
            </a:r>
            <a:r>
              <a:rPr lang="da-DK" sz="1200" dirty="0" err="1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Shetlands</a:t>
            </a:r>
            <a:r>
              <a:rPr lang="da-DK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 platform</a:t>
            </a:r>
            <a:endParaRPr lang="da-DK" sz="1200" dirty="0">
              <a:solidFill>
                <a:prstClr val="black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940425" y="3579813"/>
            <a:ext cx="1715757" cy="1169823"/>
          </a:xfrm>
          <a:prstGeom prst="rect">
            <a:avLst/>
          </a:prstGeom>
          <a:noFill/>
          <a:ln>
            <a:noFill/>
          </a:ln>
        </p:spPr>
        <p:txBody>
          <a:bodyPr wrap="square" lIns="72000" rtlCol="0">
            <a:noAutofit/>
          </a:bodyPr>
          <a:lstStyle>
            <a:defPPr>
              <a:defRPr lang="da-DK"/>
            </a:defPPr>
            <a:lvl1pPr marL="177800" indent="-17780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 sz="110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marL="180975" lvl="1" indent="-180975">
              <a:spcAft>
                <a:spcPts val="0"/>
              </a:spcAft>
              <a:buSzPct val="100000"/>
              <a:buFont typeface="Wingdings" pitchFamily="2" charset="2"/>
              <a:buChar char="§"/>
              <a:tabLst>
                <a:tab pos="712788" algn="l"/>
              </a:tabLst>
            </a:pPr>
            <a:r>
              <a:rPr lang="da-DK" sz="1200" dirty="0" smtClean="0">
                <a:solidFill>
                  <a:prstClr val="black"/>
                </a:solidFill>
              </a:rPr>
              <a:t>Private and </a:t>
            </a:r>
            <a:r>
              <a:rPr lang="da-DK" sz="1200" dirty="0" err="1" smtClean="0">
                <a:solidFill>
                  <a:prstClr val="black"/>
                </a:solidFill>
              </a:rPr>
              <a:t>commercial</a:t>
            </a:r>
            <a:r>
              <a:rPr lang="da-DK" sz="1200" dirty="0" smtClean="0">
                <a:solidFill>
                  <a:prstClr val="black"/>
                </a:solidFill>
              </a:rPr>
              <a:t> gas &amp; power sales, and distribution</a:t>
            </a:r>
          </a:p>
          <a:p>
            <a:pPr marL="180975" lvl="1" indent="-180975">
              <a:spcAft>
                <a:spcPts val="0"/>
              </a:spcAft>
              <a:buSzPct val="100000"/>
              <a:buFont typeface="Wingdings" pitchFamily="2" charset="2"/>
              <a:buChar char="§"/>
              <a:tabLst>
                <a:tab pos="712788" algn="l"/>
              </a:tabLst>
            </a:pPr>
            <a:r>
              <a:rPr lang="da-DK" sz="1200" dirty="0" smtClean="0">
                <a:solidFill>
                  <a:prstClr val="black"/>
                </a:solidFill>
              </a:rPr>
              <a:t>Long-term gas </a:t>
            </a:r>
            <a:r>
              <a:rPr lang="da-DK" sz="1200" dirty="0" err="1" smtClean="0">
                <a:solidFill>
                  <a:prstClr val="black"/>
                </a:solidFill>
              </a:rPr>
              <a:t>contracts</a:t>
            </a:r>
            <a:endParaRPr lang="da-DK" sz="1200" dirty="0" smtClean="0">
              <a:solidFill>
                <a:prstClr val="black"/>
              </a:solidFill>
            </a:endParaRPr>
          </a:p>
          <a:p>
            <a:pPr marL="180975" lvl="1" indent="-180975">
              <a:spcAft>
                <a:spcPts val="0"/>
              </a:spcAft>
              <a:buSzPct val="100000"/>
              <a:buFont typeface="Wingdings" pitchFamily="2" charset="2"/>
              <a:buChar char="§"/>
              <a:tabLst>
                <a:tab pos="712788" algn="l"/>
              </a:tabLst>
            </a:pPr>
            <a:r>
              <a:rPr lang="da-DK" sz="1200" dirty="0" smtClean="0">
                <a:solidFill>
                  <a:prstClr val="black"/>
                </a:solidFill>
              </a:rPr>
              <a:t>LNG business</a:t>
            </a:r>
          </a:p>
          <a:p>
            <a:pPr marL="180975" lvl="1" indent="-180975">
              <a:spcAft>
                <a:spcPts val="600"/>
              </a:spcAft>
              <a:buSzPct val="100000"/>
              <a:buFont typeface="Wingdings" pitchFamily="2" charset="2"/>
              <a:buChar char="§"/>
              <a:tabLst>
                <a:tab pos="712788" algn="l"/>
              </a:tabLst>
            </a:pPr>
            <a:r>
              <a:rPr lang="da-DK" sz="1200" dirty="0" err="1" smtClean="0">
                <a:solidFill>
                  <a:prstClr val="black"/>
                </a:solidFill>
              </a:rPr>
              <a:t>Centralised</a:t>
            </a:r>
            <a:r>
              <a:rPr lang="da-DK" sz="1200" dirty="0" smtClean="0">
                <a:solidFill>
                  <a:prstClr val="black"/>
                </a:solidFill>
              </a:rPr>
              <a:t> </a:t>
            </a:r>
            <a:r>
              <a:rPr lang="da-DK" sz="1200" dirty="0" err="1" smtClean="0">
                <a:solidFill>
                  <a:prstClr val="black"/>
                </a:solidFill>
              </a:rPr>
              <a:t>commodity</a:t>
            </a:r>
            <a:r>
              <a:rPr lang="da-DK" sz="1200" dirty="0" smtClean="0">
                <a:solidFill>
                  <a:prstClr val="black"/>
                </a:solidFill>
              </a:rPr>
              <a:t> management</a:t>
            </a:r>
            <a:endParaRPr lang="da-DK" sz="1200" dirty="0">
              <a:solidFill>
                <a:prstClr val="black"/>
              </a:solidFill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2976563" y="5629214"/>
            <a:ext cx="352420" cy="220262"/>
            <a:chOff x="3260131" y="4980868"/>
            <a:chExt cx="609600" cy="381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5" name="Rectangle 94"/>
            <p:cNvSpPr/>
            <p:nvPr>
              <p:custDataLst>
                <p:tags r:id="rId94"/>
              </p:custDataLst>
            </p:nvPr>
          </p:nvSpPr>
          <p:spPr bwMode="auto">
            <a:xfrm>
              <a:off x="3260131" y="4980868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6" name="Rectangle 95"/>
            <p:cNvSpPr/>
            <p:nvPr>
              <p:custDataLst>
                <p:tags r:id="rId95"/>
              </p:custDataLst>
            </p:nvPr>
          </p:nvSpPr>
          <p:spPr bwMode="auto">
            <a:xfrm>
              <a:off x="3260131" y="4980868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7" name="Rectangle 96"/>
            <p:cNvSpPr/>
            <p:nvPr>
              <p:custDataLst>
                <p:tags r:id="rId96"/>
              </p:custDataLst>
            </p:nvPr>
          </p:nvSpPr>
          <p:spPr bwMode="auto">
            <a:xfrm>
              <a:off x="3544929" y="4980868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8" name="Rectangle 97"/>
            <p:cNvSpPr/>
            <p:nvPr>
              <p:custDataLst>
                <p:tags r:id="rId97"/>
              </p:custDataLst>
            </p:nvPr>
          </p:nvSpPr>
          <p:spPr bwMode="auto">
            <a:xfrm>
              <a:off x="3260131" y="5197561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99" name="Rectangle 98"/>
            <p:cNvSpPr/>
            <p:nvPr>
              <p:custDataLst>
                <p:tags r:id="rId98"/>
              </p:custDataLst>
            </p:nvPr>
          </p:nvSpPr>
          <p:spPr bwMode="auto">
            <a:xfrm>
              <a:off x="3544929" y="5197561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3452813" y="5629214"/>
            <a:ext cx="346137" cy="220626"/>
            <a:chOff x="2680722" y="4368395"/>
            <a:chExt cx="609600" cy="388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1" name="Rectangle 100"/>
            <p:cNvSpPr/>
            <p:nvPr>
              <p:custDataLst>
                <p:tags r:id="rId78"/>
              </p:custDataLst>
            </p:nvPr>
          </p:nvSpPr>
          <p:spPr bwMode="auto">
            <a:xfrm>
              <a:off x="2680722" y="4368699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grpSp>
          <p:nvGrpSpPr>
            <p:cNvPr id="102" name="Group 101"/>
            <p:cNvGrpSpPr/>
            <p:nvPr/>
          </p:nvGrpSpPr>
          <p:grpSpPr>
            <a:xfrm>
              <a:off x="2681921" y="4368395"/>
              <a:ext cx="608401" cy="388555"/>
              <a:chOff x="1165859" y="4374242"/>
              <a:chExt cx="608401" cy="387306"/>
            </a:xfrm>
          </p:grpSpPr>
          <p:sp>
            <p:nvSpPr>
              <p:cNvPr id="105" name="Freeform 104"/>
              <p:cNvSpPr/>
              <p:nvPr>
                <p:custDataLst>
                  <p:tags r:id="rId79"/>
                </p:custDataLst>
              </p:nvPr>
            </p:nvSpPr>
            <p:spPr bwMode="auto">
              <a:xfrm>
                <a:off x="1165860" y="4374242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07" name="Freeform 106"/>
              <p:cNvSpPr/>
              <p:nvPr>
                <p:custDataLst>
                  <p:tags r:id="rId80"/>
                </p:custDataLst>
              </p:nvPr>
            </p:nvSpPr>
            <p:spPr bwMode="auto">
              <a:xfrm>
                <a:off x="1525414" y="4374242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08" name="Freeform 107"/>
              <p:cNvSpPr/>
              <p:nvPr>
                <p:custDataLst>
                  <p:tags r:id="rId81"/>
                </p:custDataLst>
              </p:nvPr>
            </p:nvSpPr>
            <p:spPr bwMode="auto">
              <a:xfrm flipH="1" flipV="1">
                <a:off x="1572440" y="4628233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09" name="Freeform 108"/>
              <p:cNvSpPr/>
              <p:nvPr>
                <p:custDataLst>
                  <p:tags r:id="rId82"/>
                </p:custDataLst>
              </p:nvPr>
            </p:nvSpPr>
            <p:spPr bwMode="auto">
              <a:xfrm flipH="1" flipV="1">
                <a:off x="1165860" y="4627006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11" name="Right Triangle 110"/>
              <p:cNvSpPr/>
              <p:nvPr>
                <p:custDataLst>
                  <p:tags r:id="rId83"/>
                </p:custDataLst>
              </p:nvPr>
            </p:nvSpPr>
            <p:spPr bwMode="auto">
              <a:xfrm flipH="1" flipV="1">
                <a:off x="1236399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12" name="Right Triangle 111"/>
              <p:cNvSpPr/>
              <p:nvPr>
                <p:custDataLst>
                  <p:tags r:id="rId84"/>
                </p:custDataLst>
              </p:nvPr>
            </p:nvSpPr>
            <p:spPr bwMode="auto">
              <a:xfrm flipV="1">
                <a:off x="1522475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13" name="Right Triangle 112"/>
              <p:cNvSpPr/>
              <p:nvPr>
                <p:custDataLst>
                  <p:tags r:id="rId85"/>
                </p:custDataLst>
              </p:nvPr>
            </p:nvSpPr>
            <p:spPr bwMode="auto">
              <a:xfrm flipH="1">
                <a:off x="1236398" y="4636822"/>
                <a:ext cx="185165" cy="118177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14" name="Right Triangle 113"/>
              <p:cNvSpPr/>
              <p:nvPr>
                <p:custDataLst>
                  <p:tags r:id="rId86"/>
                </p:custDataLst>
              </p:nvPr>
            </p:nvSpPr>
            <p:spPr bwMode="auto">
              <a:xfrm>
                <a:off x="1522475" y="464498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16" name="Right Triangle 115"/>
              <p:cNvSpPr/>
              <p:nvPr>
                <p:custDataLst>
                  <p:tags r:id="rId87"/>
                </p:custDataLst>
              </p:nvPr>
            </p:nvSpPr>
            <p:spPr bwMode="auto">
              <a:xfrm flipV="1">
                <a:off x="1165860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17" name="Right Triangle 116"/>
              <p:cNvSpPr/>
              <p:nvPr>
                <p:custDataLst>
                  <p:tags r:id="rId88"/>
                </p:custDataLst>
              </p:nvPr>
            </p:nvSpPr>
            <p:spPr bwMode="auto">
              <a:xfrm>
                <a:off x="1165860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18" name="Right Triangle 117"/>
              <p:cNvSpPr/>
              <p:nvPr>
                <p:custDataLst>
                  <p:tags r:id="rId89"/>
                </p:custDataLst>
              </p:nvPr>
            </p:nvSpPr>
            <p:spPr bwMode="auto">
              <a:xfrm flipH="1" flipV="1">
                <a:off x="1637823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19" name="Right Triangle 118"/>
              <p:cNvSpPr/>
              <p:nvPr>
                <p:custDataLst>
                  <p:tags r:id="rId90"/>
                </p:custDataLst>
              </p:nvPr>
            </p:nvSpPr>
            <p:spPr bwMode="auto">
              <a:xfrm flipH="1">
                <a:off x="1637823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0" name="Rectangle 119"/>
              <p:cNvSpPr/>
              <p:nvPr>
                <p:custDataLst>
                  <p:tags r:id="rId91"/>
                </p:custDataLst>
              </p:nvPr>
            </p:nvSpPr>
            <p:spPr bwMode="auto">
              <a:xfrm rot="16200000">
                <a:off x="1404403" y="4260853"/>
                <a:ext cx="131290" cy="608377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1" name="Rectangle 120"/>
              <p:cNvSpPr/>
              <p:nvPr>
                <p:custDataLst>
                  <p:tags r:id="rId92"/>
                </p:custDataLst>
              </p:nvPr>
            </p:nvSpPr>
            <p:spPr bwMode="auto">
              <a:xfrm rot="16200000">
                <a:off x="1433443" y="4259013"/>
                <a:ext cx="73211" cy="608377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22" name="Rectangle 121"/>
              <p:cNvSpPr/>
              <p:nvPr>
                <p:custDataLst>
                  <p:tags r:id="rId93"/>
                </p:custDataLst>
              </p:nvPr>
            </p:nvSpPr>
            <p:spPr bwMode="auto">
              <a:xfrm>
                <a:off x="1441485" y="4374242"/>
                <a:ext cx="59714" cy="387306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sp>
          <p:nvSpPr>
            <p:cNvPr id="103" name="Rectangle 102"/>
            <p:cNvSpPr/>
            <p:nvPr/>
          </p:nvSpPr>
          <p:spPr bwMode="auto">
            <a:xfrm flipH="1">
              <a:off x="2680722" y="4369242"/>
              <a:ext cx="609600" cy="381142"/>
            </a:xfrm>
            <a:prstGeom prst="rect">
              <a:avLst/>
            </a:pr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2503488" y="5629214"/>
            <a:ext cx="348288" cy="220972"/>
            <a:chOff x="2294111" y="2337677"/>
            <a:chExt cx="609600" cy="38338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4" name="Rectangle 123"/>
            <p:cNvSpPr/>
            <p:nvPr/>
          </p:nvSpPr>
          <p:spPr bwMode="auto">
            <a:xfrm>
              <a:off x="2294111" y="2338277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5" name="Rectangle 124"/>
            <p:cNvSpPr/>
            <p:nvPr/>
          </p:nvSpPr>
          <p:spPr bwMode="auto">
            <a:xfrm>
              <a:off x="2573669" y="2337678"/>
              <a:ext cx="330042" cy="144000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6" name="Rectangle 125"/>
            <p:cNvSpPr/>
            <p:nvPr/>
          </p:nvSpPr>
          <p:spPr bwMode="auto">
            <a:xfrm>
              <a:off x="2490563" y="2337677"/>
              <a:ext cx="55723" cy="381600"/>
            </a:xfrm>
            <a:prstGeom prst="rect">
              <a:avLst/>
            </a:prstGeom>
            <a:solidFill>
              <a:srgbClr val="002984"/>
            </a:solidFill>
            <a:ln w="3175" cap="flat" cmpd="sng" algn="ctr">
              <a:solidFill>
                <a:srgbClr val="0029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7" name="Rectangle 126"/>
            <p:cNvSpPr/>
            <p:nvPr/>
          </p:nvSpPr>
          <p:spPr bwMode="auto">
            <a:xfrm>
              <a:off x="2573669" y="2577059"/>
              <a:ext cx="330042" cy="144000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8" name="Rectangle 127"/>
            <p:cNvSpPr/>
            <p:nvPr/>
          </p:nvSpPr>
          <p:spPr bwMode="auto">
            <a:xfrm>
              <a:off x="2294111" y="2577708"/>
              <a:ext cx="169069" cy="143351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29" name="Rectangle 128"/>
            <p:cNvSpPr/>
            <p:nvPr/>
          </p:nvSpPr>
          <p:spPr bwMode="auto">
            <a:xfrm>
              <a:off x="2294111" y="2337678"/>
              <a:ext cx="169069" cy="143351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30" name="Rectangle 129"/>
            <p:cNvSpPr/>
            <p:nvPr/>
          </p:nvSpPr>
          <p:spPr bwMode="auto">
            <a:xfrm rot="16200000">
              <a:off x="2574766" y="2227106"/>
              <a:ext cx="47091" cy="608400"/>
            </a:xfrm>
            <a:prstGeom prst="rect">
              <a:avLst/>
            </a:prstGeom>
            <a:solidFill>
              <a:srgbClr val="002984"/>
            </a:solidFill>
            <a:ln w="3175" cap="flat" cmpd="sng" algn="ctr">
              <a:solidFill>
                <a:srgbClr val="0029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43" name="Group 142"/>
          <p:cNvGrpSpPr/>
          <p:nvPr/>
        </p:nvGrpSpPr>
        <p:grpSpPr>
          <a:xfrm>
            <a:off x="6140450" y="5630802"/>
            <a:ext cx="352420" cy="220262"/>
            <a:chOff x="3260131" y="4980868"/>
            <a:chExt cx="609600" cy="381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4" name="Rectangle 143"/>
            <p:cNvSpPr/>
            <p:nvPr>
              <p:custDataLst>
                <p:tags r:id="rId73"/>
              </p:custDataLst>
            </p:nvPr>
          </p:nvSpPr>
          <p:spPr bwMode="auto">
            <a:xfrm>
              <a:off x="3260131" y="4980868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5" name="Rectangle 144"/>
            <p:cNvSpPr/>
            <p:nvPr>
              <p:custDataLst>
                <p:tags r:id="rId74"/>
              </p:custDataLst>
            </p:nvPr>
          </p:nvSpPr>
          <p:spPr bwMode="auto">
            <a:xfrm>
              <a:off x="3260131" y="4980868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6" name="Rectangle 145"/>
            <p:cNvSpPr/>
            <p:nvPr>
              <p:custDataLst>
                <p:tags r:id="rId75"/>
              </p:custDataLst>
            </p:nvPr>
          </p:nvSpPr>
          <p:spPr bwMode="auto">
            <a:xfrm>
              <a:off x="3544929" y="4980868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7" name="Rectangle 146"/>
            <p:cNvSpPr/>
            <p:nvPr>
              <p:custDataLst>
                <p:tags r:id="rId76"/>
              </p:custDataLst>
            </p:nvPr>
          </p:nvSpPr>
          <p:spPr bwMode="auto">
            <a:xfrm>
              <a:off x="3260131" y="5197561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8" name="Rectangle 147"/>
            <p:cNvSpPr/>
            <p:nvPr>
              <p:custDataLst>
                <p:tags r:id="rId77"/>
              </p:custDataLst>
            </p:nvPr>
          </p:nvSpPr>
          <p:spPr bwMode="auto">
            <a:xfrm>
              <a:off x="3544929" y="5197561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6600825" y="5630802"/>
            <a:ext cx="352420" cy="219945"/>
            <a:chOff x="3260131" y="3904234"/>
            <a:chExt cx="609600" cy="38100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0" name="Rectangle 149"/>
            <p:cNvSpPr/>
            <p:nvPr/>
          </p:nvSpPr>
          <p:spPr bwMode="auto">
            <a:xfrm>
              <a:off x="3260131" y="3904235"/>
              <a:ext cx="609600" cy="381000"/>
            </a:xfrm>
            <a:prstGeom prst="rect">
              <a:avLst/>
            </a:prstGeom>
            <a:solidFill>
              <a:srgbClr val="FFEF08"/>
            </a:solidFill>
            <a:ln w="3175" cap="flat" cmpd="sng" algn="ctr">
              <a:solidFill>
                <a:srgbClr val="FFEF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1" name="Rectangle 150"/>
            <p:cNvSpPr/>
            <p:nvPr/>
          </p:nvSpPr>
          <p:spPr bwMode="auto">
            <a:xfrm>
              <a:off x="3545731" y="3904234"/>
              <a:ext cx="324000" cy="165600"/>
            </a:xfrm>
            <a:prstGeom prst="rect">
              <a:avLst/>
            </a:prstGeom>
            <a:solidFill>
              <a:srgbClr val="0852A5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2" name="Rectangle 151"/>
            <p:cNvSpPr/>
            <p:nvPr/>
          </p:nvSpPr>
          <p:spPr bwMode="auto">
            <a:xfrm>
              <a:off x="3260131" y="3904234"/>
              <a:ext cx="212400" cy="165600"/>
            </a:xfrm>
            <a:prstGeom prst="rect">
              <a:avLst/>
            </a:prstGeom>
            <a:solidFill>
              <a:srgbClr val="0852A5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3" name="Rectangle 152"/>
            <p:cNvSpPr/>
            <p:nvPr/>
          </p:nvSpPr>
          <p:spPr bwMode="auto">
            <a:xfrm>
              <a:off x="3545731" y="4119635"/>
              <a:ext cx="324000" cy="165600"/>
            </a:xfrm>
            <a:prstGeom prst="rect">
              <a:avLst/>
            </a:prstGeom>
            <a:solidFill>
              <a:srgbClr val="0852A5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4" name="Rectangle 153"/>
            <p:cNvSpPr/>
            <p:nvPr/>
          </p:nvSpPr>
          <p:spPr bwMode="auto">
            <a:xfrm>
              <a:off x="3260131" y="4119635"/>
              <a:ext cx="212400" cy="165600"/>
            </a:xfrm>
            <a:prstGeom prst="rect">
              <a:avLst/>
            </a:prstGeom>
            <a:solidFill>
              <a:srgbClr val="0852A5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7089775" y="5630802"/>
            <a:ext cx="346137" cy="220626"/>
            <a:chOff x="2680722" y="4368395"/>
            <a:chExt cx="609600" cy="388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3" name="Rectangle 182"/>
            <p:cNvSpPr/>
            <p:nvPr>
              <p:custDataLst>
                <p:tags r:id="rId57"/>
              </p:custDataLst>
            </p:nvPr>
          </p:nvSpPr>
          <p:spPr bwMode="auto">
            <a:xfrm>
              <a:off x="2680722" y="4368699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grpSp>
          <p:nvGrpSpPr>
            <p:cNvPr id="184" name="Group 183"/>
            <p:cNvGrpSpPr/>
            <p:nvPr/>
          </p:nvGrpSpPr>
          <p:grpSpPr>
            <a:xfrm>
              <a:off x="2681921" y="4368395"/>
              <a:ext cx="608401" cy="388555"/>
              <a:chOff x="1165859" y="4374242"/>
              <a:chExt cx="608401" cy="387306"/>
            </a:xfrm>
          </p:grpSpPr>
          <p:sp>
            <p:nvSpPr>
              <p:cNvPr id="186" name="Freeform 185"/>
              <p:cNvSpPr/>
              <p:nvPr>
                <p:custDataLst>
                  <p:tags r:id="rId58"/>
                </p:custDataLst>
              </p:nvPr>
            </p:nvSpPr>
            <p:spPr bwMode="auto">
              <a:xfrm>
                <a:off x="1165860" y="4374242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87" name="Freeform 186"/>
              <p:cNvSpPr/>
              <p:nvPr>
                <p:custDataLst>
                  <p:tags r:id="rId59"/>
                </p:custDataLst>
              </p:nvPr>
            </p:nvSpPr>
            <p:spPr bwMode="auto">
              <a:xfrm>
                <a:off x="1525414" y="4374242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88" name="Freeform 187"/>
              <p:cNvSpPr/>
              <p:nvPr>
                <p:custDataLst>
                  <p:tags r:id="rId60"/>
                </p:custDataLst>
              </p:nvPr>
            </p:nvSpPr>
            <p:spPr bwMode="auto">
              <a:xfrm flipH="1" flipV="1">
                <a:off x="1572440" y="4628233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89" name="Freeform 188"/>
              <p:cNvSpPr/>
              <p:nvPr>
                <p:custDataLst>
                  <p:tags r:id="rId61"/>
                </p:custDataLst>
              </p:nvPr>
            </p:nvSpPr>
            <p:spPr bwMode="auto">
              <a:xfrm flipH="1" flipV="1">
                <a:off x="1165860" y="4627006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0" name="Right Triangle 189"/>
              <p:cNvSpPr/>
              <p:nvPr>
                <p:custDataLst>
                  <p:tags r:id="rId62"/>
                </p:custDataLst>
              </p:nvPr>
            </p:nvSpPr>
            <p:spPr bwMode="auto">
              <a:xfrm flipH="1" flipV="1">
                <a:off x="1236399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1" name="Right Triangle 190"/>
              <p:cNvSpPr/>
              <p:nvPr>
                <p:custDataLst>
                  <p:tags r:id="rId63"/>
                </p:custDataLst>
              </p:nvPr>
            </p:nvSpPr>
            <p:spPr bwMode="auto">
              <a:xfrm flipV="1">
                <a:off x="1522475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2" name="Right Triangle 191"/>
              <p:cNvSpPr/>
              <p:nvPr>
                <p:custDataLst>
                  <p:tags r:id="rId64"/>
                </p:custDataLst>
              </p:nvPr>
            </p:nvSpPr>
            <p:spPr bwMode="auto">
              <a:xfrm flipH="1">
                <a:off x="1236398" y="4636822"/>
                <a:ext cx="185165" cy="118177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3" name="Right Triangle 192"/>
              <p:cNvSpPr/>
              <p:nvPr>
                <p:custDataLst>
                  <p:tags r:id="rId65"/>
                </p:custDataLst>
              </p:nvPr>
            </p:nvSpPr>
            <p:spPr bwMode="auto">
              <a:xfrm>
                <a:off x="1522475" y="464498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4" name="Right Triangle 193"/>
              <p:cNvSpPr/>
              <p:nvPr>
                <p:custDataLst>
                  <p:tags r:id="rId66"/>
                </p:custDataLst>
              </p:nvPr>
            </p:nvSpPr>
            <p:spPr bwMode="auto">
              <a:xfrm flipV="1">
                <a:off x="1165860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5" name="Right Triangle 194"/>
              <p:cNvSpPr/>
              <p:nvPr>
                <p:custDataLst>
                  <p:tags r:id="rId67"/>
                </p:custDataLst>
              </p:nvPr>
            </p:nvSpPr>
            <p:spPr bwMode="auto">
              <a:xfrm>
                <a:off x="1165860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6" name="Right Triangle 195"/>
              <p:cNvSpPr/>
              <p:nvPr>
                <p:custDataLst>
                  <p:tags r:id="rId68"/>
                </p:custDataLst>
              </p:nvPr>
            </p:nvSpPr>
            <p:spPr bwMode="auto">
              <a:xfrm flipH="1" flipV="1">
                <a:off x="1637823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7" name="Right Triangle 196"/>
              <p:cNvSpPr/>
              <p:nvPr>
                <p:custDataLst>
                  <p:tags r:id="rId69"/>
                </p:custDataLst>
              </p:nvPr>
            </p:nvSpPr>
            <p:spPr bwMode="auto">
              <a:xfrm flipH="1">
                <a:off x="1637823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8" name="Rectangle 197"/>
              <p:cNvSpPr/>
              <p:nvPr>
                <p:custDataLst>
                  <p:tags r:id="rId70"/>
                </p:custDataLst>
              </p:nvPr>
            </p:nvSpPr>
            <p:spPr bwMode="auto">
              <a:xfrm rot="16200000">
                <a:off x="1404403" y="4260853"/>
                <a:ext cx="131290" cy="608377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99" name="Rectangle 198"/>
              <p:cNvSpPr/>
              <p:nvPr>
                <p:custDataLst>
                  <p:tags r:id="rId71"/>
                </p:custDataLst>
              </p:nvPr>
            </p:nvSpPr>
            <p:spPr bwMode="auto">
              <a:xfrm rot="16200000">
                <a:off x="1433443" y="4259013"/>
                <a:ext cx="73211" cy="608377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00" name="Rectangle 199"/>
              <p:cNvSpPr/>
              <p:nvPr>
                <p:custDataLst>
                  <p:tags r:id="rId72"/>
                </p:custDataLst>
              </p:nvPr>
            </p:nvSpPr>
            <p:spPr bwMode="auto">
              <a:xfrm>
                <a:off x="1441485" y="4374242"/>
                <a:ext cx="59714" cy="387306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sp>
          <p:nvSpPr>
            <p:cNvPr id="185" name="Rectangle 184"/>
            <p:cNvSpPr/>
            <p:nvPr/>
          </p:nvSpPr>
          <p:spPr bwMode="auto">
            <a:xfrm flipH="1">
              <a:off x="2680722" y="4369242"/>
              <a:ext cx="609600" cy="381142"/>
            </a:xfrm>
            <a:prstGeom prst="rect">
              <a:avLst/>
            </a:pr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6140450" y="5964177"/>
            <a:ext cx="345996" cy="216674"/>
            <a:chOff x="1165860" y="1930718"/>
            <a:chExt cx="608400" cy="3809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2" name="Rectangle 201"/>
            <p:cNvSpPr/>
            <p:nvPr/>
          </p:nvSpPr>
          <p:spPr bwMode="auto">
            <a:xfrm>
              <a:off x="1165860" y="1930718"/>
              <a:ext cx="608400" cy="129063"/>
            </a:xfrm>
            <a:prstGeom prst="rect">
              <a:avLst/>
            </a:prstGeom>
            <a:solidFill>
              <a:schemeClr val="tx1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03" name="Rectangle 202"/>
            <p:cNvSpPr/>
            <p:nvPr/>
          </p:nvSpPr>
          <p:spPr bwMode="auto">
            <a:xfrm>
              <a:off x="1165860" y="2182654"/>
              <a:ext cx="608400" cy="129063"/>
            </a:xfrm>
            <a:prstGeom prst="rect">
              <a:avLst/>
            </a:prstGeom>
            <a:solidFill>
              <a:srgbClr val="FFDE08"/>
            </a:solidFill>
            <a:ln w="3175" cap="flat" cmpd="sng" algn="ctr">
              <a:solidFill>
                <a:srgbClr val="FFDE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04" name="Rectangle 203"/>
            <p:cNvSpPr/>
            <p:nvPr/>
          </p:nvSpPr>
          <p:spPr bwMode="auto">
            <a:xfrm>
              <a:off x="1165860" y="2056686"/>
              <a:ext cx="608400" cy="129063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159" name="Rectangle 158"/>
          <p:cNvSpPr/>
          <p:nvPr/>
        </p:nvSpPr>
        <p:spPr bwMode="auto">
          <a:xfrm>
            <a:off x="393699" y="1190625"/>
            <a:ext cx="1715757" cy="291624"/>
          </a:xfrm>
          <a:prstGeom prst="rect">
            <a:avLst/>
          </a:prstGeom>
          <a:solidFill>
            <a:srgbClr val="183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 rtlCol="0" anchor="ctr"/>
          <a:lstStyle/>
          <a:p>
            <a:pPr algn="ctr"/>
            <a:r>
              <a:rPr lang="da-DK" sz="900" b="1" cap="all" dirty="0" smtClean="0">
                <a:solidFill>
                  <a:schemeClr val="bg1"/>
                </a:solidFill>
              </a:rPr>
              <a:t>DONG Energy</a:t>
            </a:r>
            <a:endParaRPr lang="da-DK" sz="900" b="1" cap="all" dirty="0">
              <a:solidFill>
                <a:schemeClr val="bg1"/>
              </a:solidFill>
            </a:endParaRPr>
          </a:p>
        </p:txBody>
      </p:sp>
      <p:pic>
        <p:nvPicPr>
          <p:cNvPr id="160" name="Picture 159"/>
          <p:cNvPicPr>
            <a:picLocks/>
          </p:cNvPicPr>
          <p:nvPr/>
        </p:nvPicPr>
        <p:blipFill>
          <a:blip r:embed="rId10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1728788"/>
            <a:ext cx="1715756" cy="551258"/>
          </a:xfrm>
          <a:prstGeom prst="rect">
            <a:avLst/>
          </a:prstGeom>
        </p:spPr>
      </p:pic>
      <p:graphicFrame>
        <p:nvGraphicFramePr>
          <p:cNvPr id="161" name="Object 1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36040603"/>
              </p:ext>
            </p:extLst>
          </p:nvPr>
        </p:nvGraphicFramePr>
        <p:xfrm>
          <a:off x="228600" y="2325688"/>
          <a:ext cx="1981200" cy="1041400"/>
        </p:xfrm>
        <a:graphic>
          <a:graphicData uri="http://schemas.openxmlformats.org/presentationml/2006/ole">
            <p:oleObj spid="_x0000_s661604" name="Chart" r:id="rId105" imgW="1965600" imgH="1032840" progId="MSGraph.Chart.8">
              <p:embed followColorScheme="full"/>
            </p:oleObj>
          </a:graphicData>
        </a:graphic>
      </p:graphicFrame>
      <p:sp>
        <p:nvSpPr>
          <p:cNvPr id="164" name="Text Placeholder 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122363" y="2306638"/>
            <a:ext cx="2555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12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</a:pPr>
            <a:fld id="{D82D5496-C768-4400-A0B6-A8A849F9CEB7}" type="datetime'''''''''2''''''''''''''''''''''''.''''''''''''''8'''">
              <a:rPr lang="da-DK" altLang="en-US"/>
              <a:pPr algn="ctr">
                <a:spcBef>
                  <a:spcPct val="0"/>
                </a:spcBef>
              </a:pPr>
              <a:t>2.8</a:t>
            </a:fld>
            <a:endParaRPr lang="da-DK" dirty="0">
              <a:latin typeface="Arial"/>
              <a:sym typeface="Arial"/>
            </a:endParaRPr>
          </a:p>
        </p:txBody>
      </p:sp>
      <p:sp>
        <p:nvSpPr>
          <p:cNvPr id="165" name="TextBox 164"/>
          <p:cNvSpPr txBox="1"/>
          <p:nvPr/>
        </p:nvSpPr>
        <p:spPr>
          <a:xfrm>
            <a:off x="394907" y="3579813"/>
            <a:ext cx="1714549" cy="1169823"/>
          </a:xfrm>
          <a:prstGeom prst="rect">
            <a:avLst/>
          </a:prstGeom>
          <a:noFill/>
          <a:ln>
            <a:noFill/>
          </a:ln>
        </p:spPr>
        <p:txBody>
          <a:bodyPr wrap="square" lIns="72000" rtlCol="0">
            <a:noAutofit/>
          </a:bodyPr>
          <a:lstStyle/>
          <a:p>
            <a:pPr marL="180975" lvl="1" indent="-180975">
              <a:spcAft>
                <a:spcPts val="0"/>
              </a:spcAft>
              <a:buSzPct val="100000"/>
              <a:buFont typeface="Wingdings" pitchFamily="2" charset="2"/>
              <a:buChar char="§"/>
              <a:tabLst>
                <a:tab pos="712788" algn="l"/>
              </a:tabLst>
            </a:pPr>
            <a:r>
              <a:rPr lang="en-GB" sz="1200" dirty="0">
                <a:solidFill>
                  <a:prstClr val="black"/>
                </a:solidFill>
              </a:rPr>
              <a:t>Energy group operating in </a:t>
            </a:r>
            <a:r>
              <a:rPr lang="en-GB" sz="1200" dirty="0" err="1">
                <a:solidFill>
                  <a:prstClr val="black"/>
                </a:solidFill>
              </a:rPr>
              <a:t>Northwestern</a:t>
            </a:r>
            <a:r>
              <a:rPr lang="en-GB" sz="1200" dirty="0">
                <a:solidFill>
                  <a:prstClr val="black"/>
                </a:solidFill>
              </a:rPr>
              <a:t> Europe</a:t>
            </a:r>
          </a:p>
          <a:p>
            <a:pPr marL="180975" lvl="1" indent="-180975">
              <a:spcAft>
                <a:spcPts val="0"/>
              </a:spcAft>
              <a:buSzPct val="100000"/>
              <a:buFont typeface="Wingdings" pitchFamily="2" charset="2"/>
              <a:buChar char="§"/>
              <a:tabLst>
                <a:tab pos="712788" algn="l"/>
              </a:tabLst>
            </a:pPr>
            <a:r>
              <a:rPr lang="en-GB" sz="1200" dirty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Revenue of </a:t>
            </a:r>
            <a:r>
              <a:rPr lang="en-GB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11 </a:t>
            </a:r>
            <a:r>
              <a:rPr lang="en-GB" sz="1200" dirty="0" err="1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USDbn</a:t>
            </a:r>
            <a:endParaRPr lang="en-GB" sz="1200" dirty="0">
              <a:solidFill>
                <a:prstClr val="black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180975" lvl="1" indent="-180975">
              <a:spcAft>
                <a:spcPts val="0"/>
              </a:spcAft>
              <a:buSzPct val="100000"/>
              <a:buFont typeface="Wingdings" pitchFamily="2" charset="2"/>
              <a:buChar char="§"/>
              <a:tabLst>
                <a:tab pos="712788" algn="l"/>
              </a:tabLst>
            </a:pPr>
            <a:r>
              <a:rPr lang="en-GB" sz="1200" dirty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Employs </a:t>
            </a:r>
            <a:r>
              <a:rPr lang="en-GB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6,700 FTEs</a:t>
            </a:r>
            <a:endParaRPr lang="en-GB" sz="1200" dirty="0">
              <a:solidFill>
                <a:prstClr val="black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66" name="Group 165"/>
          <p:cNvGrpSpPr/>
          <p:nvPr/>
        </p:nvGrpSpPr>
        <p:grpSpPr>
          <a:xfrm>
            <a:off x="652103" y="5630802"/>
            <a:ext cx="352420" cy="220262"/>
            <a:chOff x="3260131" y="4980868"/>
            <a:chExt cx="609600" cy="381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7" name="Rectangle 166"/>
            <p:cNvSpPr/>
            <p:nvPr>
              <p:custDataLst>
                <p:tags r:id="rId52"/>
              </p:custDataLst>
            </p:nvPr>
          </p:nvSpPr>
          <p:spPr bwMode="auto">
            <a:xfrm>
              <a:off x="3260131" y="4980868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8" name="Rectangle 167"/>
            <p:cNvSpPr/>
            <p:nvPr>
              <p:custDataLst>
                <p:tags r:id="rId53"/>
              </p:custDataLst>
            </p:nvPr>
          </p:nvSpPr>
          <p:spPr bwMode="auto">
            <a:xfrm>
              <a:off x="3260131" y="4980868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69" name="Rectangle 168"/>
            <p:cNvSpPr/>
            <p:nvPr>
              <p:custDataLst>
                <p:tags r:id="rId54"/>
              </p:custDataLst>
            </p:nvPr>
          </p:nvSpPr>
          <p:spPr bwMode="auto">
            <a:xfrm>
              <a:off x="3544929" y="4980868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70" name="Rectangle 169"/>
            <p:cNvSpPr/>
            <p:nvPr>
              <p:custDataLst>
                <p:tags r:id="rId55"/>
              </p:custDataLst>
            </p:nvPr>
          </p:nvSpPr>
          <p:spPr bwMode="auto">
            <a:xfrm>
              <a:off x="3260131" y="5197561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71" name="Rectangle 170"/>
            <p:cNvSpPr/>
            <p:nvPr>
              <p:custDataLst>
                <p:tags r:id="rId56"/>
              </p:custDataLst>
            </p:nvPr>
          </p:nvSpPr>
          <p:spPr bwMode="auto">
            <a:xfrm>
              <a:off x="3544929" y="5197561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72" name="Group 171"/>
          <p:cNvGrpSpPr>
            <a:grpSpLocks/>
          </p:cNvGrpSpPr>
          <p:nvPr/>
        </p:nvGrpSpPr>
        <p:grpSpPr>
          <a:xfrm>
            <a:off x="1112789" y="5964177"/>
            <a:ext cx="352420" cy="219945"/>
            <a:chOff x="3260131" y="3904234"/>
            <a:chExt cx="609600" cy="38100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Rectangle 172"/>
            <p:cNvSpPr/>
            <p:nvPr/>
          </p:nvSpPr>
          <p:spPr bwMode="auto">
            <a:xfrm>
              <a:off x="3260131" y="3904235"/>
              <a:ext cx="609600" cy="381000"/>
            </a:xfrm>
            <a:prstGeom prst="rect">
              <a:avLst/>
            </a:prstGeom>
            <a:solidFill>
              <a:srgbClr val="FFEF08"/>
            </a:solidFill>
            <a:ln w="3175" cap="flat" cmpd="sng" algn="ctr">
              <a:solidFill>
                <a:srgbClr val="FFEF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74" name="Rectangle 173"/>
            <p:cNvSpPr/>
            <p:nvPr/>
          </p:nvSpPr>
          <p:spPr bwMode="auto">
            <a:xfrm>
              <a:off x="3545731" y="3904234"/>
              <a:ext cx="324000" cy="165600"/>
            </a:xfrm>
            <a:prstGeom prst="rect">
              <a:avLst/>
            </a:prstGeom>
            <a:solidFill>
              <a:srgbClr val="0852A5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75" name="Rectangle 174"/>
            <p:cNvSpPr/>
            <p:nvPr/>
          </p:nvSpPr>
          <p:spPr bwMode="auto">
            <a:xfrm>
              <a:off x="3260131" y="3904234"/>
              <a:ext cx="212400" cy="165600"/>
            </a:xfrm>
            <a:prstGeom prst="rect">
              <a:avLst/>
            </a:prstGeom>
            <a:solidFill>
              <a:srgbClr val="0852A5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76" name="Rectangle 175"/>
            <p:cNvSpPr/>
            <p:nvPr/>
          </p:nvSpPr>
          <p:spPr bwMode="auto">
            <a:xfrm>
              <a:off x="3545731" y="4119635"/>
              <a:ext cx="324000" cy="165600"/>
            </a:xfrm>
            <a:prstGeom prst="rect">
              <a:avLst/>
            </a:prstGeom>
            <a:solidFill>
              <a:srgbClr val="0852A5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77" name="Rectangle 176"/>
            <p:cNvSpPr/>
            <p:nvPr/>
          </p:nvSpPr>
          <p:spPr bwMode="auto">
            <a:xfrm>
              <a:off x="3260131" y="4119635"/>
              <a:ext cx="212400" cy="165600"/>
            </a:xfrm>
            <a:prstGeom prst="rect">
              <a:avLst/>
            </a:prstGeom>
            <a:solidFill>
              <a:srgbClr val="0852A5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178" name="Group 177"/>
          <p:cNvGrpSpPr>
            <a:grpSpLocks/>
          </p:cNvGrpSpPr>
          <p:nvPr/>
        </p:nvGrpSpPr>
        <p:grpSpPr>
          <a:xfrm>
            <a:off x="1112789" y="5630802"/>
            <a:ext cx="346137" cy="220626"/>
            <a:chOff x="2680722" y="4368395"/>
            <a:chExt cx="609600" cy="388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9" name="Rectangle 178"/>
            <p:cNvSpPr/>
            <p:nvPr>
              <p:custDataLst>
                <p:tags r:id="rId36"/>
              </p:custDataLst>
            </p:nvPr>
          </p:nvSpPr>
          <p:spPr bwMode="auto">
            <a:xfrm>
              <a:off x="2680722" y="4368699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grpSp>
          <p:nvGrpSpPr>
            <p:cNvPr id="180" name="Group 179"/>
            <p:cNvGrpSpPr/>
            <p:nvPr/>
          </p:nvGrpSpPr>
          <p:grpSpPr>
            <a:xfrm>
              <a:off x="2681921" y="4368395"/>
              <a:ext cx="608401" cy="388555"/>
              <a:chOff x="1165859" y="4374242"/>
              <a:chExt cx="608401" cy="387306"/>
            </a:xfrm>
          </p:grpSpPr>
          <p:sp>
            <p:nvSpPr>
              <p:cNvPr id="205" name="Freeform 204"/>
              <p:cNvSpPr/>
              <p:nvPr>
                <p:custDataLst>
                  <p:tags r:id="rId37"/>
                </p:custDataLst>
              </p:nvPr>
            </p:nvSpPr>
            <p:spPr bwMode="auto">
              <a:xfrm>
                <a:off x="1165860" y="4374242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06" name="Freeform 205"/>
              <p:cNvSpPr/>
              <p:nvPr>
                <p:custDataLst>
                  <p:tags r:id="rId38"/>
                </p:custDataLst>
              </p:nvPr>
            </p:nvSpPr>
            <p:spPr bwMode="auto">
              <a:xfrm>
                <a:off x="1525414" y="4374242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07" name="Freeform 206"/>
              <p:cNvSpPr/>
              <p:nvPr>
                <p:custDataLst>
                  <p:tags r:id="rId39"/>
                </p:custDataLst>
              </p:nvPr>
            </p:nvSpPr>
            <p:spPr bwMode="auto">
              <a:xfrm flipH="1" flipV="1">
                <a:off x="1572440" y="4628233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08" name="Freeform 207"/>
              <p:cNvSpPr/>
              <p:nvPr>
                <p:custDataLst>
                  <p:tags r:id="rId40"/>
                </p:custDataLst>
              </p:nvPr>
            </p:nvSpPr>
            <p:spPr bwMode="auto">
              <a:xfrm flipH="1" flipV="1">
                <a:off x="1165860" y="4627006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09" name="Right Triangle 208"/>
              <p:cNvSpPr/>
              <p:nvPr>
                <p:custDataLst>
                  <p:tags r:id="rId41"/>
                </p:custDataLst>
              </p:nvPr>
            </p:nvSpPr>
            <p:spPr bwMode="auto">
              <a:xfrm flipH="1" flipV="1">
                <a:off x="1236399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0" name="Right Triangle 209"/>
              <p:cNvSpPr/>
              <p:nvPr>
                <p:custDataLst>
                  <p:tags r:id="rId42"/>
                </p:custDataLst>
              </p:nvPr>
            </p:nvSpPr>
            <p:spPr bwMode="auto">
              <a:xfrm flipV="1">
                <a:off x="1522475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1" name="Right Triangle 210"/>
              <p:cNvSpPr/>
              <p:nvPr>
                <p:custDataLst>
                  <p:tags r:id="rId43"/>
                </p:custDataLst>
              </p:nvPr>
            </p:nvSpPr>
            <p:spPr bwMode="auto">
              <a:xfrm flipH="1">
                <a:off x="1236398" y="4636822"/>
                <a:ext cx="185165" cy="118177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2" name="Right Triangle 211"/>
              <p:cNvSpPr/>
              <p:nvPr>
                <p:custDataLst>
                  <p:tags r:id="rId44"/>
                </p:custDataLst>
              </p:nvPr>
            </p:nvSpPr>
            <p:spPr bwMode="auto">
              <a:xfrm>
                <a:off x="1522475" y="464498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3" name="Right Triangle 212"/>
              <p:cNvSpPr/>
              <p:nvPr>
                <p:custDataLst>
                  <p:tags r:id="rId45"/>
                </p:custDataLst>
              </p:nvPr>
            </p:nvSpPr>
            <p:spPr bwMode="auto">
              <a:xfrm flipV="1">
                <a:off x="1165860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4" name="Right Triangle 213"/>
              <p:cNvSpPr/>
              <p:nvPr>
                <p:custDataLst>
                  <p:tags r:id="rId46"/>
                </p:custDataLst>
              </p:nvPr>
            </p:nvSpPr>
            <p:spPr bwMode="auto">
              <a:xfrm>
                <a:off x="1165860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5" name="Right Triangle 214"/>
              <p:cNvSpPr/>
              <p:nvPr>
                <p:custDataLst>
                  <p:tags r:id="rId47"/>
                </p:custDataLst>
              </p:nvPr>
            </p:nvSpPr>
            <p:spPr bwMode="auto">
              <a:xfrm flipH="1" flipV="1">
                <a:off x="1637823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6" name="Right Triangle 215"/>
              <p:cNvSpPr/>
              <p:nvPr>
                <p:custDataLst>
                  <p:tags r:id="rId48"/>
                </p:custDataLst>
              </p:nvPr>
            </p:nvSpPr>
            <p:spPr bwMode="auto">
              <a:xfrm flipH="1">
                <a:off x="1637823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7" name="Rectangle 216"/>
              <p:cNvSpPr/>
              <p:nvPr>
                <p:custDataLst>
                  <p:tags r:id="rId49"/>
                </p:custDataLst>
              </p:nvPr>
            </p:nvSpPr>
            <p:spPr bwMode="auto">
              <a:xfrm rot="16200000">
                <a:off x="1404403" y="4260853"/>
                <a:ext cx="131290" cy="608377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8" name="Rectangle 217"/>
              <p:cNvSpPr/>
              <p:nvPr>
                <p:custDataLst>
                  <p:tags r:id="rId50"/>
                </p:custDataLst>
              </p:nvPr>
            </p:nvSpPr>
            <p:spPr bwMode="auto">
              <a:xfrm rot="16200000">
                <a:off x="1433443" y="4259013"/>
                <a:ext cx="73211" cy="608377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9" name="Rectangle 218"/>
              <p:cNvSpPr/>
              <p:nvPr>
                <p:custDataLst>
                  <p:tags r:id="rId51"/>
                </p:custDataLst>
              </p:nvPr>
            </p:nvSpPr>
            <p:spPr bwMode="auto">
              <a:xfrm>
                <a:off x="1441485" y="4374242"/>
                <a:ext cx="59714" cy="387306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sp>
          <p:nvSpPr>
            <p:cNvPr id="181" name="Rectangle 180"/>
            <p:cNvSpPr/>
            <p:nvPr/>
          </p:nvSpPr>
          <p:spPr bwMode="auto">
            <a:xfrm flipH="1">
              <a:off x="2680722" y="4369242"/>
              <a:ext cx="609600" cy="381142"/>
            </a:xfrm>
            <a:prstGeom prst="rect">
              <a:avLst/>
            </a:pr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20" name="Group 219"/>
          <p:cNvGrpSpPr>
            <a:grpSpLocks/>
          </p:cNvGrpSpPr>
          <p:nvPr/>
        </p:nvGrpSpPr>
        <p:grpSpPr>
          <a:xfrm>
            <a:off x="1600433" y="5964177"/>
            <a:ext cx="345996" cy="216674"/>
            <a:chOff x="1165860" y="1930718"/>
            <a:chExt cx="608400" cy="3809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1" name="Rectangle 220"/>
            <p:cNvSpPr/>
            <p:nvPr/>
          </p:nvSpPr>
          <p:spPr bwMode="auto">
            <a:xfrm>
              <a:off x="1165860" y="1930718"/>
              <a:ext cx="608400" cy="129063"/>
            </a:xfrm>
            <a:prstGeom prst="rect">
              <a:avLst/>
            </a:prstGeom>
            <a:solidFill>
              <a:schemeClr val="tx1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22" name="Rectangle 221"/>
            <p:cNvSpPr/>
            <p:nvPr/>
          </p:nvSpPr>
          <p:spPr bwMode="auto">
            <a:xfrm>
              <a:off x="1165860" y="2182654"/>
              <a:ext cx="608400" cy="129063"/>
            </a:xfrm>
            <a:prstGeom prst="rect">
              <a:avLst/>
            </a:prstGeom>
            <a:solidFill>
              <a:srgbClr val="FFDE08"/>
            </a:solidFill>
            <a:ln w="3175" cap="flat" cmpd="sng" algn="ctr">
              <a:solidFill>
                <a:srgbClr val="FFDE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23" name="Rectangle 222"/>
            <p:cNvSpPr/>
            <p:nvPr/>
          </p:nvSpPr>
          <p:spPr bwMode="auto">
            <a:xfrm>
              <a:off x="1165860" y="2056686"/>
              <a:ext cx="608400" cy="129063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24" name="Group 223"/>
          <p:cNvGrpSpPr>
            <a:grpSpLocks/>
          </p:cNvGrpSpPr>
          <p:nvPr/>
        </p:nvGrpSpPr>
        <p:grpSpPr>
          <a:xfrm>
            <a:off x="652103" y="5964177"/>
            <a:ext cx="359793" cy="205982"/>
            <a:chOff x="1165860" y="1930718"/>
            <a:chExt cx="608400" cy="3809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5" name="Rectangle 224"/>
            <p:cNvSpPr/>
            <p:nvPr/>
          </p:nvSpPr>
          <p:spPr bwMode="auto">
            <a:xfrm>
              <a:off x="1165860" y="1930718"/>
              <a:ext cx="608400" cy="129063"/>
            </a:xfrm>
            <a:prstGeom prst="rect">
              <a:avLst/>
            </a:prstGeom>
            <a:solidFill>
              <a:srgbClr val="AE1C28"/>
            </a:solidFill>
            <a:ln w="3175" cap="flat" cmpd="sng" algn="ctr">
              <a:solidFill>
                <a:srgbClr val="AE1C2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26" name="Rectangle 225"/>
            <p:cNvSpPr/>
            <p:nvPr/>
          </p:nvSpPr>
          <p:spPr bwMode="auto">
            <a:xfrm>
              <a:off x="1165860" y="2182654"/>
              <a:ext cx="608400" cy="129063"/>
            </a:xfrm>
            <a:prstGeom prst="rect">
              <a:avLst/>
            </a:prstGeom>
            <a:solidFill>
              <a:srgbClr val="21468B"/>
            </a:solidFill>
            <a:ln w="3175" cap="flat" cmpd="sng" algn="ctr">
              <a:solidFill>
                <a:srgbClr val="21468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27" name="Rectangle 226"/>
            <p:cNvSpPr/>
            <p:nvPr/>
          </p:nvSpPr>
          <p:spPr bwMode="auto">
            <a:xfrm>
              <a:off x="1165860" y="2056686"/>
              <a:ext cx="608400" cy="129063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28" name="Group 227"/>
          <p:cNvGrpSpPr>
            <a:grpSpLocks/>
          </p:cNvGrpSpPr>
          <p:nvPr/>
        </p:nvGrpSpPr>
        <p:grpSpPr>
          <a:xfrm>
            <a:off x="1602598" y="5630802"/>
            <a:ext cx="348288" cy="220972"/>
            <a:chOff x="2294111" y="2337677"/>
            <a:chExt cx="609600" cy="38338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9" name="Rectangle 228"/>
            <p:cNvSpPr/>
            <p:nvPr/>
          </p:nvSpPr>
          <p:spPr bwMode="auto">
            <a:xfrm>
              <a:off x="2294111" y="2338277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30" name="Rectangle 229"/>
            <p:cNvSpPr/>
            <p:nvPr/>
          </p:nvSpPr>
          <p:spPr bwMode="auto">
            <a:xfrm>
              <a:off x="2573669" y="2337678"/>
              <a:ext cx="330042" cy="144000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31" name="Rectangle 230"/>
            <p:cNvSpPr/>
            <p:nvPr/>
          </p:nvSpPr>
          <p:spPr bwMode="auto">
            <a:xfrm>
              <a:off x="2490563" y="2337677"/>
              <a:ext cx="55723" cy="381600"/>
            </a:xfrm>
            <a:prstGeom prst="rect">
              <a:avLst/>
            </a:prstGeom>
            <a:solidFill>
              <a:srgbClr val="002984"/>
            </a:solidFill>
            <a:ln w="3175" cap="flat" cmpd="sng" algn="ctr">
              <a:solidFill>
                <a:srgbClr val="0029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32" name="Rectangle 231"/>
            <p:cNvSpPr/>
            <p:nvPr/>
          </p:nvSpPr>
          <p:spPr bwMode="auto">
            <a:xfrm>
              <a:off x="2573669" y="2577059"/>
              <a:ext cx="330042" cy="144000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33" name="Rectangle 232"/>
            <p:cNvSpPr/>
            <p:nvPr/>
          </p:nvSpPr>
          <p:spPr bwMode="auto">
            <a:xfrm>
              <a:off x="2294111" y="2577708"/>
              <a:ext cx="169069" cy="143351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34" name="Rectangle 233"/>
            <p:cNvSpPr/>
            <p:nvPr/>
          </p:nvSpPr>
          <p:spPr bwMode="auto">
            <a:xfrm>
              <a:off x="2294111" y="2337678"/>
              <a:ext cx="169069" cy="143351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35" name="Rectangle 234"/>
            <p:cNvSpPr/>
            <p:nvPr/>
          </p:nvSpPr>
          <p:spPr bwMode="auto">
            <a:xfrm rot="16200000">
              <a:off x="2574766" y="2227106"/>
              <a:ext cx="47091" cy="608400"/>
            </a:xfrm>
            <a:prstGeom prst="rect">
              <a:avLst/>
            </a:prstGeom>
            <a:solidFill>
              <a:srgbClr val="002984"/>
            </a:solidFill>
            <a:ln w="3175" cap="flat" cmpd="sng" algn="ctr">
              <a:solidFill>
                <a:srgbClr val="0029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370552" y="6626150"/>
            <a:ext cx="288000" cy="123111"/>
          </a:xfrm>
        </p:spPr>
        <p:txBody>
          <a:bodyPr/>
          <a:lstStyle/>
          <a:p>
            <a:pPr>
              <a:defRPr/>
            </a:pPr>
            <a:fld id="{976C159F-270B-4884-AD34-0650DAF41DBF}" type="slidenum">
              <a:rPr lang="da-DK" smtClean="0"/>
              <a:pPr>
                <a:defRPr/>
              </a:pPr>
              <a:t>2</a:t>
            </a:fld>
            <a:endParaRPr lang="da-DK" dirty="0"/>
          </a:p>
        </p:txBody>
      </p:sp>
      <p:graphicFrame>
        <p:nvGraphicFramePr>
          <p:cNvPr id="11" name="Objec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26015360"/>
              </p:ext>
            </p:extLst>
          </p:nvPr>
        </p:nvGraphicFramePr>
        <p:xfrm>
          <a:off x="3922713" y="2325688"/>
          <a:ext cx="1993900" cy="1041400"/>
        </p:xfrm>
        <a:graphic>
          <a:graphicData uri="http://schemas.openxmlformats.org/presentationml/2006/ole">
            <p:oleObj spid="_x0000_s661605" name="Chart" r:id="rId106" imgW="1983960" imgH="1032840" progId="MSGraph.Chart.8">
              <p:embed followColorScheme="full"/>
            </p:oleObj>
          </a:graphicData>
        </a:graphic>
      </p:graphicFrame>
      <p:sp>
        <p:nvSpPr>
          <p:cNvPr id="237" name="Text Placeholder 1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818063" y="2808288"/>
            <a:ext cx="255588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182563" indent="-182563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5999106-F804-4B98-B123-14D98CD0A144}" type="datetime'''''''''''''''1''''''.''''''''''''''''''''''''''''''0'">
              <a:rPr lang="da-DK" altLang="en-US" b="1"/>
              <a:pPr marL="0" indent="0" algn="ctr">
                <a:spcBef>
                  <a:spcPct val="0"/>
                </a:spcBef>
                <a:buNone/>
              </a:pPr>
              <a:t>1.0</a:t>
            </a:fld>
            <a:endParaRPr lang="da-DK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5" name="TextBox 244"/>
          <p:cNvSpPr txBox="1"/>
          <p:nvPr/>
        </p:nvSpPr>
        <p:spPr>
          <a:xfrm>
            <a:off x="4094163" y="3579813"/>
            <a:ext cx="1714549" cy="1169823"/>
          </a:xfrm>
          <a:prstGeom prst="rect">
            <a:avLst/>
          </a:prstGeom>
          <a:noFill/>
          <a:ln>
            <a:noFill/>
          </a:ln>
        </p:spPr>
        <p:txBody>
          <a:bodyPr wrap="square" lIns="72000" rtlCol="0">
            <a:noAutofit/>
          </a:bodyPr>
          <a:lstStyle/>
          <a:p>
            <a:pPr marL="180975" lvl="1" indent="-180975">
              <a:spcAft>
                <a:spcPts val="0"/>
              </a:spcAft>
              <a:buSzPct val="100000"/>
              <a:buFont typeface="Wingdings" pitchFamily="2" charset="2"/>
              <a:buChar char="§"/>
              <a:tabLst>
                <a:tab pos="712788" algn="l"/>
              </a:tabLst>
            </a:pPr>
            <a:r>
              <a:rPr lang="da-DK" sz="1200" dirty="0" smtClean="0">
                <a:solidFill>
                  <a:prstClr val="black"/>
                </a:solidFill>
              </a:rPr>
              <a:t>Development, </a:t>
            </a:r>
            <a:r>
              <a:rPr lang="da-DK" sz="1200" dirty="0" err="1" smtClean="0">
                <a:solidFill>
                  <a:prstClr val="black"/>
                </a:solidFill>
              </a:rPr>
              <a:t>construction</a:t>
            </a:r>
            <a:r>
              <a:rPr lang="da-DK" sz="1200" dirty="0" smtClean="0">
                <a:solidFill>
                  <a:prstClr val="black"/>
                </a:solidFill>
              </a:rPr>
              <a:t> and operation of offshore </a:t>
            </a:r>
            <a:r>
              <a:rPr lang="da-DK" sz="1200" dirty="0" err="1" smtClean="0">
                <a:solidFill>
                  <a:prstClr val="black"/>
                </a:solidFill>
              </a:rPr>
              <a:t>wind</a:t>
            </a:r>
            <a:r>
              <a:rPr lang="da-DK" sz="1200" dirty="0" smtClean="0">
                <a:solidFill>
                  <a:prstClr val="black"/>
                </a:solidFill>
              </a:rPr>
              <a:t> farms</a:t>
            </a:r>
          </a:p>
          <a:p>
            <a:pPr marL="177800" indent="-1778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a-DK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Global </a:t>
            </a:r>
            <a:r>
              <a:rPr lang="da-DK" sz="1200" dirty="0" err="1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leadership</a:t>
            </a:r>
            <a:r>
              <a:rPr lang="da-DK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 position</a:t>
            </a:r>
          </a:p>
          <a:p>
            <a:pPr marL="177800" indent="-1778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a-DK" sz="1200" dirty="0" err="1" smtClean="0">
                <a:solidFill>
                  <a:prstClr val="black"/>
                </a:solidFill>
              </a:rPr>
              <a:t>Strong</a:t>
            </a:r>
            <a:r>
              <a:rPr lang="da-DK" sz="1200" dirty="0" smtClean="0">
                <a:solidFill>
                  <a:prstClr val="black"/>
                </a:solidFill>
              </a:rPr>
              <a:t> </a:t>
            </a:r>
            <a:r>
              <a:rPr lang="da-DK" sz="1200" dirty="0" err="1" smtClean="0">
                <a:solidFill>
                  <a:prstClr val="black"/>
                </a:solidFill>
              </a:rPr>
              <a:t>visibility</a:t>
            </a:r>
            <a:r>
              <a:rPr lang="da-DK" sz="1200" dirty="0" smtClean="0">
                <a:solidFill>
                  <a:prstClr val="black"/>
                </a:solidFill>
              </a:rPr>
              <a:t> on pipeline </a:t>
            </a:r>
            <a:r>
              <a:rPr lang="da-DK" sz="1200" dirty="0" err="1" smtClean="0">
                <a:solidFill>
                  <a:prstClr val="black"/>
                </a:solidFill>
              </a:rPr>
              <a:t>towards</a:t>
            </a:r>
            <a:r>
              <a:rPr lang="da-DK" sz="1200" dirty="0" smtClean="0">
                <a:solidFill>
                  <a:prstClr val="black"/>
                </a:solidFill>
              </a:rPr>
              <a:t> 2020</a:t>
            </a:r>
          </a:p>
          <a:p>
            <a:pPr marL="177800" indent="-1778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a-DK" sz="1200" dirty="0" err="1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Strong</a:t>
            </a:r>
            <a:r>
              <a:rPr lang="da-DK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da-DK" sz="1200" dirty="0" err="1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portfolio</a:t>
            </a:r>
            <a:r>
              <a:rPr lang="da-DK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 for post 2020</a:t>
            </a:r>
            <a:endParaRPr lang="da-DK" sz="1200" dirty="0">
              <a:solidFill>
                <a:prstClr val="black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46" name="Group 245"/>
          <p:cNvGrpSpPr/>
          <p:nvPr/>
        </p:nvGrpSpPr>
        <p:grpSpPr>
          <a:xfrm>
            <a:off x="4792663" y="5630802"/>
            <a:ext cx="346679" cy="216674"/>
            <a:chOff x="3260131" y="4980868"/>
            <a:chExt cx="609600" cy="381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7" name="Rectangle 246"/>
            <p:cNvSpPr/>
            <p:nvPr>
              <p:custDataLst>
                <p:tags r:id="rId31"/>
              </p:custDataLst>
            </p:nvPr>
          </p:nvSpPr>
          <p:spPr bwMode="auto">
            <a:xfrm>
              <a:off x="3260131" y="4980868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48" name="Rectangle 247"/>
            <p:cNvSpPr/>
            <p:nvPr>
              <p:custDataLst>
                <p:tags r:id="rId32"/>
              </p:custDataLst>
            </p:nvPr>
          </p:nvSpPr>
          <p:spPr bwMode="auto">
            <a:xfrm>
              <a:off x="3260131" y="4980868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49" name="Rectangle 248"/>
            <p:cNvSpPr/>
            <p:nvPr>
              <p:custDataLst>
                <p:tags r:id="rId33"/>
              </p:custDataLst>
            </p:nvPr>
          </p:nvSpPr>
          <p:spPr bwMode="auto">
            <a:xfrm>
              <a:off x="3544929" y="4980868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0" name="Rectangle 249"/>
            <p:cNvSpPr/>
            <p:nvPr>
              <p:custDataLst>
                <p:tags r:id="rId34"/>
              </p:custDataLst>
            </p:nvPr>
          </p:nvSpPr>
          <p:spPr bwMode="auto">
            <a:xfrm>
              <a:off x="3260131" y="5197561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1" name="Rectangle 250"/>
            <p:cNvSpPr/>
            <p:nvPr>
              <p:custDataLst>
                <p:tags r:id="rId35"/>
              </p:custDataLst>
            </p:nvPr>
          </p:nvSpPr>
          <p:spPr bwMode="auto">
            <a:xfrm>
              <a:off x="3544929" y="5197561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52" name="Group 251"/>
          <p:cNvGrpSpPr/>
          <p:nvPr/>
        </p:nvGrpSpPr>
        <p:grpSpPr>
          <a:xfrm>
            <a:off x="5281613" y="5629214"/>
            <a:ext cx="345996" cy="216674"/>
            <a:chOff x="1165860" y="1930718"/>
            <a:chExt cx="608400" cy="3809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3" name="Rectangle 252"/>
            <p:cNvSpPr/>
            <p:nvPr/>
          </p:nvSpPr>
          <p:spPr bwMode="auto">
            <a:xfrm>
              <a:off x="1165860" y="1930718"/>
              <a:ext cx="608400" cy="129063"/>
            </a:xfrm>
            <a:prstGeom prst="rect">
              <a:avLst/>
            </a:prstGeom>
            <a:solidFill>
              <a:schemeClr val="tx1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4" name="Rectangle 253"/>
            <p:cNvSpPr/>
            <p:nvPr/>
          </p:nvSpPr>
          <p:spPr bwMode="auto">
            <a:xfrm>
              <a:off x="1165860" y="2182654"/>
              <a:ext cx="608400" cy="129063"/>
            </a:xfrm>
            <a:prstGeom prst="rect">
              <a:avLst/>
            </a:prstGeom>
            <a:solidFill>
              <a:srgbClr val="FFDE08"/>
            </a:solidFill>
            <a:ln w="3175" cap="flat" cmpd="sng" algn="ctr">
              <a:solidFill>
                <a:srgbClr val="FFDE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55" name="Rectangle 254"/>
            <p:cNvSpPr/>
            <p:nvPr/>
          </p:nvSpPr>
          <p:spPr bwMode="auto">
            <a:xfrm>
              <a:off x="1165860" y="2056686"/>
              <a:ext cx="608400" cy="129063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56" name="Group 255"/>
          <p:cNvGrpSpPr/>
          <p:nvPr/>
        </p:nvGrpSpPr>
        <p:grpSpPr>
          <a:xfrm>
            <a:off x="4303713" y="5627627"/>
            <a:ext cx="346680" cy="220972"/>
            <a:chOff x="2680722" y="4368395"/>
            <a:chExt cx="609600" cy="388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57" name="Rectangle 256"/>
            <p:cNvSpPr/>
            <p:nvPr>
              <p:custDataLst>
                <p:tags r:id="rId15"/>
              </p:custDataLst>
            </p:nvPr>
          </p:nvSpPr>
          <p:spPr bwMode="auto">
            <a:xfrm>
              <a:off x="2680722" y="4368699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grpSp>
          <p:nvGrpSpPr>
            <p:cNvPr id="258" name="Group 257"/>
            <p:cNvGrpSpPr/>
            <p:nvPr/>
          </p:nvGrpSpPr>
          <p:grpSpPr>
            <a:xfrm>
              <a:off x="2681921" y="4368395"/>
              <a:ext cx="608401" cy="388555"/>
              <a:chOff x="1165859" y="4374242"/>
              <a:chExt cx="608401" cy="387306"/>
            </a:xfrm>
          </p:grpSpPr>
          <p:sp>
            <p:nvSpPr>
              <p:cNvPr id="260" name="Freeform 259"/>
              <p:cNvSpPr/>
              <p:nvPr>
                <p:custDataLst>
                  <p:tags r:id="rId16"/>
                </p:custDataLst>
              </p:nvPr>
            </p:nvSpPr>
            <p:spPr bwMode="auto">
              <a:xfrm>
                <a:off x="1165860" y="4374242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61" name="Freeform 260"/>
              <p:cNvSpPr/>
              <p:nvPr>
                <p:custDataLst>
                  <p:tags r:id="rId17"/>
                </p:custDataLst>
              </p:nvPr>
            </p:nvSpPr>
            <p:spPr bwMode="auto">
              <a:xfrm>
                <a:off x="1525414" y="4374242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62" name="Freeform 261"/>
              <p:cNvSpPr/>
              <p:nvPr>
                <p:custDataLst>
                  <p:tags r:id="rId18"/>
                </p:custDataLst>
              </p:nvPr>
            </p:nvSpPr>
            <p:spPr bwMode="auto">
              <a:xfrm flipH="1" flipV="1">
                <a:off x="1572440" y="4628233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63" name="Freeform 262"/>
              <p:cNvSpPr/>
              <p:nvPr>
                <p:custDataLst>
                  <p:tags r:id="rId19"/>
                </p:custDataLst>
              </p:nvPr>
            </p:nvSpPr>
            <p:spPr bwMode="auto">
              <a:xfrm flipH="1" flipV="1">
                <a:off x="1165860" y="4627006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64" name="Right Triangle 263"/>
              <p:cNvSpPr/>
              <p:nvPr>
                <p:custDataLst>
                  <p:tags r:id="rId20"/>
                </p:custDataLst>
              </p:nvPr>
            </p:nvSpPr>
            <p:spPr bwMode="auto">
              <a:xfrm flipH="1" flipV="1">
                <a:off x="1236399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65" name="Right Triangle 264"/>
              <p:cNvSpPr/>
              <p:nvPr>
                <p:custDataLst>
                  <p:tags r:id="rId21"/>
                </p:custDataLst>
              </p:nvPr>
            </p:nvSpPr>
            <p:spPr bwMode="auto">
              <a:xfrm flipV="1">
                <a:off x="1522475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66" name="Right Triangle 265"/>
              <p:cNvSpPr/>
              <p:nvPr>
                <p:custDataLst>
                  <p:tags r:id="rId22"/>
                </p:custDataLst>
              </p:nvPr>
            </p:nvSpPr>
            <p:spPr bwMode="auto">
              <a:xfrm flipH="1">
                <a:off x="1236398" y="4636822"/>
                <a:ext cx="185165" cy="118177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67" name="Right Triangle 266"/>
              <p:cNvSpPr/>
              <p:nvPr>
                <p:custDataLst>
                  <p:tags r:id="rId23"/>
                </p:custDataLst>
              </p:nvPr>
            </p:nvSpPr>
            <p:spPr bwMode="auto">
              <a:xfrm>
                <a:off x="1522475" y="464498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68" name="Right Triangle 267"/>
              <p:cNvSpPr/>
              <p:nvPr>
                <p:custDataLst>
                  <p:tags r:id="rId24"/>
                </p:custDataLst>
              </p:nvPr>
            </p:nvSpPr>
            <p:spPr bwMode="auto">
              <a:xfrm flipV="1">
                <a:off x="1165860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69" name="Right Triangle 268"/>
              <p:cNvSpPr/>
              <p:nvPr>
                <p:custDataLst>
                  <p:tags r:id="rId25"/>
                </p:custDataLst>
              </p:nvPr>
            </p:nvSpPr>
            <p:spPr bwMode="auto">
              <a:xfrm>
                <a:off x="1165860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70" name="Right Triangle 269"/>
              <p:cNvSpPr/>
              <p:nvPr>
                <p:custDataLst>
                  <p:tags r:id="rId26"/>
                </p:custDataLst>
              </p:nvPr>
            </p:nvSpPr>
            <p:spPr bwMode="auto">
              <a:xfrm flipH="1" flipV="1">
                <a:off x="1637823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71" name="Right Triangle 270"/>
              <p:cNvSpPr/>
              <p:nvPr>
                <p:custDataLst>
                  <p:tags r:id="rId27"/>
                </p:custDataLst>
              </p:nvPr>
            </p:nvSpPr>
            <p:spPr bwMode="auto">
              <a:xfrm flipH="1">
                <a:off x="1637823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72" name="Rectangle 271"/>
              <p:cNvSpPr/>
              <p:nvPr>
                <p:custDataLst>
                  <p:tags r:id="rId28"/>
                </p:custDataLst>
              </p:nvPr>
            </p:nvSpPr>
            <p:spPr bwMode="auto">
              <a:xfrm rot="16200000">
                <a:off x="1404403" y="4260853"/>
                <a:ext cx="131290" cy="608377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73" name="Rectangle 272"/>
              <p:cNvSpPr/>
              <p:nvPr>
                <p:custDataLst>
                  <p:tags r:id="rId29"/>
                </p:custDataLst>
              </p:nvPr>
            </p:nvSpPr>
            <p:spPr bwMode="auto">
              <a:xfrm rot="16200000">
                <a:off x="1433443" y="4259013"/>
                <a:ext cx="73211" cy="608377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74" name="Rectangle 273"/>
              <p:cNvSpPr/>
              <p:nvPr>
                <p:custDataLst>
                  <p:tags r:id="rId30"/>
                </p:custDataLst>
              </p:nvPr>
            </p:nvSpPr>
            <p:spPr bwMode="auto">
              <a:xfrm>
                <a:off x="1441485" y="4374242"/>
                <a:ext cx="59714" cy="387306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graphicFrame>
        <p:nvGraphicFramePr>
          <p:cNvPr id="22" name="Objec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181450"/>
              </p:ext>
            </p:extLst>
          </p:nvPr>
        </p:nvGraphicFramePr>
        <p:xfrm>
          <a:off x="7618413" y="2325688"/>
          <a:ext cx="1993900" cy="1041400"/>
        </p:xfrm>
        <a:graphic>
          <a:graphicData uri="http://schemas.openxmlformats.org/presentationml/2006/ole">
            <p:oleObj spid="_x0000_s661606" name="Chart" r:id="rId107" imgW="1983960" imgH="1032840" progId="MSGraph.Chart.8">
              <p:embed followColorScheme="full"/>
            </p:oleObj>
          </a:graphicData>
        </a:graphic>
      </p:graphicFrame>
      <p:sp>
        <p:nvSpPr>
          <p:cNvPr id="23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524875" y="3044825"/>
            <a:ext cx="255588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182563" indent="-182563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5CF434D-1F46-486D-B45F-5B353C770B0A}" type="datetime'''''''''''0''.''''''''''''''''''''1'''">
              <a:rPr lang="da-DK" altLang="en-US" b="1"/>
              <a:pPr marL="0" indent="0" algn="ctr">
                <a:spcBef>
                  <a:spcPct val="0"/>
                </a:spcBef>
                <a:buNone/>
              </a:pPr>
              <a:t>0.1</a:t>
            </a:fld>
            <a:endParaRPr lang="da-DK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8" name="TextBox 277"/>
          <p:cNvSpPr txBox="1"/>
          <p:nvPr/>
        </p:nvSpPr>
        <p:spPr>
          <a:xfrm>
            <a:off x="7786687" y="3579813"/>
            <a:ext cx="1720389" cy="1169821"/>
          </a:xfrm>
          <a:prstGeom prst="rect">
            <a:avLst/>
          </a:prstGeom>
          <a:noFill/>
          <a:ln>
            <a:noFill/>
          </a:ln>
        </p:spPr>
        <p:txBody>
          <a:bodyPr wrap="square" lIns="72000" rtlCol="0">
            <a:noAutofit/>
          </a:bodyPr>
          <a:lstStyle/>
          <a:p>
            <a:pPr marL="177800" lvl="1" indent="-1778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a-DK" sz="1200" dirty="0" err="1" smtClean="0">
                <a:solidFill>
                  <a:prstClr val="black"/>
                </a:solidFill>
              </a:rPr>
              <a:t>Electricity</a:t>
            </a:r>
            <a:r>
              <a:rPr lang="da-DK" sz="1200" dirty="0" smtClean="0">
                <a:solidFill>
                  <a:prstClr val="black"/>
                </a:solidFill>
              </a:rPr>
              <a:t> and heat generation from power stations</a:t>
            </a:r>
            <a:endParaRPr lang="da-DK" sz="1200" dirty="0" smtClean="0">
              <a:solidFill>
                <a:prstClr val="black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177800" lvl="1" indent="-1778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da-DK" sz="1200" dirty="0" err="1" smtClean="0">
                <a:solidFill>
                  <a:prstClr val="black"/>
                </a:solidFill>
              </a:rPr>
              <a:t>Leading</a:t>
            </a:r>
            <a:r>
              <a:rPr lang="da-DK" sz="1200" dirty="0" smtClean="0">
                <a:solidFill>
                  <a:prstClr val="black"/>
                </a:solidFill>
              </a:rPr>
              <a:t> Danish power generator, ~4</a:t>
            </a:r>
            <a:r>
              <a:rPr lang="da-DK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4% of </a:t>
            </a:r>
            <a:r>
              <a:rPr lang="da-DK" sz="1200" dirty="0" err="1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thermal</a:t>
            </a:r>
            <a:r>
              <a:rPr lang="da-DK" sz="1200" dirty="0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da-DK" sz="1200" dirty="0" err="1" smtClean="0">
                <a:solidFill>
                  <a:prstClr val="black"/>
                </a:solidFill>
                <a:ea typeface="Arial Unicode MS" pitchFamily="34" charset="-128"/>
                <a:cs typeface="Arial Unicode MS" pitchFamily="34" charset="-128"/>
              </a:rPr>
              <a:t>capacity</a:t>
            </a:r>
            <a:endParaRPr lang="da-DK" sz="1200" dirty="0" smtClean="0">
              <a:solidFill>
                <a:prstClr val="black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180975" lvl="1" indent="-180975">
              <a:spcAft>
                <a:spcPts val="600"/>
              </a:spcAft>
              <a:buSzPct val="100000"/>
              <a:buFont typeface="Wingdings" pitchFamily="2" charset="2"/>
              <a:buChar char="§"/>
              <a:tabLst>
                <a:tab pos="712788" algn="l"/>
              </a:tabLst>
            </a:pPr>
            <a:r>
              <a:rPr lang="da-DK" sz="1200" dirty="0" err="1" smtClean="0">
                <a:solidFill>
                  <a:prstClr val="black"/>
                </a:solidFill>
              </a:rPr>
              <a:t>Replacing</a:t>
            </a:r>
            <a:r>
              <a:rPr lang="da-DK" sz="1200" dirty="0" smtClean="0">
                <a:solidFill>
                  <a:prstClr val="black"/>
                </a:solidFill>
              </a:rPr>
              <a:t> </a:t>
            </a:r>
            <a:r>
              <a:rPr lang="da-DK" sz="1200" dirty="0" err="1" smtClean="0">
                <a:solidFill>
                  <a:prstClr val="black"/>
                </a:solidFill>
              </a:rPr>
              <a:t>coal</a:t>
            </a:r>
            <a:r>
              <a:rPr lang="da-DK" sz="1200" dirty="0" smtClean="0">
                <a:solidFill>
                  <a:prstClr val="black"/>
                </a:solidFill>
              </a:rPr>
              <a:t> and gas with </a:t>
            </a:r>
            <a:r>
              <a:rPr lang="da-DK" sz="1200" dirty="0" err="1" smtClean="0">
                <a:solidFill>
                  <a:prstClr val="black"/>
                </a:solidFill>
              </a:rPr>
              <a:t>biomass</a:t>
            </a:r>
            <a:r>
              <a:rPr lang="da-DK" sz="1200" dirty="0" smtClean="0">
                <a:solidFill>
                  <a:prstClr val="black"/>
                </a:solidFill>
              </a:rPr>
              <a:t> in Danish </a:t>
            </a:r>
            <a:r>
              <a:rPr lang="da-DK" sz="1200" dirty="0" err="1" smtClean="0">
                <a:solidFill>
                  <a:prstClr val="black"/>
                </a:solidFill>
              </a:rPr>
              <a:t>plants</a:t>
            </a:r>
            <a:endParaRPr lang="da-DK" sz="1200" dirty="0">
              <a:solidFill>
                <a:prstClr val="black"/>
              </a:solidFill>
            </a:endParaRPr>
          </a:p>
        </p:txBody>
      </p:sp>
      <p:grpSp>
        <p:nvGrpSpPr>
          <p:cNvPr id="279" name="Group 278"/>
          <p:cNvGrpSpPr/>
          <p:nvPr/>
        </p:nvGrpSpPr>
        <p:grpSpPr>
          <a:xfrm>
            <a:off x="7904163" y="5629214"/>
            <a:ext cx="352420" cy="220973"/>
            <a:chOff x="3260131" y="4980868"/>
            <a:chExt cx="609600" cy="381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80" name="Rectangle 279"/>
            <p:cNvSpPr/>
            <p:nvPr>
              <p:custDataLst>
                <p:tags r:id="rId10"/>
              </p:custDataLst>
            </p:nvPr>
          </p:nvSpPr>
          <p:spPr bwMode="auto">
            <a:xfrm>
              <a:off x="3260131" y="4980868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81" name="Rectangle 280"/>
            <p:cNvSpPr/>
            <p:nvPr>
              <p:custDataLst>
                <p:tags r:id="rId11"/>
              </p:custDataLst>
            </p:nvPr>
          </p:nvSpPr>
          <p:spPr bwMode="auto">
            <a:xfrm>
              <a:off x="3260131" y="4980868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82" name="Rectangle 281"/>
            <p:cNvSpPr/>
            <p:nvPr>
              <p:custDataLst>
                <p:tags r:id="rId12"/>
              </p:custDataLst>
            </p:nvPr>
          </p:nvSpPr>
          <p:spPr bwMode="auto">
            <a:xfrm>
              <a:off x="3544929" y="4980868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83" name="Rectangle 282"/>
            <p:cNvSpPr/>
            <p:nvPr>
              <p:custDataLst>
                <p:tags r:id="rId13"/>
              </p:custDataLst>
            </p:nvPr>
          </p:nvSpPr>
          <p:spPr bwMode="auto">
            <a:xfrm>
              <a:off x="3260131" y="5197561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84" name="Rectangle 283"/>
            <p:cNvSpPr/>
            <p:nvPr>
              <p:custDataLst>
                <p:tags r:id="rId14"/>
              </p:custDataLst>
            </p:nvPr>
          </p:nvSpPr>
          <p:spPr bwMode="auto">
            <a:xfrm>
              <a:off x="3544929" y="5197561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grpSp>
        <p:nvGrpSpPr>
          <p:cNvPr id="285" name="Group 284"/>
          <p:cNvGrpSpPr/>
          <p:nvPr/>
        </p:nvGrpSpPr>
        <p:grpSpPr>
          <a:xfrm>
            <a:off x="8364538" y="5629214"/>
            <a:ext cx="359793" cy="205982"/>
            <a:chOff x="1165860" y="1930718"/>
            <a:chExt cx="608400" cy="3809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86" name="Rectangle 285"/>
            <p:cNvSpPr/>
            <p:nvPr/>
          </p:nvSpPr>
          <p:spPr bwMode="auto">
            <a:xfrm>
              <a:off x="1165860" y="1930718"/>
              <a:ext cx="608400" cy="129063"/>
            </a:xfrm>
            <a:prstGeom prst="rect">
              <a:avLst/>
            </a:prstGeom>
            <a:solidFill>
              <a:srgbClr val="AE1C28"/>
            </a:solidFill>
            <a:ln w="3175" cap="flat" cmpd="sng" algn="ctr">
              <a:solidFill>
                <a:srgbClr val="AE1C2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87" name="Rectangle 286"/>
            <p:cNvSpPr/>
            <p:nvPr/>
          </p:nvSpPr>
          <p:spPr bwMode="auto">
            <a:xfrm>
              <a:off x="1165860" y="2182654"/>
              <a:ext cx="608400" cy="129063"/>
            </a:xfrm>
            <a:prstGeom prst="rect">
              <a:avLst/>
            </a:prstGeom>
            <a:solidFill>
              <a:srgbClr val="21468B"/>
            </a:solidFill>
            <a:ln w="3175" cap="flat" cmpd="sng" algn="ctr">
              <a:solidFill>
                <a:srgbClr val="21468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288" name="Rectangle 287"/>
            <p:cNvSpPr/>
            <p:nvPr/>
          </p:nvSpPr>
          <p:spPr bwMode="auto">
            <a:xfrm>
              <a:off x="1165860" y="2056686"/>
              <a:ext cx="608400" cy="129063"/>
            </a:xfrm>
            <a:prstGeom prst="rect">
              <a:avLst/>
            </a:prstGeom>
            <a:solidFill>
              <a:srgbClr val="FFFFFF"/>
            </a:solidFill>
            <a:ln w="31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10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44263" y="1550988"/>
            <a:ext cx="1716261" cy="90847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0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639" b="5072"/>
          <a:stretch/>
        </p:blipFill>
        <p:spPr>
          <a:xfrm>
            <a:off x="4094163" y="1547813"/>
            <a:ext cx="1714549" cy="9105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807" t="16851" r="5317" b="9577"/>
          <a:stretch/>
        </p:blipFill>
        <p:spPr>
          <a:xfrm>
            <a:off x="5940425" y="1549400"/>
            <a:ext cx="1720783" cy="9108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688" b="22831"/>
          <a:stretch/>
        </p:blipFill>
        <p:spPr>
          <a:xfrm>
            <a:off x="7795967" y="1547813"/>
            <a:ext cx="1711109" cy="910753"/>
          </a:xfrm>
          <a:prstGeom prst="rect">
            <a:avLst/>
          </a:prstGeom>
        </p:spPr>
      </p:pic>
      <p:sp>
        <p:nvSpPr>
          <p:cNvPr id="10" name="Rectangle 9"/>
          <p:cNvSpPr/>
          <p:nvPr>
            <p:custDataLst>
              <p:tags r:id="rId8"/>
            </p:custDataLst>
          </p:nvPr>
        </p:nvSpPr>
        <p:spPr bwMode="auto">
          <a:xfrm>
            <a:off x="7997825" y="990600"/>
            <a:ext cx="179388" cy="133350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da-DK" sz="1000" b="1" dirty="0" smtClean="0">
              <a:solidFill>
                <a:schemeClr val="tx1"/>
              </a:solidFill>
            </a:endParaRPr>
          </a:p>
        </p:txBody>
      </p:sp>
      <p:sp>
        <p:nvSpPr>
          <p:cNvPr id="241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228013" y="987425"/>
            <a:ext cx="1249363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3400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15963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58CCE94-9140-4854-A836-0C7671C61F7F}" type="datetime'EBIT''D''''''''''''''A'' ''2''0''15'' US''''D'' ''''b''''''n'">
              <a:rPr lang="en-US" altLang="en-US">
                <a:cs typeface="+mn-cs"/>
              </a:rPr>
              <a:pPr>
                <a:spcBef>
                  <a:spcPct val="0"/>
                </a:spcBef>
              </a:pPr>
              <a:t>EBITDA 2015 USD bn</a:t>
            </a:fld>
            <a:endParaRPr lang="da-DK" dirty="0">
              <a:cs typeface="+mn-cs"/>
              <a:sym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52103" y="6559420"/>
            <a:ext cx="64376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800" dirty="0" smtClean="0"/>
              <a:t>Exchange rate used: 1 DKK = 0.15 USD</a:t>
            </a:r>
          </a:p>
        </p:txBody>
      </p:sp>
    </p:spTree>
    <p:extLst>
      <p:ext uri="{BB962C8B-B14F-4D97-AF65-F5344CB8AC3E}">
        <p14:creationId xmlns:p14="http://schemas.microsoft.com/office/powerpoint/2010/main" xmlns="" val="2617210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265354089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p:oleObj spid="_x0000_s621847" name="think-cell Slide" r:id="rId24" imgW="360" imgH="360" progId="">
              <p:embed/>
            </p:oleObj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GB" sz="1000" dirty="0">
              <a:solidFill>
                <a:schemeClr val="bg1"/>
              </a:solidFill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2401" y="338400"/>
            <a:ext cx="8754876" cy="354296"/>
          </a:xfrm>
        </p:spPr>
        <p:txBody>
          <a:bodyPr/>
          <a:lstStyle/>
          <a:p>
            <a:r>
              <a:rPr lang="en-GB" dirty="0" smtClean="0"/>
              <a:t>DONG Energy Wind Power</a:t>
            </a:r>
            <a:endParaRPr lang="en-GB" dirty="0"/>
          </a:p>
        </p:txBody>
      </p:sp>
      <p:sp>
        <p:nvSpPr>
          <p:cNvPr id="17" name="Content Placeholder 6"/>
          <p:cNvSpPr>
            <a:spLocks noGrp="1"/>
          </p:cNvSpPr>
          <p:nvPr>
            <p:ph type="body" sz="quarter" idx="11"/>
          </p:nvPr>
        </p:nvSpPr>
        <p:spPr>
          <a:xfrm>
            <a:off x="703670" y="2174926"/>
            <a:ext cx="4921880" cy="3198290"/>
          </a:xfrm>
          <a:prstGeom prst="rect">
            <a:avLst/>
          </a:prstGeom>
        </p:spPr>
        <p:txBody>
          <a:bodyPr/>
          <a:lstStyle/>
          <a:p>
            <a:pPr marL="0" indent="0">
              <a:buSzPct val="80000"/>
              <a:buNone/>
            </a:pPr>
            <a:r>
              <a:rPr lang="en-GB" sz="1400" b="1" dirty="0"/>
              <a:t>CORE BUSINESS</a:t>
            </a:r>
          </a:p>
          <a:p>
            <a:pPr>
              <a:buSzPct val="80000"/>
            </a:pPr>
            <a:r>
              <a:rPr lang="en-GB" sz="1400" dirty="0"/>
              <a:t>Development, construction and operation of offshore wind</a:t>
            </a:r>
          </a:p>
          <a:p>
            <a:pPr>
              <a:buSzPct val="80000"/>
            </a:pPr>
            <a:r>
              <a:rPr lang="en-GB" sz="1400" dirty="0"/>
              <a:t>Approx. </a:t>
            </a:r>
            <a:r>
              <a:rPr lang="en-GB" sz="1400" b="1" dirty="0" smtClean="0">
                <a:solidFill>
                  <a:schemeClr val="accent1">
                    <a:lumMod val="75000"/>
                  </a:schemeClr>
                </a:solidFill>
              </a:rPr>
              <a:t>2,350 </a:t>
            </a: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employees dedicated to offshore wind</a:t>
            </a:r>
          </a:p>
          <a:p>
            <a:pPr>
              <a:buSzPct val="80000"/>
            </a:pP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Over 20 years </a:t>
            </a:r>
            <a:r>
              <a:rPr lang="en-GB" sz="1400" dirty="0"/>
              <a:t>of </a:t>
            </a:r>
            <a:r>
              <a:rPr lang="en-GB" sz="1400" dirty="0" smtClean="0"/>
              <a:t>experience</a:t>
            </a:r>
          </a:p>
          <a:p>
            <a:pPr marL="0" indent="0">
              <a:buSzPct val="80000"/>
              <a:buNone/>
            </a:pPr>
            <a:endParaRPr lang="en-GB" sz="1400" dirty="0"/>
          </a:p>
          <a:p>
            <a:pPr marL="0" indent="0">
              <a:buSzPct val="80000"/>
              <a:buNone/>
            </a:pPr>
            <a:r>
              <a:rPr lang="en-GB" sz="1400" b="1" dirty="0"/>
              <a:t>MARKET POSITION</a:t>
            </a:r>
          </a:p>
          <a:p>
            <a:pPr>
              <a:buSzPct val="80000"/>
            </a:pP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Global market-leader </a:t>
            </a:r>
            <a:endParaRPr lang="en-GB" sz="1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SzPct val="80000"/>
            </a:pPr>
            <a:r>
              <a:rPr lang="en-GB" sz="1400" dirty="0" smtClean="0"/>
              <a:t>Has</a:t>
            </a:r>
            <a:r>
              <a:rPr lang="en-GB" sz="14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sz="1400" dirty="0"/>
              <a:t>c</a:t>
            </a:r>
            <a:r>
              <a:rPr lang="en-GB" sz="1400" dirty="0" smtClean="0"/>
              <a:t>onstructed </a:t>
            </a: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over </a:t>
            </a:r>
            <a:r>
              <a:rPr lang="en-GB" sz="1400" b="1" dirty="0" smtClean="0">
                <a:solidFill>
                  <a:schemeClr val="accent1">
                    <a:lumMod val="75000"/>
                  </a:schemeClr>
                </a:solidFill>
              </a:rPr>
              <a:t>26% </a:t>
            </a:r>
            <a:r>
              <a:rPr lang="en-GB" sz="1400" dirty="0"/>
              <a:t>of g</a:t>
            </a:r>
            <a:r>
              <a:rPr lang="en-GB" sz="1400" dirty="0" smtClean="0"/>
              <a:t>lobal </a:t>
            </a:r>
            <a:r>
              <a:rPr lang="en-GB" sz="1400" dirty="0"/>
              <a:t>offshore wind capacity</a:t>
            </a:r>
          </a:p>
          <a:p>
            <a:pPr>
              <a:buSzPct val="80000"/>
            </a:pPr>
            <a:r>
              <a:rPr lang="en-GB" sz="1400" b="1" dirty="0" smtClean="0">
                <a:solidFill>
                  <a:schemeClr val="accent1">
                    <a:lumMod val="75000"/>
                  </a:schemeClr>
                </a:solidFill>
              </a:rPr>
              <a:t>17 </a:t>
            </a: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projects </a:t>
            </a:r>
            <a:r>
              <a:rPr lang="en-GB" sz="1400" dirty="0"/>
              <a:t>under operation (3GW)</a:t>
            </a:r>
          </a:p>
          <a:p>
            <a:pPr>
              <a:buSzPct val="80000"/>
            </a:pP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5</a:t>
            </a:r>
            <a:r>
              <a:rPr lang="en-GB" sz="14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projects </a:t>
            </a:r>
            <a:r>
              <a:rPr lang="en-GB" sz="1400" dirty="0"/>
              <a:t>under construction </a:t>
            </a:r>
            <a:r>
              <a:rPr lang="en-GB" sz="1400" dirty="0" smtClean="0"/>
              <a:t>(3.3GW</a:t>
            </a:r>
            <a:r>
              <a:rPr lang="en-GB" sz="1400" dirty="0"/>
              <a:t>)</a:t>
            </a:r>
          </a:p>
          <a:p>
            <a:pPr>
              <a:buSzPct val="80000"/>
            </a:pPr>
            <a:r>
              <a:rPr lang="en-GB" sz="1400" b="1" dirty="0" smtClean="0">
                <a:solidFill>
                  <a:schemeClr val="accent1">
                    <a:lumMod val="75000"/>
                  </a:schemeClr>
                </a:solidFill>
              </a:rPr>
              <a:t>11 </a:t>
            </a: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projects </a:t>
            </a:r>
            <a:r>
              <a:rPr lang="en-GB" sz="1400" dirty="0"/>
              <a:t>under development </a:t>
            </a:r>
            <a:r>
              <a:rPr lang="en-GB" sz="1400" dirty="0" smtClean="0"/>
              <a:t>(&gt;5GW)</a:t>
            </a:r>
          </a:p>
          <a:p>
            <a:pPr>
              <a:buSzPct val="80000"/>
            </a:pPr>
            <a:r>
              <a:rPr lang="en-GB" sz="1400" b="1" dirty="0" smtClean="0">
                <a:solidFill>
                  <a:schemeClr val="accent1">
                    <a:lumMod val="75000"/>
                  </a:schemeClr>
                </a:solidFill>
              </a:rPr>
              <a:t>On track </a:t>
            </a:r>
            <a:r>
              <a:rPr lang="en-GB" sz="1400" dirty="0" smtClean="0"/>
              <a:t>to meet 2020 target of 6.5GW installed</a:t>
            </a:r>
            <a:endParaRPr lang="en-GB" sz="1400" dirty="0"/>
          </a:p>
          <a:p>
            <a:pPr>
              <a:buSzPct val="80000"/>
            </a:pPr>
            <a:endParaRPr lang="en-GB" sz="1400" dirty="0"/>
          </a:p>
          <a:p>
            <a:pPr>
              <a:buSzPct val="80000"/>
            </a:pPr>
            <a:endParaRPr lang="en-GB" sz="1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grpSp>
        <p:nvGrpSpPr>
          <p:cNvPr id="4" name="Group 3"/>
          <p:cNvGrpSpPr>
            <a:grpSpLocks/>
          </p:cNvGrpSpPr>
          <p:nvPr/>
        </p:nvGrpSpPr>
        <p:grpSpPr>
          <a:xfrm>
            <a:off x="703670" y="1268761"/>
            <a:ext cx="2003101" cy="713841"/>
            <a:chOff x="3452400" y="1213200"/>
            <a:chExt cx="2170026" cy="713841"/>
          </a:xfrm>
        </p:grpSpPr>
        <p:sp>
          <p:nvSpPr>
            <p:cNvPr id="14" name="Content Placeholder 6"/>
            <p:cNvSpPr txBox="1">
              <a:spLocks/>
            </p:cNvSpPr>
            <p:nvPr/>
          </p:nvSpPr>
          <p:spPr bwMode="auto">
            <a:xfrm>
              <a:off x="4139547" y="1477856"/>
              <a:ext cx="1482879" cy="449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182563" indent="-182563" algn="l" rtl="0" eaLnBrk="1" fontAlgn="base" hangingPunct="1">
                <a:spcBef>
                  <a:spcPts val="3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8775" indent="-174625" algn="l" rtl="0" eaLnBrk="1" fontAlgn="base" hangingPunct="1">
                <a:spcBef>
                  <a:spcPts val="300"/>
                </a:spcBef>
                <a:spcAft>
                  <a:spcPct val="0"/>
                </a:spcAft>
                <a:buSzPct val="80000"/>
                <a:buFont typeface="Arial" pitchFamily="34" charset="0"/>
                <a:buChar char="–"/>
                <a:defRPr sz="1200">
                  <a:solidFill>
                    <a:schemeClr val="tx1"/>
                  </a:solidFill>
                  <a:latin typeface="+mn-lt"/>
                </a:defRPr>
              </a:lvl2pPr>
              <a:lvl3pPr marL="538163" indent="-177800" algn="l" rtl="0" eaLnBrk="1" fontAlgn="base" hangingPunct="1">
                <a:spcBef>
                  <a:spcPts val="300"/>
                </a:spcBef>
                <a:spcAft>
                  <a:spcPct val="0"/>
                </a:spcAft>
                <a:buSzPct val="80000"/>
                <a:buFont typeface="Arial" pitchFamily="34" charset="0"/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3pPr>
              <a:lvl4pPr marL="725488" indent="-185738" algn="l" rtl="0" eaLnBrk="1" fontAlgn="base" hangingPunct="1">
                <a:spcBef>
                  <a:spcPts val="300"/>
                </a:spcBef>
                <a:spcAft>
                  <a:spcPct val="0"/>
                </a:spcAft>
                <a:buSzPct val="80000"/>
                <a:buFont typeface="Arial" pitchFamily="34" charset="0"/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4pPr>
              <a:lvl5pPr marL="887413" indent="-160338" algn="l" rtl="0" eaLnBrk="1" fontAlgn="base" hangingPunct="1">
                <a:spcBef>
                  <a:spcPts val="300"/>
                </a:spcBef>
                <a:spcAft>
                  <a:spcPct val="0"/>
                </a:spcAft>
                <a:buSzPct val="80000"/>
                <a:buFont typeface="Arial" pitchFamily="34" charset="0"/>
                <a:buChar char="·"/>
                <a:defRPr sz="1200">
                  <a:solidFill>
                    <a:schemeClr val="tx1"/>
                  </a:solidFill>
                  <a:latin typeface="+mn-lt"/>
                </a:defRPr>
              </a:lvl5pPr>
              <a:lvl6pPr marL="13446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8018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2590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716213" indent="-160338" algn="l" rtl="0" eaLnBrk="1" fontAlgn="base" hangingPunct="1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GB" sz="1000" kern="0" cap="all" dirty="0"/>
                <a:t>Wind </a:t>
              </a:r>
              <a:br>
                <a:rPr lang="en-GB" sz="1000" kern="0" cap="all" dirty="0"/>
              </a:br>
              <a:r>
                <a:rPr lang="en-GB" sz="1000" kern="0" cap="all" dirty="0"/>
                <a:t>power</a:t>
              </a:r>
            </a:p>
          </p:txBody>
        </p:sp>
        <p:grpSp>
          <p:nvGrpSpPr>
            <p:cNvPr id="13" name="Group 12"/>
            <p:cNvGrpSpPr>
              <a:grpSpLocks noChangeAspect="1"/>
            </p:cNvGrpSpPr>
            <p:nvPr/>
          </p:nvGrpSpPr>
          <p:grpSpPr>
            <a:xfrm>
              <a:off x="3452400" y="1213200"/>
              <a:ext cx="568800" cy="568800"/>
              <a:chOff x="5267325" y="2528888"/>
              <a:chExt cx="1800225" cy="1800225"/>
            </a:xfrm>
          </p:grpSpPr>
          <p:sp>
            <p:nvSpPr>
              <p:cNvPr id="15" name="Freeform 27"/>
              <p:cNvSpPr>
                <a:spLocks/>
              </p:cNvSpPr>
              <p:nvPr/>
            </p:nvSpPr>
            <p:spPr bwMode="auto">
              <a:xfrm>
                <a:off x="5267325" y="2528888"/>
                <a:ext cx="1800225" cy="1800225"/>
              </a:xfrm>
              <a:custGeom>
                <a:avLst/>
                <a:gdLst>
                  <a:gd name="T0" fmla="*/ 1134 w 1134"/>
                  <a:gd name="T1" fmla="*/ 1022 h 1134"/>
                  <a:gd name="T2" fmla="*/ 1134 w 1134"/>
                  <a:gd name="T3" fmla="*/ 1022 h 1134"/>
                  <a:gd name="T4" fmla="*/ 1132 w 1134"/>
                  <a:gd name="T5" fmla="*/ 1044 h 1134"/>
                  <a:gd name="T6" fmla="*/ 1126 w 1134"/>
                  <a:gd name="T7" fmla="*/ 1066 h 1134"/>
                  <a:gd name="T8" fmla="*/ 1116 w 1134"/>
                  <a:gd name="T9" fmla="*/ 1084 h 1134"/>
                  <a:gd name="T10" fmla="*/ 1102 w 1134"/>
                  <a:gd name="T11" fmla="*/ 1102 h 1134"/>
                  <a:gd name="T12" fmla="*/ 1084 w 1134"/>
                  <a:gd name="T13" fmla="*/ 1116 h 1134"/>
                  <a:gd name="T14" fmla="*/ 1066 w 1134"/>
                  <a:gd name="T15" fmla="*/ 1126 h 1134"/>
                  <a:gd name="T16" fmla="*/ 1044 w 1134"/>
                  <a:gd name="T17" fmla="*/ 1132 h 1134"/>
                  <a:gd name="T18" fmla="*/ 1022 w 1134"/>
                  <a:gd name="T19" fmla="*/ 1134 h 1134"/>
                  <a:gd name="T20" fmla="*/ 114 w 1134"/>
                  <a:gd name="T21" fmla="*/ 1134 h 1134"/>
                  <a:gd name="T22" fmla="*/ 114 w 1134"/>
                  <a:gd name="T23" fmla="*/ 1134 h 1134"/>
                  <a:gd name="T24" fmla="*/ 92 w 1134"/>
                  <a:gd name="T25" fmla="*/ 1132 h 1134"/>
                  <a:gd name="T26" fmla="*/ 70 w 1134"/>
                  <a:gd name="T27" fmla="*/ 1126 h 1134"/>
                  <a:gd name="T28" fmla="*/ 50 w 1134"/>
                  <a:gd name="T29" fmla="*/ 1116 h 1134"/>
                  <a:gd name="T30" fmla="*/ 34 w 1134"/>
                  <a:gd name="T31" fmla="*/ 1102 h 1134"/>
                  <a:gd name="T32" fmla="*/ 20 w 1134"/>
                  <a:gd name="T33" fmla="*/ 1084 h 1134"/>
                  <a:gd name="T34" fmla="*/ 10 w 1134"/>
                  <a:gd name="T35" fmla="*/ 1066 h 1134"/>
                  <a:gd name="T36" fmla="*/ 2 w 1134"/>
                  <a:gd name="T37" fmla="*/ 1044 h 1134"/>
                  <a:gd name="T38" fmla="*/ 0 w 1134"/>
                  <a:gd name="T39" fmla="*/ 1022 h 1134"/>
                  <a:gd name="T40" fmla="*/ 0 w 1134"/>
                  <a:gd name="T41" fmla="*/ 114 h 1134"/>
                  <a:gd name="T42" fmla="*/ 0 w 1134"/>
                  <a:gd name="T43" fmla="*/ 114 h 1134"/>
                  <a:gd name="T44" fmla="*/ 2 w 1134"/>
                  <a:gd name="T45" fmla="*/ 92 h 1134"/>
                  <a:gd name="T46" fmla="*/ 10 w 1134"/>
                  <a:gd name="T47" fmla="*/ 70 h 1134"/>
                  <a:gd name="T48" fmla="*/ 20 w 1134"/>
                  <a:gd name="T49" fmla="*/ 50 h 1134"/>
                  <a:gd name="T50" fmla="*/ 34 w 1134"/>
                  <a:gd name="T51" fmla="*/ 34 h 1134"/>
                  <a:gd name="T52" fmla="*/ 50 w 1134"/>
                  <a:gd name="T53" fmla="*/ 20 h 1134"/>
                  <a:gd name="T54" fmla="*/ 70 w 1134"/>
                  <a:gd name="T55" fmla="*/ 10 h 1134"/>
                  <a:gd name="T56" fmla="*/ 92 w 1134"/>
                  <a:gd name="T57" fmla="*/ 2 h 1134"/>
                  <a:gd name="T58" fmla="*/ 114 w 1134"/>
                  <a:gd name="T59" fmla="*/ 0 h 1134"/>
                  <a:gd name="T60" fmla="*/ 1022 w 1134"/>
                  <a:gd name="T61" fmla="*/ 0 h 1134"/>
                  <a:gd name="T62" fmla="*/ 1022 w 1134"/>
                  <a:gd name="T63" fmla="*/ 0 h 1134"/>
                  <a:gd name="T64" fmla="*/ 1044 w 1134"/>
                  <a:gd name="T65" fmla="*/ 2 h 1134"/>
                  <a:gd name="T66" fmla="*/ 1066 w 1134"/>
                  <a:gd name="T67" fmla="*/ 10 h 1134"/>
                  <a:gd name="T68" fmla="*/ 1084 w 1134"/>
                  <a:gd name="T69" fmla="*/ 20 h 1134"/>
                  <a:gd name="T70" fmla="*/ 1102 w 1134"/>
                  <a:gd name="T71" fmla="*/ 34 h 1134"/>
                  <a:gd name="T72" fmla="*/ 1116 w 1134"/>
                  <a:gd name="T73" fmla="*/ 50 h 1134"/>
                  <a:gd name="T74" fmla="*/ 1126 w 1134"/>
                  <a:gd name="T75" fmla="*/ 70 h 1134"/>
                  <a:gd name="T76" fmla="*/ 1132 w 1134"/>
                  <a:gd name="T77" fmla="*/ 92 h 1134"/>
                  <a:gd name="T78" fmla="*/ 1134 w 1134"/>
                  <a:gd name="T79" fmla="*/ 114 h 1134"/>
                  <a:gd name="T80" fmla="*/ 1134 w 1134"/>
                  <a:gd name="T81" fmla="*/ 1022 h 1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134" h="1134">
                    <a:moveTo>
                      <a:pt x="1134" y="1022"/>
                    </a:moveTo>
                    <a:lnTo>
                      <a:pt x="1134" y="1022"/>
                    </a:lnTo>
                    <a:lnTo>
                      <a:pt x="1132" y="1044"/>
                    </a:lnTo>
                    <a:lnTo>
                      <a:pt x="1126" y="1066"/>
                    </a:lnTo>
                    <a:lnTo>
                      <a:pt x="1116" y="1084"/>
                    </a:lnTo>
                    <a:lnTo>
                      <a:pt x="1102" y="1102"/>
                    </a:lnTo>
                    <a:lnTo>
                      <a:pt x="1084" y="1116"/>
                    </a:lnTo>
                    <a:lnTo>
                      <a:pt x="1066" y="1126"/>
                    </a:lnTo>
                    <a:lnTo>
                      <a:pt x="1044" y="1132"/>
                    </a:lnTo>
                    <a:lnTo>
                      <a:pt x="1022" y="1134"/>
                    </a:lnTo>
                    <a:lnTo>
                      <a:pt x="114" y="1134"/>
                    </a:lnTo>
                    <a:lnTo>
                      <a:pt x="114" y="1134"/>
                    </a:lnTo>
                    <a:lnTo>
                      <a:pt x="92" y="1132"/>
                    </a:lnTo>
                    <a:lnTo>
                      <a:pt x="70" y="1126"/>
                    </a:lnTo>
                    <a:lnTo>
                      <a:pt x="50" y="1116"/>
                    </a:lnTo>
                    <a:lnTo>
                      <a:pt x="34" y="1102"/>
                    </a:lnTo>
                    <a:lnTo>
                      <a:pt x="20" y="1084"/>
                    </a:lnTo>
                    <a:lnTo>
                      <a:pt x="10" y="1066"/>
                    </a:lnTo>
                    <a:lnTo>
                      <a:pt x="2" y="1044"/>
                    </a:lnTo>
                    <a:lnTo>
                      <a:pt x="0" y="1022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2" y="92"/>
                    </a:lnTo>
                    <a:lnTo>
                      <a:pt x="10" y="70"/>
                    </a:lnTo>
                    <a:lnTo>
                      <a:pt x="20" y="50"/>
                    </a:lnTo>
                    <a:lnTo>
                      <a:pt x="34" y="34"/>
                    </a:lnTo>
                    <a:lnTo>
                      <a:pt x="50" y="20"/>
                    </a:lnTo>
                    <a:lnTo>
                      <a:pt x="70" y="10"/>
                    </a:lnTo>
                    <a:lnTo>
                      <a:pt x="92" y="2"/>
                    </a:lnTo>
                    <a:lnTo>
                      <a:pt x="114" y="0"/>
                    </a:lnTo>
                    <a:lnTo>
                      <a:pt x="1022" y="0"/>
                    </a:lnTo>
                    <a:lnTo>
                      <a:pt x="1022" y="0"/>
                    </a:lnTo>
                    <a:lnTo>
                      <a:pt x="1044" y="2"/>
                    </a:lnTo>
                    <a:lnTo>
                      <a:pt x="1066" y="10"/>
                    </a:lnTo>
                    <a:lnTo>
                      <a:pt x="1084" y="20"/>
                    </a:lnTo>
                    <a:lnTo>
                      <a:pt x="1102" y="34"/>
                    </a:lnTo>
                    <a:lnTo>
                      <a:pt x="1116" y="50"/>
                    </a:lnTo>
                    <a:lnTo>
                      <a:pt x="1126" y="70"/>
                    </a:lnTo>
                    <a:lnTo>
                      <a:pt x="1132" y="92"/>
                    </a:lnTo>
                    <a:lnTo>
                      <a:pt x="1134" y="114"/>
                    </a:lnTo>
                    <a:lnTo>
                      <a:pt x="1134" y="1022"/>
                    </a:lnTo>
                    <a:close/>
                  </a:path>
                </a:pathLst>
              </a:custGeom>
              <a:solidFill>
                <a:srgbClr val="006E87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8" name="Freeform 28"/>
              <p:cNvSpPr>
                <a:spLocks/>
              </p:cNvSpPr>
              <p:nvPr/>
            </p:nvSpPr>
            <p:spPr bwMode="auto">
              <a:xfrm>
                <a:off x="5330825" y="2649538"/>
                <a:ext cx="1622425" cy="1679575"/>
              </a:xfrm>
              <a:custGeom>
                <a:avLst/>
                <a:gdLst>
                  <a:gd name="T0" fmla="*/ 1006 w 1022"/>
                  <a:gd name="T1" fmla="*/ 850 h 1058"/>
                  <a:gd name="T2" fmla="*/ 962 w 1022"/>
                  <a:gd name="T3" fmla="*/ 796 h 1058"/>
                  <a:gd name="T4" fmla="*/ 872 w 1022"/>
                  <a:gd name="T5" fmla="*/ 704 h 1058"/>
                  <a:gd name="T6" fmla="*/ 742 w 1022"/>
                  <a:gd name="T7" fmla="*/ 594 h 1058"/>
                  <a:gd name="T8" fmla="*/ 718 w 1022"/>
                  <a:gd name="T9" fmla="*/ 578 h 1058"/>
                  <a:gd name="T10" fmla="*/ 690 w 1022"/>
                  <a:gd name="T11" fmla="*/ 574 h 1058"/>
                  <a:gd name="T12" fmla="*/ 628 w 1022"/>
                  <a:gd name="T13" fmla="*/ 590 h 1058"/>
                  <a:gd name="T14" fmla="*/ 592 w 1022"/>
                  <a:gd name="T15" fmla="*/ 590 h 1058"/>
                  <a:gd name="T16" fmla="*/ 556 w 1022"/>
                  <a:gd name="T17" fmla="*/ 574 h 1058"/>
                  <a:gd name="T18" fmla="*/ 542 w 1022"/>
                  <a:gd name="T19" fmla="*/ 554 h 1058"/>
                  <a:gd name="T20" fmla="*/ 522 w 1022"/>
                  <a:gd name="T21" fmla="*/ 544 h 1058"/>
                  <a:gd name="T22" fmla="*/ 514 w 1022"/>
                  <a:gd name="T23" fmla="*/ 14 h 1058"/>
                  <a:gd name="T24" fmla="*/ 514 w 1022"/>
                  <a:gd name="T25" fmla="*/ 8 h 1058"/>
                  <a:gd name="T26" fmla="*/ 508 w 1022"/>
                  <a:gd name="T27" fmla="*/ 0 h 1058"/>
                  <a:gd name="T28" fmla="*/ 496 w 1022"/>
                  <a:gd name="T29" fmla="*/ 12 h 1058"/>
                  <a:gd name="T30" fmla="*/ 488 w 1022"/>
                  <a:gd name="T31" fmla="*/ 30 h 1058"/>
                  <a:gd name="T32" fmla="*/ 446 w 1022"/>
                  <a:gd name="T33" fmla="*/ 150 h 1058"/>
                  <a:gd name="T34" fmla="*/ 414 w 1022"/>
                  <a:gd name="T35" fmla="*/ 284 h 1058"/>
                  <a:gd name="T36" fmla="*/ 398 w 1022"/>
                  <a:gd name="T37" fmla="*/ 388 h 1058"/>
                  <a:gd name="T38" fmla="*/ 400 w 1022"/>
                  <a:gd name="T39" fmla="*/ 430 h 1058"/>
                  <a:gd name="T40" fmla="*/ 406 w 1022"/>
                  <a:gd name="T41" fmla="*/ 442 h 1058"/>
                  <a:gd name="T42" fmla="*/ 452 w 1022"/>
                  <a:gd name="T43" fmla="*/ 488 h 1058"/>
                  <a:gd name="T44" fmla="*/ 480 w 1022"/>
                  <a:gd name="T45" fmla="*/ 552 h 1058"/>
                  <a:gd name="T46" fmla="*/ 468 w 1022"/>
                  <a:gd name="T47" fmla="*/ 568 h 1058"/>
                  <a:gd name="T48" fmla="*/ 462 w 1022"/>
                  <a:gd name="T49" fmla="*/ 590 h 1058"/>
                  <a:gd name="T50" fmla="*/ 468 w 1022"/>
                  <a:gd name="T51" fmla="*/ 610 h 1058"/>
                  <a:gd name="T52" fmla="*/ 4 w 1022"/>
                  <a:gd name="T53" fmla="*/ 878 h 1058"/>
                  <a:gd name="T54" fmla="*/ 0 w 1022"/>
                  <a:gd name="T55" fmla="*/ 884 h 1058"/>
                  <a:gd name="T56" fmla="*/ 6 w 1022"/>
                  <a:gd name="T57" fmla="*/ 890 h 1058"/>
                  <a:gd name="T58" fmla="*/ 36 w 1022"/>
                  <a:gd name="T59" fmla="*/ 888 h 1058"/>
                  <a:gd name="T60" fmla="*/ 106 w 1022"/>
                  <a:gd name="T61" fmla="*/ 878 h 1058"/>
                  <a:gd name="T62" fmla="*/ 230 w 1022"/>
                  <a:gd name="T63" fmla="*/ 846 h 1058"/>
                  <a:gd name="T64" fmla="*/ 390 w 1022"/>
                  <a:gd name="T65" fmla="*/ 788 h 1058"/>
                  <a:gd name="T66" fmla="*/ 416 w 1022"/>
                  <a:gd name="T67" fmla="*/ 774 h 1058"/>
                  <a:gd name="T68" fmla="*/ 434 w 1022"/>
                  <a:gd name="T69" fmla="*/ 754 h 1058"/>
                  <a:gd name="T70" fmla="*/ 442 w 1022"/>
                  <a:gd name="T71" fmla="*/ 722 h 1058"/>
                  <a:gd name="T72" fmla="*/ 458 w 1022"/>
                  <a:gd name="T73" fmla="*/ 676 h 1058"/>
                  <a:gd name="T74" fmla="*/ 472 w 1022"/>
                  <a:gd name="T75" fmla="*/ 1058 h 1058"/>
                  <a:gd name="T76" fmla="*/ 532 w 1022"/>
                  <a:gd name="T77" fmla="*/ 630 h 1058"/>
                  <a:gd name="T78" fmla="*/ 550 w 1022"/>
                  <a:gd name="T79" fmla="*/ 616 h 1058"/>
                  <a:gd name="T80" fmla="*/ 1012 w 1022"/>
                  <a:gd name="T81" fmla="*/ 884 h 1058"/>
                  <a:gd name="T82" fmla="*/ 1020 w 1022"/>
                  <a:gd name="T83" fmla="*/ 884 h 1058"/>
                  <a:gd name="T84" fmla="*/ 1022 w 1022"/>
                  <a:gd name="T85" fmla="*/ 876 h 10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22" h="1058">
                    <a:moveTo>
                      <a:pt x="1018" y="866"/>
                    </a:moveTo>
                    <a:lnTo>
                      <a:pt x="1018" y="866"/>
                    </a:lnTo>
                    <a:lnTo>
                      <a:pt x="1006" y="850"/>
                    </a:lnTo>
                    <a:lnTo>
                      <a:pt x="1006" y="850"/>
                    </a:lnTo>
                    <a:lnTo>
                      <a:pt x="990" y="828"/>
                    </a:lnTo>
                    <a:lnTo>
                      <a:pt x="962" y="796"/>
                    </a:lnTo>
                    <a:lnTo>
                      <a:pt x="922" y="754"/>
                    </a:lnTo>
                    <a:lnTo>
                      <a:pt x="872" y="704"/>
                    </a:lnTo>
                    <a:lnTo>
                      <a:pt x="872" y="704"/>
                    </a:lnTo>
                    <a:lnTo>
                      <a:pt x="822" y="660"/>
                    </a:lnTo>
                    <a:lnTo>
                      <a:pt x="782" y="626"/>
                    </a:lnTo>
                    <a:lnTo>
                      <a:pt x="742" y="594"/>
                    </a:lnTo>
                    <a:lnTo>
                      <a:pt x="742" y="594"/>
                    </a:lnTo>
                    <a:lnTo>
                      <a:pt x="730" y="586"/>
                    </a:lnTo>
                    <a:lnTo>
                      <a:pt x="718" y="578"/>
                    </a:lnTo>
                    <a:lnTo>
                      <a:pt x="704" y="574"/>
                    </a:lnTo>
                    <a:lnTo>
                      <a:pt x="696" y="572"/>
                    </a:lnTo>
                    <a:lnTo>
                      <a:pt x="690" y="574"/>
                    </a:lnTo>
                    <a:lnTo>
                      <a:pt x="690" y="574"/>
                    </a:lnTo>
                    <a:lnTo>
                      <a:pt x="658" y="582"/>
                    </a:lnTo>
                    <a:lnTo>
                      <a:pt x="628" y="590"/>
                    </a:lnTo>
                    <a:lnTo>
                      <a:pt x="628" y="590"/>
                    </a:lnTo>
                    <a:lnTo>
                      <a:pt x="610" y="592"/>
                    </a:lnTo>
                    <a:lnTo>
                      <a:pt x="592" y="590"/>
                    </a:lnTo>
                    <a:lnTo>
                      <a:pt x="556" y="582"/>
                    </a:lnTo>
                    <a:lnTo>
                      <a:pt x="556" y="582"/>
                    </a:lnTo>
                    <a:lnTo>
                      <a:pt x="556" y="574"/>
                    </a:lnTo>
                    <a:lnTo>
                      <a:pt x="552" y="568"/>
                    </a:lnTo>
                    <a:lnTo>
                      <a:pt x="548" y="560"/>
                    </a:lnTo>
                    <a:lnTo>
                      <a:pt x="542" y="554"/>
                    </a:lnTo>
                    <a:lnTo>
                      <a:pt x="536" y="550"/>
                    </a:lnTo>
                    <a:lnTo>
                      <a:pt x="530" y="546"/>
                    </a:lnTo>
                    <a:lnTo>
                      <a:pt x="522" y="544"/>
                    </a:lnTo>
                    <a:lnTo>
                      <a:pt x="514" y="542"/>
                    </a:lnTo>
                    <a:lnTo>
                      <a:pt x="514" y="542"/>
                    </a:lnTo>
                    <a:lnTo>
                      <a:pt x="514" y="14"/>
                    </a:lnTo>
                    <a:lnTo>
                      <a:pt x="514" y="14"/>
                    </a:lnTo>
                    <a:lnTo>
                      <a:pt x="514" y="8"/>
                    </a:lnTo>
                    <a:lnTo>
                      <a:pt x="514" y="8"/>
                    </a:lnTo>
                    <a:lnTo>
                      <a:pt x="512" y="2"/>
                    </a:lnTo>
                    <a:lnTo>
                      <a:pt x="512" y="0"/>
                    </a:lnTo>
                    <a:lnTo>
                      <a:pt x="508" y="0"/>
                    </a:lnTo>
                    <a:lnTo>
                      <a:pt x="508" y="0"/>
                    </a:lnTo>
                    <a:lnTo>
                      <a:pt x="502" y="2"/>
                    </a:lnTo>
                    <a:lnTo>
                      <a:pt x="496" y="12"/>
                    </a:lnTo>
                    <a:lnTo>
                      <a:pt x="496" y="12"/>
                    </a:lnTo>
                    <a:lnTo>
                      <a:pt x="488" y="30"/>
                    </a:lnTo>
                    <a:lnTo>
                      <a:pt x="488" y="30"/>
                    </a:lnTo>
                    <a:lnTo>
                      <a:pt x="478" y="54"/>
                    </a:lnTo>
                    <a:lnTo>
                      <a:pt x="462" y="94"/>
                    </a:lnTo>
                    <a:lnTo>
                      <a:pt x="446" y="150"/>
                    </a:lnTo>
                    <a:lnTo>
                      <a:pt x="428" y="220"/>
                    </a:lnTo>
                    <a:lnTo>
                      <a:pt x="428" y="220"/>
                    </a:lnTo>
                    <a:lnTo>
                      <a:pt x="414" y="284"/>
                    </a:lnTo>
                    <a:lnTo>
                      <a:pt x="406" y="334"/>
                    </a:lnTo>
                    <a:lnTo>
                      <a:pt x="398" y="388"/>
                    </a:lnTo>
                    <a:lnTo>
                      <a:pt x="398" y="388"/>
                    </a:lnTo>
                    <a:lnTo>
                      <a:pt x="398" y="400"/>
                    </a:lnTo>
                    <a:lnTo>
                      <a:pt x="398" y="416"/>
                    </a:lnTo>
                    <a:lnTo>
                      <a:pt x="400" y="430"/>
                    </a:lnTo>
                    <a:lnTo>
                      <a:pt x="402" y="436"/>
                    </a:lnTo>
                    <a:lnTo>
                      <a:pt x="406" y="442"/>
                    </a:lnTo>
                    <a:lnTo>
                      <a:pt x="406" y="442"/>
                    </a:lnTo>
                    <a:lnTo>
                      <a:pt x="428" y="464"/>
                    </a:lnTo>
                    <a:lnTo>
                      <a:pt x="452" y="488"/>
                    </a:lnTo>
                    <a:lnTo>
                      <a:pt x="452" y="488"/>
                    </a:lnTo>
                    <a:lnTo>
                      <a:pt x="462" y="502"/>
                    </a:lnTo>
                    <a:lnTo>
                      <a:pt x="470" y="518"/>
                    </a:lnTo>
                    <a:lnTo>
                      <a:pt x="480" y="552"/>
                    </a:lnTo>
                    <a:lnTo>
                      <a:pt x="480" y="552"/>
                    </a:lnTo>
                    <a:lnTo>
                      <a:pt x="474" y="560"/>
                    </a:lnTo>
                    <a:lnTo>
                      <a:pt x="468" y="568"/>
                    </a:lnTo>
                    <a:lnTo>
                      <a:pt x="464" y="578"/>
                    </a:lnTo>
                    <a:lnTo>
                      <a:pt x="462" y="590"/>
                    </a:lnTo>
                    <a:lnTo>
                      <a:pt x="462" y="590"/>
                    </a:lnTo>
                    <a:lnTo>
                      <a:pt x="464" y="600"/>
                    </a:lnTo>
                    <a:lnTo>
                      <a:pt x="468" y="610"/>
                    </a:lnTo>
                    <a:lnTo>
                      <a:pt x="468" y="610"/>
                    </a:lnTo>
                    <a:lnTo>
                      <a:pt x="10" y="874"/>
                    </a:lnTo>
                    <a:lnTo>
                      <a:pt x="10" y="874"/>
                    </a:lnTo>
                    <a:lnTo>
                      <a:pt x="4" y="878"/>
                    </a:lnTo>
                    <a:lnTo>
                      <a:pt x="4" y="878"/>
                    </a:lnTo>
                    <a:lnTo>
                      <a:pt x="0" y="880"/>
                    </a:lnTo>
                    <a:lnTo>
                      <a:pt x="0" y="884"/>
                    </a:lnTo>
                    <a:lnTo>
                      <a:pt x="0" y="886"/>
                    </a:lnTo>
                    <a:lnTo>
                      <a:pt x="0" y="886"/>
                    </a:lnTo>
                    <a:lnTo>
                      <a:pt x="6" y="890"/>
                    </a:lnTo>
                    <a:lnTo>
                      <a:pt x="16" y="890"/>
                    </a:lnTo>
                    <a:lnTo>
                      <a:pt x="16" y="890"/>
                    </a:lnTo>
                    <a:lnTo>
                      <a:pt x="36" y="888"/>
                    </a:lnTo>
                    <a:lnTo>
                      <a:pt x="36" y="888"/>
                    </a:lnTo>
                    <a:lnTo>
                      <a:pt x="64" y="886"/>
                    </a:lnTo>
                    <a:lnTo>
                      <a:pt x="106" y="878"/>
                    </a:lnTo>
                    <a:lnTo>
                      <a:pt x="162" y="864"/>
                    </a:lnTo>
                    <a:lnTo>
                      <a:pt x="230" y="846"/>
                    </a:lnTo>
                    <a:lnTo>
                      <a:pt x="230" y="846"/>
                    </a:lnTo>
                    <a:lnTo>
                      <a:pt x="292" y="824"/>
                    </a:lnTo>
                    <a:lnTo>
                      <a:pt x="342" y="806"/>
                    </a:lnTo>
                    <a:lnTo>
                      <a:pt x="390" y="788"/>
                    </a:lnTo>
                    <a:lnTo>
                      <a:pt x="390" y="788"/>
                    </a:lnTo>
                    <a:lnTo>
                      <a:pt x="402" y="782"/>
                    </a:lnTo>
                    <a:lnTo>
                      <a:pt x="416" y="774"/>
                    </a:lnTo>
                    <a:lnTo>
                      <a:pt x="428" y="764"/>
                    </a:lnTo>
                    <a:lnTo>
                      <a:pt x="432" y="760"/>
                    </a:lnTo>
                    <a:lnTo>
                      <a:pt x="434" y="754"/>
                    </a:lnTo>
                    <a:lnTo>
                      <a:pt x="434" y="754"/>
                    </a:lnTo>
                    <a:lnTo>
                      <a:pt x="440" y="738"/>
                    </a:lnTo>
                    <a:lnTo>
                      <a:pt x="442" y="722"/>
                    </a:lnTo>
                    <a:lnTo>
                      <a:pt x="452" y="692"/>
                    </a:lnTo>
                    <a:lnTo>
                      <a:pt x="452" y="692"/>
                    </a:lnTo>
                    <a:lnTo>
                      <a:pt x="458" y="676"/>
                    </a:lnTo>
                    <a:lnTo>
                      <a:pt x="468" y="662"/>
                    </a:lnTo>
                    <a:lnTo>
                      <a:pt x="488" y="638"/>
                    </a:lnTo>
                    <a:lnTo>
                      <a:pt x="472" y="1058"/>
                    </a:lnTo>
                    <a:lnTo>
                      <a:pt x="550" y="1058"/>
                    </a:lnTo>
                    <a:lnTo>
                      <a:pt x="532" y="630"/>
                    </a:lnTo>
                    <a:lnTo>
                      <a:pt x="532" y="630"/>
                    </a:lnTo>
                    <a:lnTo>
                      <a:pt x="542" y="624"/>
                    </a:lnTo>
                    <a:lnTo>
                      <a:pt x="550" y="616"/>
                    </a:lnTo>
                    <a:lnTo>
                      <a:pt x="550" y="616"/>
                    </a:lnTo>
                    <a:lnTo>
                      <a:pt x="1008" y="880"/>
                    </a:lnTo>
                    <a:lnTo>
                      <a:pt x="1008" y="880"/>
                    </a:lnTo>
                    <a:lnTo>
                      <a:pt x="1012" y="884"/>
                    </a:lnTo>
                    <a:lnTo>
                      <a:pt x="1012" y="884"/>
                    </a:lnTo>
                    <a:lnTo>
                      <a:pt x="1018" y="886"/>
                    </a:lnTo>
                    <a:lnTo>
                      <a:pt x="1020" y="884"/>
                    </a:lnTo>
                    <a:lnTo>
                      <a:pt x="1022" y="882"/>
                    </a:lnTo>
                    <a:lnTo>
                      <a:pt x="1022" y="882"/>
                    </a:lnTo>
                    <a:lnTo>
                      <a:pt x="1022" y="876"/>
                    </a:lnTo>
                    <a:lnTo>
                      <a:pt x="1018" y="866"/>
                    </a:lnTo>
                    <a:lnTo>
                      <a:pt x="1018" y="86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5925168" y="1144588"/>
            <a:ext cx="0" cy="4951412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6224787" y="1444625"/>
            <a:ext cx="31243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a-DK"/>
            </a:defPPr>
            <a:lvl1pPr marL="0" indent="0" defTabSz="895350" eaLnBrk="1" hangingPunct="1">
              <a:buClr>
                <a:schemeClr val="tx2"/>
              </a:buClr>
              <a:defRPr sz="1200" b="1"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r>
              <a:rPr lang="en-GB" dirty="0"/>
              <a:t>DONG Energy Installed Pipeline Capacity</a:t>
            </a:r>
          </a:p>
          <a:p>
            <a:r>
              <a:rPr lang="en-GB" b="0" dirty="0">
                <a:solidFill>
                  <a:schemeClr val="bg1">
                    <a:lumMod val="50000"/>
                  </a:schemeClr>
                </a:solidFill>
              </a:rPr>
              <a:t>M</a:t>
            </a:r>
            <a:r>
              <a:rPr lang="en-GB" b="0" dirty="0" smtClean="0">
                <a:solidFill>
                  <a:schemeClr val="bg1">
                    <a:lumMod val="50000"/>
                  </a:schemeClr>
                </a:solidFill>
              </a:rPr>
              <a:t>W</a:t>
            </a:r>
            <a:endParaRPr lang="en-GB" b="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9" name="Objec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48619286"/>
              </p:ext>
            </p:extLst>
          </p:nvPr>
        </p:nvGraphicFramePr>
        <p:xfrm>
          <a:off x="6057900" y="1943100"/>
          <a:ext cx="3381351" cy="1438355"/>
        </p:xfrm>
        <a:graphic>
          <a:graphicData uri="http://schemas.openxmlformats.org/presentationml/2006/ole">
            <p:oleObj spid="_x0000_s621848" name="Chart" r:id="rId25" imgW="3381351" imgH="1438355" progId="MSGraph.Chart.8">
              <p:embed followColorScheme="full"/>
            </p:oleObj>
          </a:graphicData>
        </a:graphic>
      </p:graphicFrame>
      <p:cxnSp>
        <p:nvCxnSpPr>
          <p:cNvPr id="21" name="Straight Connector 20"/>
          <p:cNvCxnSpPr/>
          <p:nvPr>
            <p:custDataLst>
              <p:tags r:id="rId3"/>
            </p:custDataLst>
          </p:nvPr>
        </p:nvCxnSpPr>
        <p:spPr bwMode="auto">
          <a:xfrm>
            <a:off x="6405563" y="1889125"/>
            <a:ext cx="2705100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3" name="Straight Connector 22"/>
          <p:cNvCxnSpPr/>
          <p:nvPr>
            <p:custDataLst>
              <p:tags r:id="rId4"/>
            </p:custDataLst>
          </p:nvPr>
        </p:nvCxnSpPr>
        <p:spPr bwMode="auto">
          <a:xfrm flipV="1">
            <a:off x="6405563" y="1889125"/>
            <a:ext cx="0" cy="1019175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20" name="Straight Connector 19"/>
          <p:cNvCxnSpPr/>
          <p:nvPr>
            <p:custDataLst>
              <p:tags r:id="rId5"/>
            </p:custDataLst>
          </p:nvPr>
        </p:nvCxnSpPr>
        <p:spPr bwMode="auto">
          <a:xfrm>
            <a:off x="9110663" y="1889125"/>
            <a:ext cx="0" cy="15240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1" name="Rectangle 30"/>
          <p:cNvSpPr/>
          <p:nvPr>
            <p:custDataLst>
              <p:tags r:id="rId6"/>
            </p:custDataLst>
          </p:nvPr>
        </p:nvSpPr>
        <p:spPr bwMode="auto">
          <a:xfrm>
            <a:off x="6284913" y="3378200"/>
            <a:ext cx="241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t"/>
          <a:lstStyle/>
          <a:p>
            <a:pPr algn="ctr"/>
            <a:fld id="{DE144860-1505-4673-B180-E4697BF69888}" type="datetime'''''''''''''''2''''''0''''''''''''''''''''''1''0'">
              <a:rPr lang="en-US" sz="800"/>
              <a:pPr algn="ctr"/>
              <a:t>2010</a:t>
            </a:fld>
            <a:endParaRPr lang="en-GB" sz="800" dirty="0">
              <a:latin typeface="Arial"/>
              <a:cs typeface="Arial"/>
              <a:sym typeface="Arial"/>
            </a:endParaRPr>
          </a:p>
        </p:txBody>
      </p:sp>
      <p:sp>
        <p:nvSpPr>
          <p:cNvPr id="30" name="Text Placeholder 1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085138" y="3378200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1D6977A-3D4F-498B-A71A-68E5D60E5B8C}" type="datetime'2''''''''''''''0''1''4'''''''">
              <a:rPr lang="en-US" sz="800"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14</a:t>
            </a:fld>
            <a:endParaRPr lang="en-GB" sz="8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7" name="Rectangle 26"/>
          <p:cNvSpPr/>
          <p:nvPr>
            <p:custDataLst>
              <p:tags r:id="rId8"/>
            </p:custDataLst>
          </p:nvPr>
        </p:nvSpPr>
        <p:spPr bwMode="auto">
          <a:xfrm>
            <a:off x="6737350" y="3378200"/>
            <a:ext cx="241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t"/>
          <a:lstStyle/>
          <a:p>
            <a:pPr algn="ctr"/>
            <a:fld id="{8245DC27-64E5-4432-9D93-A913473A3FC0}" type="datetime'''''''''''''''''''''''2''''01''''''''1'''''''''''''''">
              <a:rPr lang="en-US" sz="800"/>
              <a:pPr algn="ctr"/>
              <a:t>2011</a:t>
            </a:fld>
            <a:endParaRPr lang="en-GB" sz="800" dirty="0">
              <a:latin typeface="Arial"/>
              <a:cs typeface="Arial"/>
              <a:sym typeface="Arial"/>
            </a:endParaRPr>
          </a:p>
        </p:txBody>
      </p:sp>
      <p:sp>
        <p:nvSpPr>
          <p:cNvPr id="24" name="Rectangle 23"/>
          <p:cNvSpPr/>
          <p:nvPr>
            <p:custDataLst>
              <p:tags r:id="rId9"/>
            </p:custDataLst>
          </p:nvPr>
        </p:nvSpPr>
        <p:spPr bwMode="auto">
          <a:xfrm>
            <a:off x="8990013" y="3378200"/>
            <a:ext cx="241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t"/>
          <a:lstStyle/>
          <a:p>
            <a:pPr algn="ctr"/>
            <a:fld id="{09C48D3D-D6E5-47C5-903F-55C23D2F45BB}" type="datetime'''''2''''''''''0''20'''''''''''''''''''''''''''''''''''''''">
              <a:rPr lang="en-US" sz="800"/>
              <a:pPr algn="ctr"/>
              <a:t>2020</a:t>
            </a:fld>
            <a:endParaRPr lang="en-GB" sz="800" dirty="0">
              <a:latin typeface="Arial"/>
              <a:cs typeface="Arial"/>
              <a:sym typeface="Arial"/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585075" y="1792288"/>
            <a:ext cx="346075" cy="1936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GB" sz="1000" b="1" dirty="0">
                <a:sym typeface="+mn-lt"/>
              </a:rPr>
              <a:t>6.5x</a:t>
            </a:r>
          </a:p>
        </p:txBody>
      </p:sp>
      <p:sp>
        <p:nvSpPr>
          <p:cNvPr id="29" name="Text Placeholder 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537575" y="3378200"/>
            <a:ext cx="2413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182563" indent="-182563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ABBA880-01A2-40DD-8EC4-E68F7D3C9E50}" type="datetime'''''''''''''20''1''''''''''''''''''''''6'''''''''">
              <a:rPr lang="en-US" sz="800"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16</a:t>
            </a:fld>
            <a:endParaRPr lang="en-GB" sz="8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Rectangle 25"/>
          <p:cNvSpPr/>
          <p:nvPr>
            <p:custDataLst>
              <p:tags r:id="rId12"/>
            </p:custDataLst>
          </p:nvPr>
        </p:nvSpPr>
        <p:spPr bwMode="auto">
          <a:xfrm>
            <a:off x="7637463" y="3378200"/>
            <a:ext cx="241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t"/>
          <a:lstStyle/>
          <a:p>
            <a:pPr algn="ctr"/>
            <a:fld id="{DEAD9507-F7A9-4E93-85C1-B57715807FC2}" type="datetime'''''''''2''''''''''''''''''''''''''''''''0''1''''''3'''''">
              <a:rPr lang="en-US" sz="800"/>
              <a:pPr algn="ctr"/>
              <a:t>2013</a:t>
            </a:fld>
            <a:endParaRPr lang="en-GB" sz="800" dirty="0">
              <a:latin typeface="Arial"/>
              <a:cs typeface="Arial"/>
              <a:sym typeface="Arial"/>
            </a:endParaRPr>
          </a:p>
        </p:txBody>
      </p:sp>
      <p:sp>
        <p:nvSpPr>
          <p:cNvPr id="25" name="Rectangle 24"/>
          <p:cNvSpPr/>
          <p:nvPr>
            <p:custDataLst>
              <p:tags r:id="rId13"/>
            </p:custDataLst>
          </p:nvPr>
        </p:nvSpPr>
        <p:spPr bwMode="auto">
          <a:xfrm>
            <a:off x="7189788" y="3378200"/>
            <a:ext cx="24130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t"/>
          <a:lstStyle/>
          <a:p>
            <a:pPr algn="ctr"/>
            <a:fld id="{2032E46F-B361-4131-97A0-1C53894C2F80}" type="datetime'2''0''''''''''1''''''''''''''''''2'''''''">
              <a:rPr lang="en-US" sz="800"/>
              <a:pPr algn="ctr"/>
              <a:t>2012</a:t>
            </a:fld>
            <a:endParaRPr lang="en-GB" sz="800" dirty="0">
              <a:latin typeface="Arial"/>
              <a:cs typeface="Arial"/>
              <a:sym typeface="Arial"/>
            </a:endParaRPr>
          </a:p>
        </p:txBody>
      </p:sp>
      <p:cxnSp>
        <p:nvCxnSpPr>
          <p:cNvPr id="36" name="Straight Connector 35"/>
          <p:cNvCxnSpPr>
            <a:cxnSpLocks/>
          </p:cNvCxnSpPr>
          <p:nvPr/>
        </p:nvCxnSpPr>
        <p:spPr>
          <a:xfrm flipH="1">
            <a:off x="5925168" y="3770830"/>
            <a:ext cx="367176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Object 3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3224743"/>
              </p:ext>
            </p:extLst>
          </p:nvPr>
        </p:nvGraphicFramePr>
        <p:xfrm>
          <a:off x="6248401" y="4571999"/>
          <a:ext cx="2952605" cy="1133588"/>
        </p:xfrm>
        <a:graphic>
          <a:graphicData uri="http://schemas.openxmlformats.org/presentationml/2006/ole">
            <p:oleObj spid="_x0000_s621849" name="Chart" r:id="rId26" imgW="2952605" imgH="1133588" progId="MSGraph.Chart.8">
              <p:embed followColorScheme="full"/>
            </p:oleObj>
          </a:graphicData>
        </a:graphic>
      </p:graphicFrame>
      <p:cxnSp>
        <p:nvCxnSpPr>
          <p:cNvPr id="37" name="Straight Connector 36"/>
          <p:cNvCxnSpPr/>
          <p:nvPr>
            <p:custDataLst>
              <p:tags r:id="rId14"/>
            </p:custDataLst>
          </p:nvPr>
        </p:nvCxnSpPr>
        <p:spPr bwMode="auto">
          <a:xfrm>
            <a:off x="8748713" y="4586288"/>
            <a:ext cx="0" cy="36195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8" name="Straight Connector 37"/>
          <p:cNvCxnSpPr/>
          <p:nvPr>
            <p:custDataLst>
              <p:tags r:id="rId15"/>
            </p:custDataLst>
          </p:nvPr>
        </p:nvCxnSpPr>
        <p:spPr bwMode="auto">
          <a:xfrm flipV="1">
            <a:off x="6719888" y="4586288"/>
            <a:ext cx="0" cy="7620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33" name="Straight Connector 32"/>
          <p:cNvCxnSpPr/>
          <p:nvPr>
            <p:custDataLst>
              <p:tags r:id="rId16"/>
            </p:custDataLst>
          </p:nvPr>
        </p:nvCxnSpPr>
        <p:spPr bwMode="auto">
          <a:xfrm>
            <a:off x="6719888" y="4586288"/>
            <a:ext cx="2028825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41" name="Text Placeholder 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275513" y="569277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BB390BE-98B7-4BDC-A7B8-D1BB5C6E12A1}" type="datetime'''''2''''''''''0''''''''1''''''''''''''''4'''''''''''''''''''">
              <a:rPr lang="en-US" sz="800"/>
              <a:pPr marL="0" indent="0" algn="ctr">
                <a:spcBef>
                  <a:spcPct val="0"/>
                </a:spcBef>
                <a:buNone/>
              </a:pPr>
              <a:t>2014</a:t>
            </a:fld>
            <a:endParaRPr lang="en-GB" sz="800" dirty="0">
              <a:sym typeface="+mn-lt"/>
            </a:endParaRPr>
          </a:p>
        </p:txBody>
      </p:sp>
      <p:sp>
        <p:nvSpPr>
          <p:cNvPr id="39" name="Text Placeholder 6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99238" y="569277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CAB24B5-19BD-4573-ABD5-2B7665C5FD94}" type="datetime'''2''''''''''0''''''''''''''''''''''1''2'''''''">
              <a:rPr lang="en-US" sz="800"/>
              <a:pPr marL="0" indent="0" algn="ctr">
                <a:spcBef>
                  <a:spcPct val="0"/>
                </a:spcBef>
                <a:buNone/>
              </a:pPr>
              <a:t>2012</a:t>
            </a:fld>
            <a:endParaRPr lang="en-GB" sz="800" dirty="0">
              <a:sym typeface="+mn-lt"/>
            </a:endParaRPr>
          </a:p>
        </p:txBody>
      </p:sp>
      <p:sp>
        <p:nvSpPr>
          <p:cNvPr id="40" name="Text Placeholder 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951788" y="569277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12FCE7D-726A-4040-B0F3-AF2229FDEA07}" type="datetime'2''''''''''''''''''0''''''1''''''''''6'''''''''''''''''''">
              <a:rPr lang="en-US" sz="800"/>
              <a:pPr marL="0" indent="0" algn="ctr">
                <a:spcBef>
                  <a:spcPct val="0"/>
                </a:spcBef>
                <a:buNone/>
              </a:pPr>
              <a:t>2016</a:t>
            </a:fld>
            <a:endParaRPr lang="en-GB" sz="800" dirty="0">
              <a:sym typeface="+mn-lt"/>
            </a:endParaRPr>
          </a:p>
        </p:txBody>
      </p:sp>
      <p:sp>
        <p:nvSpPr>
          <p:cNvPr id="43" name="Text Placeholder 2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461250" y="4508500"/>
            <a:ext cx="546100" cy="1555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anchor="ctr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GB" sz="800" b="1" dirty="0"/>
              <a:t>-35-40%</a:t>
            </a:r>
            <a:endParaRPr lang="en-GB" sz="800" b="1" dirty="0">
              <a:sym typeface="+mn-lt"/>
            </a:endParaRPr>
          </a:p>
        </p:txBody>
      </p:sp>
      <p:sp>
        <p:nvSpPr>
          <p:cNvPr id="42" name="Text Placeholder 20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628063" y="5692775"/>
            <a:ext cx="241300" cy="1222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1825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4625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538163" indent="-177800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72548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8874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5pPr>
            <a:lvl6pPr marL="13446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8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90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6213" indent="-160338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2F689B4-63D0-409D-B86B-16A1D35A332B}" type="datetime'2''''''''''''''''''0''''''''''''''''''''''20'''''''''''">
              <a:rPr lang="en-US" sz="800"/>
              <a:pPr marL="0" indent="0" algn="ctr">
                <a:spcBef>
                  <a:spcPct val="0"/>
                </a:spcBef>
                <a:buNone/>
              </a:pPr>
              <a:t>2020</a:t>
            </a:fld>
            <a:endParaRPr lang="en-GB" sz="800" dirty="0">
              <a:latin typeface="Arial"/>
              <a:sym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224787" y="3915849"/>
            <a:ext cx="31243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a-DK"/>
            </a:defPPr>
            <a:lvl1pPr marL="0" indent="0" defTabSz="895350" eaLnBrk="1" hangingPunct="1">
              <a:buClr>
                <a:schemeClr val="tx2"/>
              </a:buClr>
              <a:defRPr sz="1200" b="1"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r>
              <a:rPr lang="en-GB" dirty="0"/>
              <a:t>DONG Energy </a:t>
            </a:r>
            <a:r>
              <a:rPr lang="en-GB" dirty="0" smtClean="0"/>
              <a:t>Cost Reduction Target</a:t>
            </a:r>
            <a:endParaRPr lang="en-GB" dirty="0"/>
          </a:p>
          <a:p>
            <a:r>
              <a:rPr lang="en-GB" b="0" dirty="0" smtClean="0">
                <a:solidFill>
                  <a:schemeClr val="bg1">
                    <a:lumMod val="50000"/>
                  </a:schemeClr>
                </a:solidFill>
              </a:rPr>
              <a:t>EUR/MWh (real 2012)</a:t>
            </a:r>
            <a:endParaRPr lang="en-GB" b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927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Object 15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39740283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p:oleObj spid="_x0000_s655428" name="think-cell Slide" r:id="rId19" imgW="360" imgH="360" progId="">
              <p:embed/>
            </p:oleObj>
          </a:graphicData>
        </a:graphic>
      </p:graphicFrame>
      <p:sp>
        <p:nvSpPr>
          <p:cNvPr id="155" name="Rectangle 154" hidden="1"/>
          <p:cNvSpPr/>
          <p:nvPr>
            <p:custDataLst>
              <p:tags r:id="rId2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GB" sz="1000" dirty="0">
              <a:solidFill>
                <a:schemeClr val="bg1"/>
              </a:solidFill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ONG Energy is building on +20years of offshore wind experienc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1" y="6524624"/>
            <a:ext cx="311269" cy="116444"/>
          </a:xfrm>
        </p:spPr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165" name="TextBox 164"/>
          <p:cNvSpPr txBox="1"/>
          <p:nvPr/>
        </p:nvSpPr>
        <p:spPr>
          <a:xfrm>
            <a:off x="392399" y="6103923"/>
            <a:ext cx="78323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/>
            <a:r>
              <a:rPr lang="en-GB" sz="8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Note 1: London Array was constructed by a consortium owning the wind farm. DONG Energy was a 50% owner during construction</a:t>
            </a:r>
          </a:p>
          <a:p>
            <a:pPr marL="85725" indent="-85725"/>
            <a:r>
              <a:rPr lang="en-GB" sz="800" dirty="0">
                <a:solidFill>
                  <a:schemeClr val="bg1">
                    <a:lumMod val="50000"/>
                  </a:schemeClr>
                </a:solidFill>
              </a:rPr>
              <a:t>Note 2: West of Duddon Sands is structured as an unincorporated join venture. The construction of the wind farm was lead by DONG Energy  </a:t>
            </a:r>
          </a:p>
        </p:txBody>
      </p:sp>
      <p:graphicFrame>
        <p:nvGraphicFramePr>
          <p:cNvPr id="55" name="Tabel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78898998"/>
              </p:ext>
            </p:extLst>
          </p:nvPr>
        </p:nvGraphicFramePr>
        <p:xfrm>
          <a:off x="398463" y="4238744"/>
          <a:ext cx="2199196" cy="13716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99196"/>
              </a:tblGrid>
              <a:tr h="265828">
                <a:tc>
                  <a:txBody>
                    <a:bodyPr/>
                    <a:lstStyle/>
                    <a:p>
                      <a:pPr algn="ctr"/>
                      <a:r>
                        <a:rPr lang="en-GB" sz="1000" noProof="0" dirty="0" smtClean="0"/>
                        <a:t>Vindeby</a:t>
                      </a:r>
                      <a:endParaRPr lang="en-GB" sz="1000" noProof="0" dirty="0"/>
                    </a:p>
                  </a:txBody>
                  <a:tcPr marL="99060" marR="99060" anchor="ctr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4C46"/>
                    </a:solidFill>
                  </a:tcPr>
                </a:tc>
              </a:tr>
              <a:tr h="11058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noProof="0" dirty="0" smtClean="0">
                          <a:latin typeface="+mj-lt"/>
                        </a:rPr>
                        <a:t>First offshore wind farm in the world</a:t>
                      </a:r>
                    </a:p>
                    <a:p>
                      <a:pPr algn="ctr"/>
                      <a:endParaRPr lang="en-GB" sz="1000" noProof="0" dirty="0" smtClean="0"/>
                    </a:p>
                    <a:p>
                      <a:pPr algn="ctr"/>
                      <a:endParaRPr lang="en-GB" sz="1000" noProof="0" dirty="0" smtClean="0"/>
                    </a:p>
                    <a:p>
                      <a:pPr algn="ctr"/>
                      <a:endParaRPr lang="en-GB" sz="1000" noProof="0" dirty="0"/>
                    </a:p>
                  </a:txBody>
                  <a:tcPr marL="99060" marR="99060"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56" name="Tabel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92703573"/>
              </p:ext>
            </p:extLst>
          </p:nvPr>
        </p:nvGraphicFramePr>
        <p:xfrm>
          <a:off x="2716213" y="4238744"/>
          <a:ext cx="2152478" cy="13716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52478"/>
              </a:tblGrid>
              <a:tr h="26582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noProof="0" dirty="0" smtClean="0"/>
                        <a:t>Horns Rev 1</a:t>
                      </a:r>
                    </a:p>
                  </a:txBody>
                  <a:tcPr marL="99060" marR="99060" anchor="ctr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4C46"/>
                    </a:solidFill>
                  </a:tcPr>
                </a:tc>
              </a:tr>
              <a:tr h="110580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 smtClean="0"/>
                        <a:t>First large scale offshore wind farm in the world</a:t>
                      </a:r>
                      <a:endParaRPr lang="en-GB" sz="900" b="1" noProof="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1" noProof="0" dirty="0" smtClean="0"/>
                    </a:p>
                    <a:p>
                      <a:pPr algn="ctr"/>
                      <a:endParaRPr lang="en-GB" sz="1000" noProof="0" dirty="0" smtClean="0"/>
                    </a:p>
                    <a:p>
                      <a:pPr algn="ctr"/>
                      <a:endParaRPr lang="en-GB" sz="1000" noProof="0" dirty="0" smtClean="0"/>
                    </a:p>
                    <a:p>
                      <a:pPr algn="ctr"/>
                      <a:endParaRPr lang="en-GB" sz="1000" noProof="0" dirty="0"/>
                    </a:p>
                  </a:txBody>
                  <a:tcPr marL="99060" marR="9906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57" name="Rectangle 56"/>
          <p:cNvSpPr/>
          <p:nvPr/>
        </p:nvSpPr>
        <p:spPr bwMode="gray">
          <a:xfrm>
            <a:off x="2570163" y="3168650"/>
            <a:ext cx="506413" cy="1524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 smtClean="0">
                <a:solidFill>
                  <a:prstClr val="black"/>
                </a:solidFill>
                <a:sym typeface="Arial"/>
              </a:rPr>
              <a:t>1,004 MW</a:t>
            </a:r>
          </a:p>
        </p:txBody>
      </p:sp>
      <p:sp useBgFill="1">
        <p:nvSpPr>
          <p:cNvPr id="58" name="Rectangle 57"/>
          <p:cNvSpPr/>
          <p:nvPr/>
        </p:nvSpPr>
        <p:spPr bwMode="gray">
          <a:xfrm>
            <a:off x="1831975" y="3300413"/>
            <a:ext cx="436563" cy="1524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 smtClean="0">
                <a:solidFill>
                  <a:prstClr val="black"/>
                </a:solidFill>
                <a:sym typeface="Arial"/>
              </a:rPr>
              <a:t>476 MW</a:t>
            </a:r>
          </a:p>
        </p:txBody>
      </p:sp>
      <p:sp>
        <p:nvSpPr>
          <p:cNvPr id="59" name="Rectangle 58"/>
          <p:cNvSpPr/>
          <p:nvPr/>
        </p:nvSpPr>
        <p:spPr bwMode="gray">
          <a:xfrm>
            <a:off x="295275" y="3490913"/>
            <a:ext cx="366713" cy="1524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3" tIns="0" rIns="17463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F376B5D-6213-483F-AB70-713AB444707B}" type="datetime'''''5'''''''''''''''''''''''''''''''">
              <a:rPr lang="en-GB" sz="1000" b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r>
              <a:rPr lang="en-GB" sz="1000" b="1" dirty="0" smtClean="0">
                <a:solidFill>
                  <a:prstClr val="black"/>
                </a:solidFill>
                <a:sym typeface="Arial"/>
              </a:rPr>
              <a:t> MW</a:t>
            </a:r>
          </a:p>
        </p:txBody>
      </p:sp>
      <p:graphicFrame>
        <p:nvGraphicFramePr>
          <p:cNvPr id="60" name="Tabel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80617050"/>
              </p:ext>
            </p:extLst>
          </p:nvPr>
        </p:nvGraphicFramePr>
        <p:xfrm>
          <a:off x="4970463" y="4238744"/>
          <a:ext cx="2160000" cy="13716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60000"/>
              </a:tblGrid>
              <a:tr h="26582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noProof="0" dirty="0" smtClean="0"/>
                        <a:t>London</a:t>
                      </a:r>
                      <a:r>
                        <a:rPr lang="en-GB" sz="1000" baseline="0" noProof="0" dirty="0" smtClean="0"/>
                        <a:t> Array</a:t>
                      </a:r>
                      <a:endParaRPr lang="en-GB" sz="1000" noProof="0" dirty="0" smtClean="0"/>
                    </a:p>
                  </a:txBody>
                  <a:tcPr marL="99060" marR="99060" anchor="ctr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4C46"/>
                    </a:solidFill>
                  </a:tcPr>
                </a:tc>
              </a:tr>
              <a:tr h="110580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noProof="0" dirty="0" smtClean="0"/>
                        <a:t>The </a:t>
                      </a:r>
                      <a:r>
                        <a:rPr lang="en-GB" sz="900" b="1" baseline="0" noProof="0" dirty="0" smtClean="0"/>
                        <a:t>largest operational offshore wind farm in the world</a:t>
                      </a:r>
                      <a:endParaRPr lang="en-GB" sz="900" b="1" noProof="0" dirty="0" smtClean="0"/>
                    </a:p>
                    <a:p>
                      <a:pPr algn="ctr"/>
                      <a:endParaRPr lang="en-GB" sz="1000" noProof="0" dirty="0" smtClean="0"/>
                    </a:p>
                    <a:p>
                      <a:pPr algn="ctr"/>
                      <a:endParaRPr lang="en-GB" sz="1000" noProof="0" dirty="0" smtClean="0"/>
                    </a:p>
                    <a:p>
                      <a:pPr algn="ctr"/>
                      <a:endParaRPr lang="en-GB" sz="1000" noProof="0" dirty="0"/>
                    </a:p>
                  </a:txBody>
                  <a:tcPr marL="99060" marR="9906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1" name="Line Callout 2 55"/>
          <p:cNvSpPr/>
          <p:nvPr/>
        </p:nvSpPr>
        <p:spPr bwMode="auto">
          <a:xfrm>
            <a:off x="1854200" y="2351088"/>
            <a:ext cx="584804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Barrow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45 MW</a:t>
            </a:r>
          </a:p>
        </p:txBody>
      </p:sp>
      <p:sp>
        <p:nvSpPr>
          <p:cNvPr id="62" name="Line Callout 2 54"/>
          <p:cNvSpPr/>
          <p:nvPr/>
        </p:nvSpPr>
        <p:spPr bwMode="auto">
          <a:xfrm>
            <a:off x="2032000" y="2720975"/>
            <a:ext cx="56826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Burb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90 MW</a:t>
            </a:r>
          </a:p>
        </p:txBody>
      </p:sp>
      <p:pic>
        <p:nvPicPr>
          <p:cNvPr id="63" name="Picture 11" descr="http://www.rechargenews.com/multimedia/archive/00034/Horns-Rev-turbulence_34095b.jp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2832100" y="4880094"/>
            <a:ext cx="1228030" cy="664346"/>
          </a:xfrm>
          <a:prstGeom prst="rect">
            <a:avLst/>
          </a:prstGeom>
          <a:noFill/>
        </p:spPr>
      </p:pic>
      <p:pic>
        <p:nvPicPr>
          <p:cNvPr id="64" name="Picture 5" descr="http://www.esru.strath.ac.uk/EandE/Web_sites/98-9/offshore/wind/windimg/vindeby2.jp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508000" y="4888031"/>
            <a:ext cx="1228030" cy="657216"/>
          </a:xfrm>
          <a:prstGeom prst="rect">
            <a:avLst/>
          </a:prstGeom>
          <a:noFill/>
        </p:spPr>
      </p:pic>
      <p:sp>
        <p:nvSpPr>
          <p:cNvPr id="65" name="Line Callout 2 53"/>
          <p:cNvSpPr/>
          <p:nvPr/>
        </p:nvSpPr>
        <p:spPr bwMode="auto">
          <a:xfrm>
            <a:off x="1393825" y="2720975"/>
            <a:ext cx="636036" cy="324000"/>
          </a:xfrm>
          <a:prstGeom prst="rect">
            <a:avLst/>
          </a:prstGeom>
          <a:noFill/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Nyst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166 MW</a:t>
            </a:r>
          </a:p>
        </p:txBody>
      </p:sp>
      <p:cxnSp>
        <p:nvCxnSpPr>
          <p:cNvPr id="66" name="Lige pilforbindelse 38"/>
          <p:cNvCxnSpPr/>
          <p:nvPr/>
        </p:nvCxnSpPr>
        <p:spPr bwMode="auto">
          <a:xfrm>
            <a:off x="423863" y="3706813"/>
            <a:ext cx="9087410" cy="0"/>
          </a:xfrm>
          <a:prstGeom prst="straightConnector1">
            <a:avLst/>
          </a:prstGeom>
          <a:solidFill>
            <a:schemeClr val="accent2"/>
          </a:solidFill>
          <a:ln w="19050" cap="flat" cmpd="sng" algn="ctr">
            <a:solidFill>
              <a:srgbClr val="4A4C46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67" name="Picture 6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86350" y="4888031"/>
            <a:ext cx="1228030" cy="664346"/>
          </a:xfrm>
          <a:prstGeom prst="rect">
            <a:avLst/>
          </a:prstGeom>
        </p:spPr>
      </p:pic>
      <p:sp>
        <p:nvSpPr>
          <p:cNvPr id="68" name="Line Callout 2 51"/>
          <p:cNvSpPr/>
          <p:nvPr/>
        </p:nvSpPr>
        <p:spPr bwMode="auto">
          <a:xfrm>
            <a:off x="3225800" y="2351088"/>
            <a:ext cx="801078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Walney I + II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367 MW</a:t>
            </a:r>
          </a:p>
        </p:txBody>
      </p:sp>
      <p:sp>
        <p:nvSpPr>
          <p:cNvPr id="69" name="Line Callout 2 55"/>
          <p:cNvSpPr/>
          <p:nvPr/>
        </p:nvSpPr>
        <p:spPr bwMode="auto">
          <a:xfrm>
            <a:off x="4027488" y="1992313"/>
            <a:ext cx="75600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London Array</a:t>
            </a:r>
            <a:r>
              <a:rPr lang="en-GB" sz="800" baseline="30000" dirty="0" smtClean="0">
                <a:solidFill>
                  <a:prstClr val="black"/>
                </a:solidFill>
              </a:rPr>
              <a:t>1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315 MW</a:t>
            </a:r>
          </a:p>
        </p:txBody>
      </p:sp>
      <p:sp>
        <p:nvSpPr>
          <p:cNvPr id="70" name="Line Callout 2 51"/>
          <p:cNvSpPr/>
          <p:nvPr/>
        </p:nvSpPr>
        <p:spPr bwMode="auto">
          <a:xfrm>
            <a:off x="2438400" y="2351088"/>
            <a:ext cx="79200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Gunfleet Sand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173 MW</a:t>
            </a:r>
          </a:p>
        </p:txBody>
      </p:sp>
      <p:sp>
        <p:nvSpPr>
          <p:cNvPr id="71" name="Line Callout 2 51"/>
          <p:cNvSpPr/>
          <p:nvPr/>
        </p:nvSpPr>
        <p:spPr bwMode="auto">
          <a:xfrm>
            <a:off x="2312988" y="1992313"/>
            <a:ext cx="659454" cy="32006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Horns Rev 2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209 MW</a:t>
            </a:r>
          </a:p>
        </p:txBody>
      </p:sp>
      <p:sp>
        <p:nvSpPr>
          <p:cNvPr id="72" name="Rektangel 31"/>
          <p:cNvSpPr/>
          <p:nvPr/>
        </p:nvSpPr>
        <p:spPr>
          <a:xfrm>
            <a:off x="398463" y="1218467"/>
            <a:ext cx="5424810" cy="34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82588" indent="-382588" eaLnBrk="0" hangingPunct="0">
              <a:lnSpc>
                <a:spcPct val="90000"/>
              </a:lnSpc>
            </a:pPr>
            <a:r>
              <a:rPr lang="en-GB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  <a:sym typeface="Arial"/>
              </a:rPr>
              <a:t>Total constructed capacity by DONG Energy, (MW)</a:t>
            </a:r>
          </a:p>
        </p:txBody>
      </p:sp>
      <p:sp>
        <p:nvSpPr>
          <p:cNvPr id="73" name="Line Callout 2 55"/>
          <p:cNvSpPr/>
          <p:nvPr/>
        </p:nvSpPr>
        <p:spPr bwMode="auto">
          <a:xfrm>
            <a:off x="4022725" y="2351088"/>
            <a:ext cx="59117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Anhol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400 MW</a:t>
            </a:r>
          </a:p>
        </p:txBody>
      </p:sp>
      <p:sp>
        <p:nvSpPr>
          <p:cNvPr id="74" name="Rectangle 73"/>
          <p:cNvSpPr/>
          <p:nvPr/>
        </p:nvSpPr>
        <p:spPr>
          <a:xfrm>
            <a:off x="6456363" y="5283319"/>
            <a:ext cx="672992" cy="246221"/>
          </a:xfrm>
          <a:prstGeom prst="rect">
            <a:avLst/>
          </a:prstGeom>
          <a:solidFill>
            <a:srgbClr val="4A4C46"/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630 MW</a:t>
            </a:r>
            <a:endParaRPr lang="en-GB" sz="10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4195763" y="5283319"/>
            <a:ext cx="672992" cy="246221"/>
          </a:xfrm>
          <a:prstGeom prst="rect">
            <a:avLst/>
          </a:prstGeom>
          <a:solidFill>
            <a:srgbClr val="4A4C46"/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160 MW</a:t>
            </a:r>
            <a:endParaRPr lang="en-GB" sz="10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926371" y="5283319"/>
            <a:ext cx="663160" cy="246221"/>
          </a:xfrm>
          <a:prstGeom prst="rect">
            <a:avLst/>
          </a:prstGeom>
          <a:solidFill>
            <a:srgbClr val="4A4C46"/>
          </a:solidFill>
          <a:ln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5 MW</a:t>
            </a:r>
            <a:endParaRPr lang="en-GB" sz="10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7" name="Line Callout 2 55"/>
          <p:cNvSpPr/>
          <p:nvPr/>
        </p:nvSpPr>
        <p:spPr bwMode="auto">
          <a:xfrm>
            <a:off x="4613275" y="2351088"/>
            <a:ext cx="118800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West of Duddon Sands</a:t>
            </a:r>
            <a:r>
              <a:rPr lang="en-GB" sz="800" baseline="30000" dirty="0" smtClean="0">
                <a:solidFill>
                  <a:prstClr val="black"/>
                </a:solidFill>
              </a:rPr>
              <a:t>2</a:t>
            </a:r>
            <a:endParaRPr lang="en-GB" sz="800" baseline="30000" dirty="0">
              <a:solidFill>
                <a:prstClr val="black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389 MW</a:t>
            </a:r>
          </a:p>
        </p:txBody>
      </p:sp>
      <p:sp>
        <p:nvSpPr>
          <p:cNvPr id="78" name="Rectangle 77"/>
          <p:cNvSpPr/>
          <p:nvPr/>
        </p:nvSpPr>
        <p:spPr bwMode="gray">
          <a:xfrm>
            <a:off x="3406775" y="3030538"/>
            <a:ext cx="506413" cy="1524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,371 M</a:t>
            </a:r>
            <a:r>
              <a:rPr lang="en-GB" sz="1000" b="1" dirty="0" smtClean="0">
                <a:solidFill>
                  <a:prstClr val="black"/>
                </a:solidFill>
                <a:sym typeface="Arial"/>
              </a:rPr>
              <a:t>W</a:t>
            </a:r>
          </a:p>
        </p:txBody>
      </p:sp>
      <p:sp>
        <p:nvSpPr>
          <p:cNvPr id="79" name="Rectangle 78"/>
          <p:cNvSpPr/>
          <p:nvPr/>
        </p:nvSpPr>
        <p:spPr bwMode="gray">
          <a:xfrm>
            <a:off x="4257675" y="2847975"/>
            <a:ext cx="506413" cy="1524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2,098 M</a:t>
            </a:r>
            <a:r>
              <a:rPr lang="en-GB" sz="1000" b="1" dirty="0" smtClean="0">
                <a:solidFill>
                  <a:prstClr val="black"/>
                </a:solidFill>
                <a:sym typeface="Arial"/>
              </a:rPr>
              <a:t>W</a:t>
            </a:r>
          </a:p>
        </p:txBody>
      </p:sp>
      <p:sp>
        <p:nvSpPr>
          <p:cNvPr id="80" name="Rectangle 79"/>
          <p:cNvSpPr/>
          <p:nvPr/>
        </p:nvSpPr>
        <p:spPr bwMode="gray">
          <a:xfrm>
            <a:off x="5051425" y="2692400"/>
            <a:ext cx="506413" cy="1524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2,487</a:t>
            </a:r>
            <a:r>
              <a:rPr lang="en-GB" sz="1000" b="1" dirty="0" smtClean="0">
                <a:solidFill>
                  <a:prstClr val="black"/>
                </a:solidFill>
                <a:sym typeface="Arial"/>
              </a:rPr>
              <a:t> MW</a:t>
            </a:r>
          </a:p>
        </p:txBody>
      </p:sp>
      <p:sp>
        <p:nvSpPr>
          <p:cNvPr id="81" name="Rectangle 80"/>
          <p:cNvSpPr/>
          <p:nvPr/>
        </p:nvSpPr>
        <p:spPr bwMode="gray">
          <a:xfrm>
            <a:off x="5897563" y="2549525"/>
            <a:ext cx="506413" cy="1524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,009 </a:t>
            </a:r>
            <a:r>
              <a:rPr lang="en-GB" sz="1000" b="1" dirty="0" smtClean="0">
                <a:solidFill>
                  <a:prstClr val="black"/>
                </a:solidFill>
                <a:sym typeface="Arial"/>
              </a:rPr>
              <a:t>MW</a:t>
            </a:r>
          </a:p>
        </p:txBody>
      </p:sp>
      <p:sp useBgFill="1">
        <p:nvSpPr>
          <p:cNvPr id="82" name="Rectangle 81"/>
          <p:cNvSpPr/>
          <p:nvPr/>
        </p:nvSpPr>
        <p:spPr bwMode="gray">
          <a:xfrm>
            <a:off x="1033463" y="3468688"/>
            <a:ext cx="436563" cy="1524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E5D7E7B-98C7-446A-9CC7-7DA918CFC493}" type="datetime'5''''''''''0'''''''''''''''''''''''''''''''">
              <a:rPr lang="en-GB" sz="1000" b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0</a:t>
            </a:fld>
            <a:r>
              <a:rPr lang="en-GB" sz="1000" b="1" dirty="0" smtClean="0">
                <a:solidFill>
                  <a:prstClr val="black"/>
                </a:solidFill>
                <a:sym typeface="Arial"/>
              </a:rPr>
              <a:t> MW</a:t>
            </a:r>
          </a:p>
        </p:txBody>
      </p:sp>
      <p:sp>
        <p:nvSpPr>
          <p:cNvPr id="83" name="Line Callout 2 55"/>
          <p:cNvSpPr/>
          <p:nvPr/>
        </p:nvSpPr>
        <p:spPr bwMode="auto">
          <a:xfrm>
            <a:off x="4778375" y="1992313"/>
            <a:ext cx="90000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Westermost Rough</a:t>
            </a:r>
            <a:endParaRPr lang="en-GB" sz="800" baseline="30000" dirty="0">
              <a:solidFill>
                <a:prstClr val="black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210 MW</a:t>
            </a:r>
          </a:p>
        </p:txBody>
      </p:sp>
      <p:graphicFrame>
        <p:nvGraphicFramePr>
          <p:cNvPr id="84" name="Object 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04034878"/>
              </p:ext>
            </p:extLst>
          </p:nvPr>
        </p:nvGraphicFramePr>
        <p:xfrm>
          <a:off x="304800" y="1714500"/>
          <a:ext cx="9182245" cy="2095532"/>
        </p:xfrm>
        <a:graphic>
          <a:graphicData uri="http://schemas.openxmlformats.org/presentationml/2006/ole">
            <p:oleObj spid="_x0000_s655429" name="Chart" r:id="rId23" imgW="9182245" imgH="2095532" progId="MSGraph.Chart.8">
              <p:embed followColorScheme="full"/>
            </p:oleObj>
          </a:graphicData>
        </a:graphic>
      </p:graphicFrame>
      <p:sp useBgFill="1">
        <p:nvSpPr>
          <p:cNvPr id="85" name="Freeform 84"/>
          <p:cNvSpPr/>
          <p:nvPr>
            <p:custDataLst>
              <p:tags r:id="rId3"/>
            </p:custDataLst>
          </p:nvPr>
        </p:nvSpPr>
        <p:spPr bwMode="auto">
          <a:xfrm>
            <a:off x="803275" y="3571875"/>
            <a:ext cx="79376" cy="247651"/>
          </a:xfrm>
          <a:custGeom>
            <a:avLst/>
            <a:gdLst/>
            <a:ahLst/>
            <a:cxnLst/>
            <a:rect l="0" t="0" r="0" b="0"/>
            <a:pathLst>
              <a:path w="79376" h="247651">
                <a:moveTo>
                  <a:pt x="79375" y="0"/>
                </a:moveTo>
                <a:lnTo>
                  <a:pt x="57150" y="82550"/>
                </a:lnTo>
                <a:lnTo>
                  <a:pt x="79375" y="165100"/>
                </a:lnTo>
                <a:lnTo>
                  <a:pt x="57150" y="247650"/>
                </a:lnTo>
                <a:lnTo>
                  <a:pt x="0" y="247650"/>
                </a:lnTo>
                <a:lnTo>
                  <a:pt x="22225" y="165100"/>
                </a:lnTo>
                <a:lnTo>
                  <a:pt x="0" y="82550"/>
                </a:lnTo>
                <a:lnTo>
                  <a:pt x="22225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86" name="Freeform 85"/>
          <p:cNvSpPr/>
          <p:nvPr>
            <p:custDataLst>
              <p:tags r:id="rId4"/>
            </p:custDataLst>
          </p:nvPr>
        </p:nvSpPr>
        <p:spPr bwMode="auto">
          <a:xfrm>
            <a:off x="803275" y="3571875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7" name="Freeform 86"/>
          <p:cNvSpPr/>
          <p:nvPr>
            <p:custDataLst>
              <p:tags r:id="rId5"/>
            </p:custDataLst>
          </p:nvPr>
        </p:nvSpPr>
        <p:spPr bwMode="auto">
          <a:xfrm>
            <a:off x="860425" y="3571875"/>
            <a:ext cx="22226" cy="247651"/>
          </a:xfrm>
          <a:custGeom>
            <a:avLst/>
            <a:gdLst/>
            <a:ahLst/>
            <a:cxnLst/>
            <a:rect l="0" t="0" r="0" b="0"/>
            <a:pathLst>
              <a:path w="22226" h="247651">
                <a:moveTo>
                  <a:pt x="22225" y="0"/>
                </a:moveTo>
                <a:lnTo>
                  <a:pt x="0" y="82550"/>
                </a:lnTo>
                <a:lnTo>
                  <a:pt x="22225" y="165100"/>
                </a:lnTo>
                <a:lnTo>
                  <a:pt x="0" y="247650"/>
                </a:lnTo>
              </a:path>
            </a:pathLst>
          </a:cu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8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426450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B6CE35E-5150-449B-9F2B-69CB5D5EB66B}" type="datetime'2''''''''''''''''''''''''''''''''''''''0''''''''''1''9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19</a:t>
            </a:fld>
            <a:endParaRPr lang="en-GB" sz="100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89" name="Text Placeholder 1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920875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08B71E2-554F-4E70-959C-E29FC97B9168}" type="datetime'''''''''''''2''''''''''''''''005''''''''''''''''''''''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05</a:t>
            </a:fld>
            <a:endParaRPr lang="en-GB" sz="1000" dirty="0">
              <a:cs typeface="+mn-cs"/>
              <a:sym typeface="+mn-lt"/>
            </a:endParaRPr>
          </a:p>
        </p:txBody>
      </p:sp>
      <p:sp>
        <p:nvSpPr>
          <p:cNvPr id="90" name="Text Placeholder 24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168900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B03681B-1BA2-4301-B2FC-9C7522EB7532}" type="datetime'''''''''''''''''''''''''''''201''''''''''''''4''''''''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14</a:t>
            </a:fld>
            <a:endParaRPr lang="en-GB" sz="1000" dirty="0">
              <a:cs typeface="+mn-cs"/>
              <a:sym typeface="+mn-lt"/>
            </a:endParaRPr>
          </a:p>
        </p:txBody>
      </p:sp>
      <p:sp>
        <p:nvSpPr>
          <p:cNvPr id="91" name="Text Placeholder 1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01725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E002F70-E430-4275-AB68-20A73769FF74}" type="datetime'''''20''''''''''''''''''''''''''0''''''0''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00</a:t>
            </a:fld>
            <a:endParaRPr lang="en-GB" sz="1000" dirty="0">
              <a:cs typeface="+mn-cs"/>
              <a:sym typeface="+mn-lt"/>
            </a:endParaRPr>
          </a:p>
        </p:txBody>
      </p:sp>
      <p:sp>
        <p:nvSpPr>
          <p:cNvPr id="92" name="Text Placeholder 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236075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FA3BD04-4FC9-4CB8-B965-B059D04479C3}" type="datetime'''''''2''''''''0''''''''20''''''''''''''''''''''''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20</a:t>
            </a:fld>
            <a:endParaRPr lang="en-GB" sz="100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93" name="Text Placeholder 2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30500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B6B58EB-BF24-4465-BE17-D470378BF5D6}" type="datetime'2''''''''0''''1''''''''''''''''''''''''0''''''''''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10</a:t>
            </a:fld>
            <a:endParaRPr lang="en-GB" sz="1000" dirty="0">
              <a:cs typeface="+mn-cs"/>
              <a:sym typeface="+mn-lt"/>
            </a:endParaRPr>
          </a:p>
        </p:txBody>
      </p:sp>
      <p:sp>
        <p:nvSpPr>
          <p:cNvPr id="94" name="Text Placeholder 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797675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3B73FF1-C14E-4A80-B5F7-2A4806B74F10}" type="datetime'''''''''''''''''2''''''''''''''0''1''''7''''''''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17</a:t>
            </a:fld>
            <a:endParaRPr lang="en-GB" sz="100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95" name="Text Placeholder 2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988050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EB3AC21-27BA-416C-B7F8-9C1B17DA82D8}" type="datetime'''2''''''''''0''''''''1''6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16</a:t>
            </a:fld>
            <a:endParaRPr lang="en-GB" sz="1000" dirty="0">
              <a:cs typeface="+mn-cs"/>
              <a:sym typeface="+mn-lt"/>
            </a:endParaRPr>
          </a:p>
        </p:txBody>
      </p:sp>
      <p:sp>
        <p:nvSpPr>
          <p:cNvPr id="96" name="Text Placeholder 2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359275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965B6D1-DE7F-4526-80D3-90E252578F3B}" type="datetime'''2''''''''0''''''''1''''''''''''''''''''''''''''''3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13</a:t>
            </a:fld>
            <a:endParaRPr lang="en-GB" sz="1000" dirty="0">
              <a:cs typeface="+mn-cs"/>
              <a:sym typeface="+mn-lt"/>
            </a:endParaRPr>
          </a:p>
        </p:txBody>
      </p:sp>
      <p:sp>
        <p:nvSpPr>
          <p:cNvPr id="97" name="Text Placeholder 2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540125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A19F380-2E2F-4C38-B80E-2552491CF172}" type="datetime'''''''''''''''2''''''''''0''1''''''''''2''''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12</a:t>
            </a:fld>
            <a:endParaRPr lang="en-GB" sz="1000" dirty="0">
              <a:cs typeface="+mn-cs"/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607300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5C23701-0A65-411D-8960-3EDDC7AD3FCC}" type="datetime'''''2''''''''''''''0''''1''''''''''''''''''''''''''''''''8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2018</a:t>
            </a:fld>
            <a:endParaRPr lang="en-GB" sz="100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99" name="Text Placeholder 16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92100" y="38227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E502AE9-D239-47BF-B4D6-02047DCDEB6C}" type="datetime'''1''''''9''''''''''''''''90'''''''''''''''''''''''''">
              <a:rPr lang="en-US" sz="1000">
                <a:cs typeface="+mn-cs"/>
              </a:rPr>
              <a:pPr algn="ctr">
                <a:spcBef>
                  <a:spcPct val="0"/>
                </a:spcBef>
              </a:pPr>
              <a:t>1990</a:t>
            </a:fld>
            <a:endParaRPr lang="en-GB" sz="1000" dirty="0">
              <a:cs typeface="+mn-cs"/>
              <a:sym typeface="+mn-lt"/>
            </a:endParaRPr>
          </a:p>
        </p:txBody>
      </p:sp>
      <p:sp>
        <p:nvSpPr>
          <p:cNvPr id="100" name="Line Callout 2 99"/>
          <p:cNvSpPr/>
          <p:nvPr/>
        </p:nvSpPr>
        <p:spPr bwMode="auto">
          <a:xfrm>
            <a:off x="2706688" y="4235569"/>
            <a:ext cx="2161375" cy="1385248"/>
          </a:xfrm>
          <a:prstGeom prst="borderCallout2">
            <a:avLst>
              <a:gd name="adj1" fmla="val -291"/>
              <a:gd name="adj2" fmla="val 50641"/>
              <a:gd name="adj3" fmla="val 25"/>
              <a:gd name="adj4" fmla="val 50554"/>
              <a:gd name="adj5" fmla="val -39033"/>
              <a:gd name="adj6" fmla="val -60008"/>
            </a:avLst>
          </a:prstGeom>
          <a:noFill/>
          <a:ln w="9525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1" name="Line Callout 2 100"/>
          <p:cNvSpPr/>
          <p:nvPr/>
        </p:nvSpPr>
        <p:spPr bwMode="auto">
          <a:xfrm>
            <a:off x="4970463" y="4238744"/>
            <a:ext cx="2160000" cy="1381971"/>
          </a:xfrm>
          <a:prstGeom prst="borderCallout2">
            <a:avLst>
              <a:gd name="adj1" fmla="val 223"/>
              <a:gd name="adj2" fmla="val 51431"/>
              <a:gd name="adj3" fmla="val -64"/>
              <a:gd name="adj4" fmla="val 52114"/>
              <a:gd name="adj5" fmla="val -39666"/>
              <a:gd name="adj6" fmla="val -21000"/>
            </a:avLst>
          </a:prstGeom>
          <a:noFill/>
          <a:ln w="9525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2" name="Line Callout 2 101"/>
          <p:cNvSpPr/>
          <p:nvPr/>
        </p:nvSpPr>
        <p:spPr bwMode="auto">
          <a:xfrm>
            <a:off x="393700" y="4251444"/>
            <a:ext cx="2204253" cy="1369373"/>
          </a:xfrm>
          <a:prstGeom prst="borderCallout2">
            <a:avLst>
              <a:gd name="adj1" fmla="val 99"/>
              <a:gd name="adj2" fmla="val 51430"/>
              <a:gd name="adj3" fmla="val 521"/>
              <a:gd name="adj4" fmla="val 50143"/>
              <a:gd name="adj5" fmla="val -40312"/>
              <a:gd name="adj6" fmla="val 3856"/>
            </a:avLst>
          </a:prstGeom>
          <a:noFill/>
          <a:ln w="9525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3" name="Line Callout 2 53"/>
          <p:cNvSpPr/>
          <p:nvPr/>
        </p:nvSpPr>
        <p:spPr bwMode="auto">
          <a:xfrm>
            <a:off x="388938" y="3092450"/>
            <a:ext cx="639522" cy="324000"/>
          </a:xfrm>
          <a:prstGeom prst="rect">
            <a:avLst/>
          </a:prstGeom>
          <a:noFill/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Vindeby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5</a:t>
            </a: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 MW</a:t>
            </a:r>
          </a:p>
        </p:txBody>
      </p:sp>
      <p:sp>
        <p:nvSpPr>
          <p:cNvPr id="104" name="Line Callout 2 53"/>
          <p:cNvSpPr/>
          <p:nvPr/>
        </p:nvSpPr>
        <p:spPr bwMode="auto">
          <a:xfrm>
            <a:off x="638175" y="2720975"/>
            <a:ext cx="756000" cy="324000"/>
          </a:xfrm>
          <a:prstGeom prst="rect">
            <a:avLst/>
          </a:prstGeom>
          <a:noFill/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Middelgrunde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40 MW</a:t>
            </a:r>
          </a:p>
        </p:txBody>
      </p:sp>
      <p:sp>
        <p:nvSpPr>
          <p:cNvPr id="105" name="Rectangle 104"/>
          <p:cNvSpPr/>
          <p:nvPr/>
        </p:nvSpPr>
        <p:spPr bwMode="gray">
          <a:xfrm>
            <a:off x="9088438" y="1665288"/>
            <a:ext cx="506413" cy="1524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00" b="1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6,500 </a:t>
            </a:r>
            <a:r>
              <a:rPr lang="en-GB" sz="1000" b="1" dirty="0" smtClean="0">
                <a:solidFill>
                  <a:prstClr val="black"/>
                </a:solidFill>
                <a:sym typeface="Arial"/>
              </a:rPr>
              <a:t>MW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6853238" y="1817688"/>
            <a:ext cx="2641062" cy="1889024"/>
          </a:xfrm>
          <a:prstGeom prst="rect">
            <a:avLst/>
          </a:prstGeom>
          <a:solidFill>
            <a:schemeClr val="bg1">
              <a:alpha val="2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107" name="Tabel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37773224"/>
              </p:ext>
            </p:extLst>
          </p:nvPr>
        </p:nvGraphicFramePr>
        <p:xfrm>
          <a:off x="7246938" y="4238744"/>
          <a:ext cx="2160000" cy="13716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60000"/>
              </a:tblGrid>
              <a:tr h="26582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noProof="0" dirty="0" smtClean="0"/>
                        <a:t>Hornsea 1</a:t>
                      </a:r>
                    </a:p>
                  </a:txBody>
                  <a:tcPr marL="99060" marR="99060" anchor="ctr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A4C46"/>
                    </a:solidFill>
                  </a:tcPr>
                </a:tc>
              </a:tr>
              <a:tr h="110580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world’s largest offshore wind farm once constructed</a:t>
                      </a:r>
                      <a:endParaRPr lang="en-GB" sz="1000" noProof="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ctr"/>
                      <a:endParaRPr lang="en-GB" sz="1000" noProof="0" dirty="0"/>
                    </a:p>
                  </a:txBody>
                  <a:tcPr marL="99060" marR="99060">
                    <a:lnL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8" name="Rectangle 107"/>
          <p:cNvSpPr/>
          <p:nvPr/>
        </p:nvSpPr>
        <p:spPr>
          <a:xfrm>
            <a:off x="8732838" y="5283319"/>
            <a:ext cx="672992" cy="246221"/>
          </a:xfrm>
          <a:prstGeom prst="rect">
            <a:avLst/>
          </a:prstGeom>
          <a:solidFill>
            <a:srgbClr val="4A4C46"/>
          </a:solidFill>
          <a:ln>
            <a:solidFill>
              <a:schemeClr val="accent4"/>
            </a:solidFill>
          </a:ln>
        </p:spPr>
        <p:txBody>
          <a:bodyPr wrap="square" lIns="36000" rIns="36000">
            <a:spAutoFit/>
          </a:bodyPr>
          <a:lstStyle/>
          <a:p>
            <a:pPr algn="ctr"/>
            <a:r>
              <a:rPr lang="en-GB" sz="1000" b="1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1,218 MW</a:t>
            </a:r>
            <a:endParaRPr lang="en-GB" sz="10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9" name="Line Callout 2 108"/>
          <p:cNvSpPr/>
          <p:nvPr/>
        </p:nvSpPr>
        <p:spPr bwMode="auto">
          <a:xfrm>
            <a:off x="7246938" y="4238745"/>
            <a:ext cx="2160000" cy="1371634"/>
          </a:xfrm>
          <a:prstGeom prst="borderCallout2">
            <a:avLst>
              <a:gd name="adj1" fmla="val 223"/>
              <a:gd name="adj2" fmla="val 51431"/>
              <a:gd name="adj3" fmla="val -64"/>
              <a:gd name="adj4" fmla="val 52114"/>
              <a:gd name="adj5" fmla="val -39898"/>
              <a:gd name="adj6" fmla="val 97517"/>
            </a:avLst>
          </a:prstGeom>
          <a:noFill/>
          <a:ln w="9525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0" name="Line Callout 2 55"/>
          <p:cNvSpPr/>
          <p:nvPr/>
        </p:nvSpPr>
        <p:spPr bwMode="auto">
          <a:xfrm>
            <a:off x="5867400" y="1644650"/>
            <a:ext cx="64800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dash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00" dirty="0" err="1" smtClean="0">
                <a:solidFill>
                  <a:prstClr val="black"/>
                </a:solidFill>
              </a:rPr>
              <a:t>Gode</a:t>
            </a:r>
            <a:r>
              <a:rPr lang="en-GB" sz="800" dirty="0" smtClean="0">
                <a:solidFill>
                  <a:prstClr val="black"/>
                </a:solidFill>
              </a:rPr>
              <a:t> Wind</a:t>
            </a:r>
            <a:endParaRPr lang="en-GB" sz="800" baseline="30000" dirty="0">
              <a:solidFill>
                <a:prstClr val="black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582 MW</a:t>
            </a:r>
          </a:p>
        </p:txBody>
      </p:sp>
      <p:sp>
        <p:nvSpPr>
          <p:cNvPr id="114" name="Line Callout 2 55"/>
          <p:cNvSpPr/>
          <p:nvPr/>
        </p:nvSpPr>
        <p:spPr bwMode="auto">
          <a:xfrm>
            <a:off x="6507163" y="1644650"/>
            <a:ext cx="82800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dash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Burbo Bank Ext.</a:t>
            </a:r>
          </a:p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258 MW</a:t>
            </a:r>
          </a:p>
        </p:txBody>
      </p:sp>
      <p:sp>
        <p:nvSpPr>
          <p:cNvPr id="139" name="Line Callout 2 55"/>
          <p:cNvSpPr/>
          <p:nvPr/>
        </p:nvSpPr>
        <p:spPr bwMode="auto">
          <a:xfrm>
            <a:off x="6818313" y="1293813"/>
            <a:ext cx="1018367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dash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Race Bank</a:t>
            </a:r>
          </a:p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573 MW</a:t>
            </a:r>
          </a:p>
        </p:txBody>
      </p:sp>
      <p:sp>
        <p:nvSpPr>
          <p:cNvPr id="148" name="Line Callout 2 55"/>
          <p:cNvSpPr/>
          <p:nvPr/>
        </p:nvSpPr>
        <p:spPr bwMode="auto">
          <a:xfrm>
            <a:off x="7327900" y="1644650"/>
            <a:ext cx="104400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dash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00" dirty="0" err="1" smtClean="0">
                <a:solidFill>
                  <a:prstClr val="black"/>
                </a:solidFill>
              </a:rPr>
              <a:t>Walney</a:t>
            </a:r>
            <a:r>
              <a:rPr lang="en-GB" sz="800" dirty="0" smtClean="0">
                <a:solidFill>
                  <a:prstClr val="black"/>
                </a:solidFill>
              </a:rPr>
              <a:t> Ext.</a:t>
            </a:r>
          </a:p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660 MW</a:t>
            </a:r>
          </a:p>
        </p:txBody>
      </p:sp>
      <p:sp>
        <p:nvSpPr>
          <p:cNvPr id="157" name="Line Callout 2 55"/>
          <p:cNvSpPr/>
          <p:nvPr/>
        </p:nvSpPr>
        <p:spPr bwMode="auto">
          <a:xfrm>
            <a:off x="8382000" y="1293813"/>
            <a:ext cx="1018368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dash"/>
            <a:round/>
            <a:headEnd type="none" w="med" len="med"/>
            <a:tailEnd type="oval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00" dirty="0" err="1" smtClean="0">
                <a:solidFill>
                  <a:prstClr val="black"/>
                </a:solidFill>
              </a:rPr>
              <a:t>Hornsea</a:t>
            </a:r>
            <a:r>
              <a:rPr lang="en-GB" sz="800" dirty="0" smtClean="0">
                <a:solidFill>
                  <a:prstClr val="black"/>
                </a:solidFill>
              </a:rPr>
              <a:t> 1</a:t>
            </a:r>
          </a:p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1,218 MW</a:t>
            </a:r>
          </a:p>
        </p:txBody>
      </p:sp>
      <p:pic>
        <p:nvPicPr>
          <p:cNvPr id="160" name="Picture 2" descr="C:\Users\sc60654\AppData\Local\Microsoft\Windows\Temporary Internet Files\Content.Outlook\9PVP9LZ9\BBW01 (7).jpg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386" t="4268" b="27082"/>
          <a:stretch/>
        </p:blipFill>
        <p:spPr bwMode="auto">
          <a:xfrm>
            <a:off x="7404100" y="4872156"/>
            <a:ext cx="1172044" cy="65706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1" name="Line Callout 2 53"/>
          <p:cNvSpPr/>
          <p:nvPr/>
        </p:nvSpPr>
        <p:spPr bwMode="auto">
          <a:xfrm>
            <a:off x="1071563" y="2351088"/>
            <a:ext cx="636036" cy="324000"/>
          </a:xfrm>
          <a:prstGeom prst="rect">
            <a:avLst/>
          </a:prstGeom>
          <a:noFill/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</a:rPr>
              <a:t>Horns Rev 1</a:t>
            </a:r>
            <a:endParaRPr lang="en-GB" sz="800" dirty="0" smtClean="0">
              <a:solidFill>
                <a:prstClr val="black"/>
              </a:solidFill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 smtClean="0">
                <a:solidFill>
                  <a:prstClr val="black"/>
                </a:solidFill>
                <a:cs typeface="Arial" pitchFamily="34" charset="0"/>
              </a:rPr>
              <a:t>160 MW</a:t>
            </a:r>
          </a:p>
        </p:txBody>
      </p:sp>
      <p:sp>
        <p:nvSpPr>
          <p:cNvPr id="162" name="Tekstboks 45"/>
          <p:cNvSpPr txBox="1"/>
          <p:nvPr/>
        </p:nvSpPr>
        <p:spPr>
          <a:xfrm>
            <a:off x="376238" y="3973875"/>
            <a:ext cx="1562053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i="1" dirty="0" smtClean="0">
                <a:solidFill>
                  <a:prstClr val="black"/>
                </a:solidFill>
                <a:cs typeface="Arial" pitchFamily="34" charset="0"/>
              </a:rPr>
              <a:t>Examples</a:t>
            </a:r>
            <a:endParaRPr lang="en-GB" sz="1400" i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63" name="Line Callout 2 55"/>
          <p:cNvSpPr/>
          <p:nvPr/>
        </p:nvSpPr>
        <p:spPr bwMode="auto">
          <a:xfrm>
            <a:off x="5672138" y="1992313"/>
            <a:ext cx="900000" cy="324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4A4C46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Borkum Riffgrund 1</a:t>
            </a:r>
          </a:p>
          <a:p>
            <a:pPr algn="ctr"/>
            <a:r>
              <a:rPr lang="en-GB" sz="800" dirty="0" smtClean="0">
                <a:solidFill>
                  <a:prstClr val="black"/>
                </a:solidFill>
              </a:rPr>
              <a:t>312 MW</a:t>
            </a:r>
          </a:p>
        </p:txBody>
      </p:sp>
    </p:spTree>
    <p:extLst>
      <p:ext uri="{BB962C8B-B14F-4D97-AF65-F5344CB8AC3E}">
        <p14:creationId xmlns:p14="http://schemas.microsoft.com/office/powerpoint/2010/main" xmlns="" val="3220881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p:oleObj spid="_x0000_s656420" name="think-cell Slide" r:id="rId4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GB" sz="1200" b="1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ONG Energy is the global leader in offshore wind with a unique pipeline of future projects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45" name="Rectangle 44"/>
          <p:cNvSpPr/>
          <p:nvPr/>
        </p:nvSpPr>
        <p:spPr bwMode="auto">
          <a:xfrm>
            <a:off x="549565" y="1277164"/>
            <a:ext cx="2876013" cy="1722863"/>
          </a:xfrm>
          <a:prstGeom prst="rect">
            <a:avLst/>
          </a:prstGeom>
          <a:noFill/>
          <a:ln w="9525">
            <a:solidFill>
              <a:srgbClr val="4A4C46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>
              <a:spcBef>
                <a:spcPts val="300"/>
              </a:spcBef>
              <a:spcAft>
                <a:spcPts val="300"/>
              </a:spcAft>
              <a:buSzPct val="80000"/>
            </a:pPr>
            <a:endParaRPr lang="en-GB" sz="1000" b="1" dirty="0"/>
          </a:p>
        </p:txBody>
      </p:sp>
      <p:grpSp>
        <p:nvGrpSpPr>
          <p:cNvPr id="46" name="Group 45"/>
          <p:cNvGrpSpPr/>
          <p:nvPr/>
        </p:nvGrpSpPr>
        <p:grpSpPr>
          <a:xfrm>
            <a:off x="756585" y="4952730"/>
            <a:ext cx="1965478" cy="632018"/>
            <a:chOff x="5238087" y="1817086"/>
            <a:chExt cx="1292020" cy="632018"/>
          </a:xfrm>
        </p:grpSpPr>
        <p:sp>
          <p:nvSpPr>
            <p:cNvPr id="47" name="Tekstboks 28"/>
            <p:cNvSpPr txBox="1">
              <a:spLocks noChangeArrowheads="1"/>
            </p:cNvSpPr>
            <p:nvPr/>
          </p:nvSpPr>
          <p:spPr bwMode="auto">
            <a:xfrm>
              <a:off x="5238087" y="2009249"/>
              <a:ext cx="110829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900" b="1" dirty="0">
                  <a:solidFill>
                    <a:srgbClr val="000000"/>
                  </a:solidFill>
                </a:rPr>
                <a:t>Under</a:t>
              </a:r>
              <a:r>
                <a:rPr lang="en-GB" sz="900" b="1" dirty="0" smtClean="0">
                  <a:solidFill>
                    <a:srgbClr val="000000"/>
                  </a:solidFill>
                </a:rPr>
                <a:t> construction</a:t>
              </a:r>
              <a:endParaRPr lang="en-GB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48" name="Tekstboks 28"/>
            <p:cNvSpPr txBox="1">
              <a:spLocks noChangeArrowheads="1"/>
            </p:cNvSpPr>
            <p:nvPr/>
          </p:nvSpPr>
          <p:spPr bwMode="auto">
            <a:xfrm>
              <a:off x="5238087" y="1817086"/>
              <a:ext cx="79742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900" b="1" dirty="0" smtClean="0">
                  <a:solidFill>
                    <a:srgbClr val="000000"/>
                  </a:solidFill>
                </a:rPr>
                <a:t>In operation</a:t>
              </a:r>
              <a:endParaRPr lang="en-GB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49" name="Tekstboks 28"/>
            <p:cNvSpPr txBox="1">
              <a:spLocks noChangeArrowheads="1"/>
            </p:cNvSpPr>
            <p:nvPr/>
          </p:nvSpPr>
          <p:spPr bwMode="auto">
            <a:xfrm>
              <a:off x="5238168" y="2218272"/>
              <a:ext cx="1291939" cy="230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algn="ctr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fontAlgn="base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900" b="1" dirty="0" smtClean="0">
                  <a:solidFill>
                    <a:srgbClr val="000000"/>
                  </a:solidFill>
                </a:rPr>
                <a:t>Under development</a:t>
              </a:r>
              <a:endParaRPr lang="en-GB" sz="900" b="1" dirty="0">
                <a:solidFill>
                  <a:srgbClr val="000000"/>
                </a:solidFill>
              </a:endParaRPr>
            </a:p>
          </p:txBody>
        </p:sp>
      </p:grpSp>
      <p:pic>
        <p:nvPicPr>
          <p:cNvPr id="50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0117" y="5365993"/>
            <a:ext cx="173637" cy="1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50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3646" y="5159519"/>
            <a:ext cx="170108" cy="127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0117" y="4976695"/>
            <a:ext cx="173637" cy="1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3" name="Group 52"/>
          <p:cNvGrpSpPr/>
          <p:nvPr/>
        </p:nvGrpSpPr>
        <p:grpSpPr bwMode="gray">
          <a:xfrm>
            <a:off x="3441771" y="1885701"/>
            <a:ext cx="4822579" cy="3788985"/>
            <a:chOff x="454414" y="2574309"/>
            <a:chExt cx="4927833" cy="3414927"/>
          </a:xfrm>
          <a:solidFill>
            <a:schemeClr val="bg1">
              <a:lumMod val="85000"/>
            </a:schemeClr>
          </a:solidFill>
        </p:grpSpPr>
        <p:sp>
          <p:nvSpPr>
            <p:cNvPr id="54" name="Freeform 1556"/>
            <p:cNvSpPr>
              <a:spLocks/>
            </p:cNvSpPr>
            <p:nvPr/>
          </p:nvSpPr>
          <p:spPr bwMode="gray">
            <a:xfrm>
              <a:off x="905638" y="3726118"/>
              <a:ext cx="439354" cy="308734"/>
            </a:xfrm>
            <a:custGeom>
              <a:avLst/>
              <a:gdLst>
                <a:gd name="T0" fmla="*/ 22225 w 37"/>
                <a:gd name="T1" fmla="*/ 0 h 26"/>
                <a:gd name="T2" fmla="*/ 14288 w 37"/>
                <a:gd name="T3" fmla="*/ 6350 h 26"/>
                <a:gd name="T4" fmla="*/ 11113 w 37"/>
                <a:gd name="T5" fmla="*/ 11113 h 26"/>
                <a:gd name="T6" fmla="*/ 11113 w 37"/>
                <a:gd name="T7" fmla="*/ 11113 h 26"/>
                <a:gd name="T8" fmla="*/ 11113 w 37"/>
                <a:gd name="T9" fmla="*/ 14288 h 26"/>
                <a:gd name="T10" fmla="*/ 11113 w 37"/>
                <a:gd name="T11" fmla="*/ 19050 h 26"/>
                <a:gd name="T12" fmla="*/ 6350 w 37"/>
                <a:gd name="T13" fmla="*/ 19050 h 26"/>
                <a:gd name="T14" fmla="*/ 3175 w 37"/>
                <a:gd name="T15" fmla="*/ 22225 h 26"/>
                <a:gd name="T16" fmla="*/ 0 w 37"/>
                <a:gd name="T17" fmla="*/ 22225 h 26"/>
                <a:gd name="T18" fmla="*/ 0 w 37"/>
                <a:gd name="T19" fmla="*/ 22225 h 26"/>
                <a:gd name="T20" fmla="*/ 3175 w 37"/>
                <a:gd name="T21" fmla="*/ 25400 h 26"/>
                <a:gd name="T22" fmla="*/ 3175 w 37"/>
                <a:gd name="T23" fmla="*/ 30163 h 26"/>
                <a:gd name="T24" fmla="*/ 3175 w 37"/>
                <a:gd name="T25" fmla="*/ 30163 h 26"/>
                <a:gd name="T26" fmla="*/ 3175 w 37"/>
                <a:gd name="T27" fmla="*/ 30163 h 26"/>
                <a:gd name="T28" fmla="*/ 6350 w 37"/>
                <a:gd name="T29" fmla="*/ 30163 h 26"/>
                <a:gd name="T30" fmla="*/ 11113 w 37"/>
                <a:gd name="T31" fmla="*/ 33338 h 26"/>
                <a:gd name="T32" fmla="*/ 11113 w 37"/>
                <a:gd name="T33" fmla="*/ 33338 h 26"/>
                <a:gd name="T34" fmla="*/ 11113 w 37"/>
                <a:gd name="T35" fmla="*/ 41275 h 26"/>
                <a:gd name="T36" fmla="*/ 14288 w 37"/>
                <a:gd name="T37" fmla="*/ 41275 h 26"/>
                <a:gd name="T38" fmla="*/ 17463 w 37"/>
                <a:gd name="T39" fmla="*/ 36513 h 26"/>
                <a:gd name="T40" fmla="*/ 22225 w 37"/>
                <a:gd name="T41" fmla="*/ 36513 h 26"/>
                <a:gd name="T42" fmla="*/ 41275 w 37"/>
                <a:gd name="T43" fmla="*/ 41275 h 26"/>
                <a:gd name="T44" fmla="*/ 44450 w 37"/>
                <a:gd name="T45" fmla="*/ 33338 h 26"/>
                <a:gd name="T46" fmla="*/ 58738 w 37"/>
                <a:gd name="T47" fmla="*/ 33338 h 26"/>
                <a:gd name="T48" fmla="*/ 58738 w 37"/>
                <a:gd name="T49" fmla="*/ 30163 h 26"/>
                <a:gd name="T50" fmla="*/ 52388 w 37"/>
                <a:gd name="T51" fmla="*/ 30163 h 26"/>
                <a:gd name="T52" fmla="*/ 52388 w 37"/>
                <a:gd name="T53" fmla="*/ 14288 h 26"/>
                <a:gd name="T54" fmla="*/ 47625 w 37"/>
                <a:gd name="T55" fmla="*/ 11113 h 26"/>
                <a:gd name="T56" fmla="*/ 52388 w 37"/>
                <a:gd name="T57" fmla="*/ 3175 h 26"/>
                <a:gd name="T58" fmla="*/ 47625 w 37"/>
                <a:gd name="T59" fmla="*/ 0 h 26"/>
                <a:gd name="T60" fmla="*/ 47625 w 37"/>
                <a:gd name="T61" fmla="*/ 0 h 26"/>
                <a:gd name="T62" fmla="*/ 41275 w 37"/>
                <a:gd name="T63" fmla="*/ 0 h 26"/>
                <a:gd name="T64" fmla="*/ 33338 w 37"/>
                <a:gd name="T65" fmla="*/ 0 h 26"/>
                <a:gd name="T66" fmla="*/ 22225 w 37"/>
                <a:gd name="T67" fmla="*/ 6350 h 26"/>
                <a:gd name="T68" fmla="*/ 22225 w 37"/>
                <a:gd name="T69" fmla="*/ 6350 h 26"/>
                <a:gd name="T70" fmla="*/ 25400 w 37"/>
                <a:gd name="T71" fmla="*/ 0 h 26"/>
                <a:gd name="T72" fmla="*/ 25400 w 37"/>
                <a:gd name="T73" fmla="*/ 0 h 26"/>
                <a:gd name="T74" fmla="*/ 25400 w 37"/>
                <a:gd name="T75" fmla="*/ 0 h 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"/>
                <a:gd name="T115" fmla="*/ 0 h 26"/>
                <a:gd name="T116" fmla="*/ 37 w 37"/>
                <a:gd name="T117" fmla="*/ 26 h 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" h="26">
                  <a:moveTo>
                    <a:pt x="16" y="0"/>
                  </a:moveTo>
                  <a:lnTo>
                    <a:pt x="14" y="0"/>
                  </a:lnTo>
                  <a:lnTo>
                    <a:pt x="11" y="2"/>
                  </a:lnTo>
                  <a:lnTo>
                    <a:pt x="9" y="4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7" y="23"/>
                  </a:lnTo>
                  <a:lnTo>
                    <a:pt x="7" y="26"/>
                  </a:lnTo>
                  <a:lnTo>
                    <a:pt x="9" y="26"/>
                  </a:lnTo>
                  <a:lnTo>
                    <a:pt x="11" y="23"/>
                  </a:lnTo>
                  <a:lnTo>
                    <a:pt x="14" y="23"/>
                  </a:lnTo>
                  <a:lnTo>
                    <a:pt x="16" y="26"/>
                  </a:lnTo>
                  <a:lnTo>
                    <a:pt x="26" y="26"/>
                  </a:lnTo>
                  <a:lnTo>
                    <a:pt x="26" y="23"/>
                  </a:lnTo>
                  <a:lnTo>
                    <a:pt x="28" y="21"/>
                  </a:lnTo>
                  <a:lnTo>
                    <a:pt x="33" y="21"/>
                  </a:lnTo>
                  <a:lnTo>
                    <a:pt x="37" y="21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3" y="19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28" y="9"/>
                  </a:lnTo>
                  <a:lnTo>
                    <a:pt x="30" y="7"/>
                  </a:lnTo>
                  <a:lnTo>
                    <a:pt x="30" y="2"/>
                  </a:lnTo>
                  <a:lnTo>
                    <a:pt x="33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9" y="2"/>
                  </a:lnTo>
                  <a:lnTo>
                    <a:pt x="14" y="4"/>
                  </a:lnTo>
                  <a:lnTo>
                    <a:pt x="11" y="7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55" name="Freeform 1557"/>
            <p:cNvSpPr>
              <a:spLocks/>
            </p:cNvSpPr>
            <p:nvPr/>
          </p:nvSpPr>
          <p:spPr bwMode="gray">
            <a:xfrm>
              <a:off x="1238119" y="3381765"/>
              <a:ext cx="59375" cy="118743"/>
            </a:xfrm>
            <a:custGeom>
              <a:avLst/>
              <a:gdLst>
                <a:gd name="T0" fmla="*/ 3175 w 5"/>
                <a:gd name="T1" fmla="*/ 4763 h 10"/>
                <a:gd name="T2" fmla="*/ 3175 w 5"/>
                <a:gd name="T3" fmla="*/ 4763 h 10"/>
                <a:gd name="T4" fmla="*/ 0 w 5"/>
                <a:gd name="T5" fmla="*/ 12700 h 10"/>
                <a:gd name="T6" fmla="*/ 0 w 5"/>
                <a:gd name="T7" fmla="*/ 12700 h 10"/>
                <a:gd name="T8" fmla="*/ 0 w 5"/>
                <a:gd name="T9" fmla="*/ 15875 h 10"/>
                <a:gd name="T10" fmla="*/ 3175 w 5"/>
                <a:gd name="T11" fmla="*/ 15875 h 10"/>
                <a:gd name="T12" fmla="*/ 3175 w 5"/>
                <a:gd name="T13" fmla="*/ 15875 h 10"/>
                <a:gd name="T14" fmla="*/ 3175 w 5"/>
                <a:gd name="T15" fmla="*/ 15875 h 10"/>
                <a:gd name="T16" fmla="*/ 3175 w 5"/>
                <a:gd name="T17" fmla="*/ 15875 h 10"/>
                <a:gd name="T18" fmla="*/ 3175 w 5"/>
                <a:gd name="T19" fmla="*/ 12700 h 10"/>
                <a:gd name="T20" fmla="*/ 7938 w 5"/>
                <a:gd name="T21" fmla="*/ 7938 h 10"/>
                <a:gd name="T22" fmla="*/ 7938 w 5"/>
                <a:gd name="T23" fmla="*/ 4763 h 10"/>
                <a:gd name="T24" fmla="*/ 7938 w 5"/>
                <a:gd name="T25" fmla="*/ 0 h 10"/>
                <a:gd name="T26" fmla="*/ 7938 w 5"/>
                <a:gd name="T27" fmla="*/ 0 h 10"/>
                <a:gd name="T28" fmla="*/ 7938 w 5"/>
                <a:gd name="T29" fmla="*/ 0 h 10"/>
                <a:gd name="T30" fmla="*/ 3175 w 5"/>
                <a:gd name="T31" fmla="*/ 0 h 10"/>
                <a:gd name="T32" fmla="*/ 3175 w 5"/>
                <a:gd name="T33" fmla="*/ 4763 h 10"/>
                <a:gd name="T34" fmla="*/ 3175 w 5"/>
                <a:gd name="T35" fmla="*/ 4763 h 10"/>
                <a:gd name="T36" fmla="*/ 3175 w 5"/>
                <a:gd name="T37" fmla="*/ 4763 h 10"/>
                <a:gd name="T38" fmla="*/ 3175 w 5"/>
                <a:gd name="T39" fmla="*/ 4763 h 1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"/>
                <a:gd name="T61" fmla="*/ 0 h 10"/>
                <a:gd name="T62" fmla="*/ 5 w 5"/>
                <a:gd name="T63" fmla="*/ 10 h 1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" h="10">
                  <a:moveTo>
                    <a:pt x="2" y="3"/>
                  </a:moveTo>
                  <a:lnTo>
                    <a:pt x="2" y="3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56" name="Freeform 1558"/>
            <p:cNvSpPr>
              <a:spLocks/>
            </p:cNvSpPr>
            <p:nvPr/>
          </p:nvSpPr>
          <p:spPr bwMode="gray">
            <a:xfrm>
              <a:off x="1178744" y="3298641"/>
              <a:ext cx="83124" cy="118743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0 w 7"/>
                <a:gd name="T5" fmla="*/ 7938 h 10"/>
                <a:gd name="T6" fmla="*/ 0 w 7"/>
                <a:gd name="T7" fmla="*/ 7938 h 10"/>
                <a:gd name="T8" fmla="*/ 0 w 7"/>
                <a:gd name="T9" fmla="*/ 11113 h 10"/>
                <a:gd name="T10" fmla="*/ 4763 w 7"/>
                <a:gd name="T11" fmla="*/ 11113 h 10"/>
                <a:gd name="T12" fmla="*/ 4763 w 7"/>
                <a:gd name="T13" fmla="*/ 15875 h 10"/>
                <a:gd name="T14" fmla="*/ 7938 w 7"/>
                <a:gd name="T15" fmla="*/ 15875 h 10"/>
                <a:gd name="T16" fmla="*/ 7938 w 7"/>
                <a:gd name="T17" fmla="*/ 15875 h 10"/>
                <a:gd name="T18" fmla="*/ 7938 w 7"/>
                <a:gd name="T19" fmla="*/ 15875 h 10"/>
                <a:gd name="T20" fmla="*/ 11113 w 7"/>
                <a:gd name="T21" fmla="*/ 11113 h 10"/>
                <a:gd name="T22" fmla="*/ 11113 w 7"/>
                <a:gd name="T23" fmla="*/ 11113 h 10"/>
                <a:gd name="T24" fmla="*/ 11113 w 7"/>
                <a:gd name="T25" fmla="*/ 11113 h 10"/>
                <a:gd name="T26" fmla="*/ 11113 w 7"/>
                <a:gd name="T27" fmla="*/ 11113 h 10"/>
                <a:gd name="T28" fmla="*/ 11113 w 7"/>
                <a:gd name="T29" fmla="*/ 7938 h 10"/>
                <a:gd name="T30" fmla="*/ 11113 w 7"/>
                <a:gd name="T31" fmla="*/ 7938 h 10"/>
                <a:gd name="T32" fmla="*/ 7938 w 7"/>
                <a:gd name="T33" fmla="*/ 4763 h 10"/>
                <a:gd name="T34" fmla="*/ 4763 w 7"/>
                <a:gd name="T35" fmla="*/ 0 h 10"/>
                <a:gd name="T36" fmla="*/ 0 w 7"/>
                <a:gd name="T37" fmla="*/ 0 h 10"/>
                <a:gd name="T38" fmla="*/ 0 w 7"/>
                <a:gd name="T39" fmla="*/ 0 h 10"/>
                <a:gd name="T40" fmla="*/ 0 w 7"/>
                <a:gd name="T41" fmla="*/ 0 h 10"/>
                <a:gd name="T42" fmla="*/ 0 w 7"/>
                <a:gd name="T43" fmla="*/ 0 h 1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"/>
                <a:gd name="T67" fmla="*/ 0 h 10"/>
                <a:gd name="T68" fmla="*/ 7 w 7"/>
                <a:gd name="T69" fmla="*/ 10 h 1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7" y="7"/>
                  </a:lnTo>
                  <a:lnTo>
                    <a:pt x="7" y="5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57" name="Freeform 1559"/>
            <p:cNvSpPr>
              <a:spLocks/>
            </p:cNvSpPr>
            <p:nvPr/>
          </p:nvSpPr>
          <p:spPr bwMode="gray">
            <a:xfrm>
              <a:off x="929387" y="2989908"/>
              <a:ext cx="83124" cy="59376"/>
            </a:xfrm>
            <a:custGeom>
              <a:avLst/>
              <a:gdLst>
                <a:gd name="T0" fmla="*/ 3175 w 7"/>
                <a:gd name="T1" fmla="*/ 0 h 5"/>
                <a:gd name="T2" fmla="*/ 0 w 7"/>
                <a:gd name="T3" fmla="*/ 4763 h 5"/>
                <a:gd name="T4" fmla="*/ 0 w 7"/>
                <a:gd name="T5" fmla="*/ 4763 h 5"/>
                <a:gd name="T6" fmla="*/ 0 w 7"/>
                <a:gd name="T7" fmla="*/ 4763 h 5"/>
                <a:gd name="T8" fmla="*/ 3175 w 7"/>
                <a:gd name="T9" fmla="*/ 4763 h 5"/>
                <a:gd name="T10" fmla="*/ 7938 w 7"/>
                <a:gd name="T11" fmla="*/ 7938 h 5"/>
                <a:gd name="T12" fmla="*/ 7938 w 7"/>
                <a:gd name="T13" fmla="*/ 7938 h 5"/>
                <a:gd name="T14" fmla="*/ 7938 w 7"/>
                <a:gd name="T15" fmla="*/ 7938 h 5"/>
                <a:gd name="T16" fmla="*/ 11113 w 7"/>
                <a:gd name="T17" fmla="*/ 4763 h 5"/>
                <a:gd name="T18" fmla="*/ 11113 w 7"/>
                <a:gd name="T19" fmla="*/ 4763 h 5"/>
                <a:gd name="T20" fmla="*/ 11113 w 7"/>
                <a:gd name="T21" fmla="*/ 0 h 5"/>
                <a:gd name="T22" fmla="*/ 7938 w 7"/>
                <a:gd name="T23" fmla="*/ 0 h 5"/>
                <a:gd name="T24" fmla="*/ 3175 w 7"/>
                <a:gd name="T25" fmla="*/ 0 h 5"/>
                <a:gd name="T26" fmla="*/ 3175 w 7"/>
                <a:gd name="T27" fmla="*/ 0 h 5"/>
                <a:gd name="T28" fmla="*/ 3175 w 7"/>
                <a:gd name="T29" fmla="*/ 0 h 5"/>
                <a:gd name="T30" fmla="*/ 3175 w 7"/>
                <a:gd name="T31" fmla="*/ 0 h 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"/>
                <a:gd name="T49" fmla="*/ 0 h 5"/>
                <a:gd name="T50" fmla="*/ 7 w 7"/>
                <a:gd name="T51" fmla="*/ 5 h 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" h="5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7" y="3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58" name="Freeform 1560"/>
            <p:cNvSpPr>
              <a:spLocks/>
            </p:cNvSpPr>
            <p:nvPr/>
          </p:nvSpPr>
          <p:spPr bwMode="gray">
            <a:xfrm>
              <a:off x="1131247" y="2942410"/>
              <a:ext cx="166241" cy="225617"/>
            </a:xfrm>
            <a:custGeom>
              <a:avLst/>
              <a:gdLst>
                <a:gd name="T0" fmla="*/ 6350 w 14"/>
                <a:gd name="T1" fmla="*/ 0 h 19"/>
                <a:gd name="T2" fmla="*/ 3175 w 14"/>
                <a:gd name="T3" fmla="*/ 6350 h 19"/>
                <a:gd name="T4" fmla="*/ 0 w 14"/>
                <a:gd name="T5" fmla="*/ 11113 h 19"/>
                <a:gd name="T6" fmla="*/ 0 w 14"/>
                <a:gd name="T7" fmla="*/ 11113 h 19"/>
                <a:gd name="T8" fmla="*/ 3175 w 14"/>
                <a:gd name="T9" fmla="*/ 14288 h 19"/>
                <a:gd name="T10" fmla="*/ 3175 w 14"/>
                <a:gd name="T11" fmla="*/ 14288 h 19"/>
                <a:gd name="T12" fmla="*/ 3175 w 14"/>
                <a:gd name="T13" fmla="*/ 17463 h 19"/>
                <a:gd name="T14" fmla="*/ 6350 w 14"/>
                <a:gd name="T15" fmla="*/ 22225 h 19"/>
                <a:gd name="T16" fmla="*/ 6350 w 14"/>
                <a:gd name="T17" fmla="*/ 25400 h 19"/>
                <a:gd name="T18" fmla="*/ 11113 w 14"/>
                <a:gd name="T19" fmla="*/ 30163 h 19"/>
                <a:gd name="T20" fmla="*/ 17463 w 14"/>
                <a:gd name="T21" fmla="*/ 30163 h 19"/>
                <a:gd name="T22" fmla="*/ 17463 w 14"/>
                <a:gd name="T23" fmla="*/ 30163 h 19"/>
                <a:gd name="T24" fmla="*/ 22225 w 14"/>
                <a:gd name="T25" fmla="*/ 30163 h 19"/>
                <a:gd name="T26" fmla="*/ 22225 w 14"/>
                <a:gd name="T27" fmla="*/ 25400 h 19"/>
                <a:gd name="T28" fmla="*/ 22225 w 14"/>
                <a:gd name="T29" fmla="*/ 25400 h 19"/>
                <a:gd name="T30" fmla="*/ 22225 w 14"/>
                <a:gd name="T31" fmla="*/ 25400 h 19"/>
                <a:gd name="T32" fmla="*/ 17463 w 14"/>
                <a:gd name="T33" fmla="*/ 22225 h 19"/>
                <a:gd name="T34" fmla="*/ 11113 w 14"/>
                <a:gd name="T35" fmla="*/ 22225 h 19"/>
                <a:gd name="T36" fmla="*/ 11113 w 14"/>
                <a:gd name="T37" fmla="*/ 17463 h 19"/>
                <a:gd name="T38" fmla="*/ 6350 w 14"/>
                <a:gd name="T39" fmla="*/ 11113 h 19"/>
                <a:gd name="T40" fmla="*/ 6350 w 14"/>
                <a:gd name="T41" fmla="*/ 3175 h 19"/>
                <a:gd name="T42" fmla="*/ 6350 w 14"/>
                <a:gd name="T43" fmla="*/ 0 h 19"/>
                <a:gd name="T44" fmla="*/ 6350 w 14"/>
                <a:gd name="T45" fmla="*/ 0 h 19"/>
                <a:gd name="T46" fmla="*/ 6350 w 14"/>
                <a:gd name="T47" fmla="*/ 0 h 19"/>
                <a:gd name="T48" fmla="*/ 6350 w 14"/>
                <a:gd name="T49" fmla="*/ 0 h 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"/>
                <a:gd name="T76" fmla="*/ 0 h 19"/>
                <a:gd name="T77" fmla="*/ 14 w 14"/>
                <a:gd name="T78" fmla="*/ 19 h 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" h="19">
                  <a:moveTo>
                    <a:pt x="4" y="0"/>
                  </a:moveTo>
                  <a:lnTo>
                    <a:pt x="2" y="4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7" y="19"/>
                  </a:lnTo>
                  <a:lnTo>
                    <a:pt x="11" y="19"/>
                  </a:lnTo>
                  <a:lnTo>
                    <a:pt x="14" y="19"/>
                  </a:lnTo>
                  <a:lnTo>
                    <a:pt x="14" y="16"/>
                  </a:lnTo>
                  <a:lnTo>
                    <a:pt x="11" y="14"/>
                  </a:lnTo>
                  <a:lnTo>
                    <a:pt x="7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59" name="Freeform 1562"/>
            <p:cNvSpPr>
              <a:spLocks/>
            </p:cNvSpPr>
            <p:nvPr/>
          </p:nvSpPr>
          <p:spPr bwMode="gray">
            <a:xfrm>
              <a:off x="1238119" y="2574309"/>
              <a:ext cx="1519914" cy="2636109"/>
            </a:xfrm>
            <a:custGeom>
              <a:avLst/>
              <a:gdLst>
                <a:gd name="T0" fmla="*/ 30163 w 128"/>
                <a:gd name="T1" fmla="*/ 19050 h 222"/>
                <a:gd name="T2" fmla="*/ 22225 w 128"/>
                <a:gd name="T3" fmla="*/ 33338 h 222"/>
                <a:gd name="T4" fmla="*/ 11113 w 128"/>
                <a:gd name="T5" fmla="*/ 49213 h 222"/>
                <a:gd name="T6" fmla="*/ 11113 w 128"/>
                <a:gd name="T7" fmla="*/ 55563 h 222"/>
                <a:gd name="T8" fmla="*/ 11113 w 128"/>
                <a:gd name="T9" fmla="*/ 63500 h 222"/>
                <a:gd name="T10" fmla="*/ 7938 w 128"/>
                <a:gd name="T11" fmla="*/ 71438 h 222"/>
                <a:gd name="T12" fmla="*/ 11113 w 128"/>
                <a:gd name="T13" fmla="*/ 79375 h 222"/>
                <a:gd name="T14" fmla="*/ 7938 w 128"/>
                <a:gd name="T15" fmla="*/ 101600 h 222"/>
                <a:gd name="T16" fmla="*/ 22225 w 128"/>
                <a:gd name="T17" fmla="*/ 101600 h 222"/>
                <a:gd name="T18" fmla="*/ 11113 w 128"/>
                <a:gd name="T19" fmla="*/ 112713 h 222"/>
                <a:gd name="T20" fmla="*/ 14288 w 128"/>
                <a:gd name="T21" fmla="*/ 123825 h 222"/>
                <a:gd name="T22" fmla="*/ 30163 w 128"/>
                <a:gd name="T23" fmla="*/ 123825 h 222"/>
                <a:gd name="T24" fmla="*/ 44450 w 128"/>
                <a:gd name="T25" fmla="*/ 165100 h 222"/>
                <a:gd name="T26" fmla="*/ 63500 w 128"/>
                <a:gd name="T27" fmla="*/ 179388 h 222"/>
                <a:gd name="T28" fmla="*/ 82550 w 128"/>
                <a:gd name="T29" fmla="*/ 201613 h 222"/>
                <a:gd name="T30" fmla="*/ 71438 w 128"/>
                <a:gd name="T31" fmla="*/ 217488 h 222"/>
                <a:gd name="T32" fmla="*/ 38100 w 128"/>
                <a:gd name="T33" fmla="*/ 220663 h 222"/>
                <a:gd name="T34" fmla="*/ 44450 w 128"/>
                <a:gd name="T35" fmla="*/ 228600 h 222"/>
                <a:gd name="T36" fmla="*/ 38100 w 128"/>
                <a:gd name="T37" fmla="*/ 242888 h 222"/>
                <a:gd name="T38" fmla="*/ 33338 w 128"/>
                <a:gd name="T39" fmla="*/ 266700 h 222"/>
                <a:gd name="T40" fmla="*/ 22225 w 128"/>
                <a:gd name="T41" fmla="*/ 288925 h 222"/>
                <a:gd name="T42" fmla="*/ 41275 w 128"/>
                <a:gd name="T43" fmla="*/ 280988 h 222"/>
                <a:gd name="T44" fmla="*/ 66675 w 128"/>
                <a:gd name="T45" fmla="*/ 288925 h 222"/>
                <a:gd name="T46" fmla="*/ 85725 w 128"/>
                <a:gd name="T47" fmla="*/ 288925 h 222"/>
                <a:gd name="T48" fmla="*/ 30163 w 128"/>
                <a:gd name="T49" fmla="*/ 314325 h 222"/>
                <a:gd name="T50" fmla="*/ 0 w 128"/>
                <a:gd name="T51" fmla="*/ 349250 h 222"/>
                <a:gd name="T52" fmla="*/ 14288 w 128"/>
                <a:gd name="T53" fmla="*/ 352425 h 222"/>
                <a:gd name="T54" fmla="*/ 38100 w 128"/>
                <a:gd name="T55" fmla="*/ 330200 h 222"/>
                <a:gd name="T56" fmla="*/ 55563 w 128"/>
                <a:gd name="T57" fmla="*/ 333375 h 222"/>
                <a:gd name="T58" fmla="*/ 79375 w 128"/>
                <a:gd name="T59" fmla="*/ 322263 h 222"/>
                <a:gd name="T60" fmla="*/ 101600 w 128"/>
                <a:gd name="T61" fmla="*/ 325438 h 222"/>
                <a:gd name="T62" fmla="*/ 134938 w 128"/>
                <a:gd name="T63" fmla="*/ 319088 h 222"/>
                <a:gd name="T64" fmla="*/ 173038 w 128"/>
                <a:gd name="T65" fmla="*/ 314325 h 222"/>
                <a:gd name="T66" fmla="*/ 173038 w 128"/>
                <a:gd name="T67" fmla="*/ 300038 h 222"/>
                <a:gd name="T68" fmla="*/ 173038 w 128"/>
                <a:gd name="T69" fmla="*/ 288925 h 222"/>
                <a:gd name="T70" fmla="*/ 184150 w 128"/>
                <a:gd name="T71" fmla="*/ 280988 h 222"/>
                <a:gd name="T72" fmla="*/ 195263 w 128"/>
                <a:gd name="T73" fmla="*/ 273050 h 222"/>
                <a:gd name="T74" fmla="*/ 198438 w 128"/>
                <a:gd name="T75" fmla="*/ 242888 h 222"/>
                <a:gd name="T76" fmla="*/ 184150 w 128"/>
                <a:gd name="T77" fmla="*/ 236538 h 222"/>
                <a:gd name="T78" fmla="*/ 168275 w 128"/>
                <a:gd name="T79" fmla="*/ 247650 h 222"/>
                <a:gd name="T80" fmla="*/ 161925 w 128"/>
                <a:gd name="T81" fmla="*/ 242888 h 222"/>
                <a:gd name="T82" fmla="*/ 157163 w 128"/>
                <a:gd name="T83" fmla="*/ 217488 h 222"/>
                <a:gd name="T84" fmla="*/ 165100 w 128"/>
                <a:gd name="T85" fmla="*/ 209550 h 222"/>
                <a:gd name="T86" fmla="*/ 134938 w 128"/>
                <a:gd name="T87" fmla="*/ 176213 h 222"/>
                <a:gd name="T88" fmla="*/ 120650 w 128"/>
                <a:gd name="T89" fmla="*/ 168275 h 222"/>
                <a:gd name="T90" fmla="*/ 112713 w 128"/>
                <a:gd name="T91" fmla="*/ 142875 h 222"/>
                <a:gd name="T92" fmla="*/ 96838 w 128"/>
                <a:gd name="T93" fmla="*/ 127000 h 222"/>
                <a:gd name="T94" fmla="*/ 90488 w 128"/>
                <a:gd name="T95" fmla="*/ 115888 h 222"/>
                <a:gd name="T96" fmla="*/ 79375 w 128"/>
                <a:gd name="T97" fmla="*/ 120650 h 222"/>
                <a:gd name="T98" fmla="*/ 90488 w 128"/>
                <a:gd name="T99" fmla="*/ 96838 h 222"/>
                <a:gd name="T100" fmla="*/ 90488 w 128"/>
                <a:gd name="T101" fmla="*/ 82550 h 222"/>
                <a:gd name="T102" fmla="*/ 104775 w 128"/>
                <a:gd name="T103" fmla="*/ 55563 h 222"/>
                <a:gd name="T104" fmla="*/ 101600 w 128"/>
                <a:gd name="T105" fmla="*/ 44450 h 222"/>
                <a:gd name="T106" fmla="*/ 52388 w 128"/>
                <a:gd name="T107" fmla="*/ 52388 h 222"/>
                <a:gd name="T108" fmla="*/ 44450 w 128"/>
                <a:gd name="T109" fmla="*/ 49213 h 222"/>
                <a:gd name="T110" fmla="*/ 55563 w 128"/>
                <a:gd name="T111" fmla="*/ 30163 h 222"/>
                <a:gd name="T112" fmla="*/ 71438 w 128"/>
                <a:gd name="T113" fmla="*/ 14288 h 222"/>
                <a:gd name="T114" fmla="*/ 71438 w 128"/>
                <a:gd name="T115" fmla="*/ 3175 h 222"/>
                <a:gd name="T116" fmla="*/ 52388 w 128"/>
                <a:gd name="T117" fmla="*/ 0 h 2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28"/>
                <a:gd name="T178" fmla="*/ 0 h 222"/>
                <a:gd name="T179" fmla="*/ 128 w 128"/>
                <a:gd name="T180" fmla="*/ 222 h 2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28" h="222">
                  <a:moveTo>
                    <a:pt x="33" y="0"/>
                  </a:moveTo>
                  <a:lnTo>
                    <a:pt x="31" y="2"/>
                  </a:lnTo>
                  <a:lnTo>
                    <a:pt x="26" y="7"/>
                  </a:lnTo>
                  <a:lnTo>
                    <a:pt x="19" y="2"/>
                  </a:lnTo>
                  <a:lnTo>
                    <a:pt x="19" y="7"/>
                  </a:lnTo>
                  <a:lnTo>
                    <a:pt x="19" y="12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7" y="26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9" y="40"/>
                  </a:lnTo>
                  <a:lnTo>
                    <a:pt x="12" y="40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7" y="42"/>
                  </a:lnTo>
                  <a:lnTo>
                    <a:pt x="9" y="42"/>
                  </a:lnTo>
                  <a:lnTo>
                    <a:pt x="7" y="42"/>
                  </a:lnTo>
                  <a:lnTo>
                    <a:pt x="5" y="45"/>
                  </a:lnTo>
                  <a:lnTo>
                    <a:pt x="5" y="47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7"/>
                  </a:lnTo>
                  <a:lnTo>
                    <a:pt x="5" y="64"/>
                  </a:lnTo>
                  <a:lnTo>
                    <a:pt x="9" y="64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4" y="64"/>
                  </a:lnTo>
                  <a:lnTo>
                    <a:pt x="12" y="66"/>
                  </a:lnTo>
                  <a:lnTo>
                    <a:pt x="9" y="66"/>
                  </a:lnTo>
                  <a:lnTo>
                    <a:pt x="7" y="68"/>
                  </a:lnTo>
                  <a:lnTo>
                    <a:pt x="7" y="71"/>
                  </a:lnTo>
                  <a:lnTo>
                    <a:pt x="7" y="73"/>
                  </a:lnTo>
                  <a:lnTo>
                    <a:pt x="7" y="76"/>
                  </a:lnTo>
                  <a:lnTo>
                    <a:pt x="7" y="78"/>
                  </a:lnTo>
                  <a:lnTo>
                    <a:pt x="7" y="80"/>
                  </a:lnTo>
                  <a:lnTo>
                    <a:pt x="9" y="78"/>
                  </a:lnTo>
                  <a:lnTo>
                    <a:pt x="9" y="76"/>
                  </a:lnTo>
                  <a:lnTo>
                    <a:pt x="12" y="76"/>
                  </a:lnTo>
                  <a:lnTo>
                    <a:pt x="12" y="73"/>
                  </a:lnTo>
                  <a:lnTo>
                    <a:pt x="17" y="73"/>
                  </a:lnTo>
                  <a:lnTo>
                    <a:pt x="19" y="73"/>
                  </a:lnTo>
                  <a:lnTo>
                    <a:pt x="19" y="78"/>
                  </a:lnTo>
                  <a:lnTo>
                    <a:pt x="19" y="80"/>
                  </a:lnTo>
                  <a:lnTo>
                    <a:pt x="17" y="87"/>
                  </a:lnTo>
                  <a:lnTo>
                    <a:pt x="17" y="97"/>
                  </a:lnTo>
                  <a:lnTo>
                    <a:pt x="14" y="104"/>
                  </a:lnTo>
                  <a:lnTo>
                    <a:pt x="21" y="104"/>
                  </a:lnTo>
                  <a:lnTo>
                    <a:pt x="28" y="104"/>
                  </a:lnTo>
                  <a:lnTo>
                    <a:pt x="35" y="101"/>
                  </a:lnTo>
                  <a:lnTo>
                    <a:pt x="47" y="101"/>
                  </a:lnTo>
                  <a:lnTo>
                    <a:pt x="45" y="104"/>
                  </a:lnTo>
                  <a:lnTo>
                    <a:pt x="42" y="109"/>
                  </a:lnTo>
                  <a:lnTo>
                    <a:pt x="40" y="111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5" y="116"/>
                  </a:lnTo>
                  <a:lnTo>
                    <a:pt x="50" y="116"/>
                  </a:lnTo>
                  <a:lnTo>
                    <a:pt x="54" y="116"/>
                  </a:lnTo>
                  <a:lnTo>
                    <a:pt x="52" y="123"/>
                  </a:lnTo>
                  <a:lnTo>
                    <a:pt x="52" y="127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47" y="135"/>
                  </a:lnTo>
                  <a:lnTo>
                    <a:pt x="45" y="137"/>
                  </a:lnTo>
                  <a:lnTo>
                    <a:pt x="42" y="137"/>
                  </a:lnTo>
                  <a:lnTo>
                    <a:pt x="40" y="137"/>
                  </a:lnTo>
                  <a:lnTo>
                    <a:pt x="33" y="135"/>
                  </a:lnTo>
                  <a:lnTo>
                    <a:pt x="24" y="132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6" y="139"/>
                  </a:lnTo>
                  <a:lnTo>
                    <a:pt x="28" y="139"/>
                  </a:lnTo>
                  <a:lnTo>
                    <a:pt x="28" y="142"/>
                  </a:lnTo>
                  <a:lnTo>
                    <a:pt x="28" y="144"/>
                  </a:lnTo>
                  <a:lnTo>
                    <a:pt x="26" y="146"/>
                  </a:lnTo>
                  <a:lnTo>
                    <a:pt x="24" y="149"/>
                  </a:lnTo>
                  <a:lnTo>
                    <a:pt x="21" y="151"/>
                  </a:lnTo>
                  <a:lnTo>
                    <a:pt x="19" y="156"/>
                  </a:lnTo>
                  <a:lnTo>
                    <a:pt x="24" y="153"/>
                  </a:lnTo>
                  <a:lnTo>
                    <a:pt x="26" y="153"/>
                  </a:lnTo>
                  <a:lnTo>
                    <a:pt x="28" y="153"/>
                  </a:lnTo>
                  <a:lnTo>
                    <a:pt x="28" y="158"/>
                  </a:lnTo>
                  <a:lnTo>
                    <a:pt x="28" y="163"/>
                  </a:lnTo>
                  <a:lnTo>
                    <a:pt x="26" y="165"/>
                  </a:lnTo>
                  <a:lnTo>
                    <a:pt x="21" y="168"/>
                  </a:lnTo>
                  <a:lnTo>
                    <a:pt x="17" y="170"/>
                  </a:lnTo>
                  <a:lnTo>
                    <a:pt x="12" y="172"/>
                  </a:lnTo>
                  <a:lnTo>
                    <a:pt x="14" y="177"/>
                  </a:lnTo>
                  <a:lnTo>
                    <a:pt x="14" y="179"/>
                  </a:lnTo>
                  <a:lnTo>
                    <a:pt x="14" y="182"/>
                  </a:lnTo>
                  <a:lnTo>
                    <a:pt x="17" y="182"/>
                  </a:lnTo>
                  <a:lnTo>
                    <a:pt x="19" y="182"/>
                  </a:lnTo>
                  <a:lnTo>
                    <a:pt x="24" y="179"/>
                  </a:lnTo>
                  <a:lnTo>
                    <a:pt x="26" y="177"/>
                  </a:lnTo>
                  <a:lnTo>
                    <a:pt x="26" y="182"/>
                  </a:lnTo>
                  <a:lnTo>
                    <a:pt x="26" y="184"/>
                  </a:lnTo>
                  <a:lnTo>
                    <a:pt x="33" y="184"/>
                  </a:lnTo>
                  <a:lnTo>
                    <a:pt x="35" y="182"/>
                  </a:lnTo>
                  <a:lnTo>
                    <a:pt x="38" y="182"/>
                  </a:lnTo>
                  <a:lnTo>
                    <a:pt x="42" y="182"/>
                  </a:lnTo>
                  <a:lnTo>
                    <a:pt x="45" y="182"/>
                  </a:lnTo>
                  <a:lnTo>
                    <a:pt x="47" y="179"/>
                  </a:lnTo>
                  <a:lnTo>
                    <a:pt x="57" y="179"/>
                  </a:lnTo>
                  <a:lnTo>
                    <a:pt x="54" y="182"/>
                  </a:lnTo>
                  <a:lnTo>
                    <a:pt x="54" y="184"/>
                  </a:lnTo>
                  <a:lnTo>
                    <a:pt x="52" y="187"/>
                  </a:lnTo>
                  <a:lnTo>
                    <a:pt x="52" y="189"/>
                  </a:lnTo>
                  <a:lnTo>
                    <a:pt x="24" y="189"/>
                  </a:lnTo>
                  <a:lnTo>
                    <a:pt x="21" y="194"/>
                  </a:lnTo>
                  <a:lnTo>
                    <a:pt x="19" y="198"/>
                  </a:lnTo>
                  <a:lnTo>
                    <a:pt x="17" y="203"/>
                  </a:lnTo>
                  <a:lnTo>
                    <a:pt x="14" y="205"/>
                  </a:lnTo>
                  <a:lnTo>
                    <a:pt x="12" y="210"/>
                  </a:lnTo>
                  <a:lnTo>
                    <a:pt x="7" y="213"/>
                  </a:lnTo>
                  <a:lnTo>
                    <a:pt x="5" y="215"/>
                  </a:lnTo>
                  <a:lnTo>
                    <a:pt x="0" y="220"/>
                  </a:lnTo>
                  <a:lnTo>
                    <a:pt x="2" y="220"/>
                  </a:lnTo>
                  <a:lnTo>
                    <a:pt x="5" y="220"/>
                  </a:lnTo>
                  <a:lnTo>
                    <a:pt x="7" y="220"/>
                  </a:lnTo>
                  <a:lnTo>
                    <a:pt x="9" y="222"/>
                  </a:lnTo>
                  <a:lnTo>
                    <a:pt x="12" y="222"/>
                  </a:lnTo>
                  <a:lnTo>
                    <a:pt x="14" y="222"/>
                  </a:lnTo>
                  <a:lnTo>
                    <a:pt x="14" y="217"/>
                  </a:lnTo>
                  <a:lnTo>
                    <a:pt x="14" y="215"/>
                  </a:lnTo>
                  <a:lnTo>
                    <a:pt x="21" y="210"/>
                  </a:lnTo>
                  <a:lnTo>
                    <a:pt x="24" y="208"/>
                  </a:lnTo>
                  <a:lnTo>
                    <a:pt x="26" y="208"/>
                  </a:lnTo>
                  <a:lnTo>
                    <a:pt x="28" y="208"/>
                  </a:lnTo>
                  <a:lnTo>
                    <a:pt x="31" y="210"/>
                  </a:lnTo>
                  <a:lnTo>
                    <a:pt x="33" y="210"/>
                  </a:lnTo>
                  <a:lnTo>
                    <a:pt x="35" y="210"/>
                  </a:lnTo>
                  <a:lnTo>
                    <a:pt x="38" y="213"/>
                  </a:lnTo>
                  <a:lnTo>
                    <a:pt x="40" y="210"/>
                  </a:lnTo>
                  <a:lnTo>
                    <a:pt x="40" y="208"/>
                  </a:lnTo>
                  <a:lnTo>
                    <a:pt x="45" y="203"/>
                  </a:lnTo>
                  <a:lnTo>
                    <a:pt x="47" y="203"/>
                  </a:lnTo>
                  <a:lnTo>
                    <a:pt x="50" y="203"/>
                  </a:lnTo>
                  <a:lnTo>
                    <a:pt x="52" y="205"/>
                  </a:lnTo>
                  <a:lnTo>
                    <a:pt x="54" y="205"/>
                  </a:lnTo>
                  <a:lnTo>
                    <a:pt x="57" y="205"/>
                  </a:lnTo>
                  <a:lnTo>
                    <a:pt x="59" y="205"/>
                  </a:lnTo>
                  <a:lnTo>
                    <a:pt x="61" y="208"/>
                  </a:lnTo>
                  <a:lnTo>
                    <a:pt x="64" y="205"/>
                  </a:lnTo>
                  <a:lnTo>
                    <a:pt x="66" y="203"/>
                  </a:lnTo>
                  <a:lnTo>
                    <a:pt x="68" y="198"/>
                  </a:lnTo>
                  <a:lnTo>
                    <a:pt x="73" y="198"/>
                  </a:lnTo>
                  <a:lnTo>
                    <a:pt x="76" y="198"/>
                  </a:lnTo>
                  <a:lnTo>
                    <a:pt x="80" y="198"/>
                  </a:lnTo>
                  <a:lnTo>
                    <a:pt x="85" y="201"/>
                  </a:lnTo>
                  <a:lnTo>
                    <a:pt x="90" y="201"/>
                  </a:lnTo>
                  <a:lnTo>
                    <a:pt x="94" y="201"/>
                  </a:lnTo>
                  <a:lnTo>
                    <a:pt x="99" y="201"/>
                  </a:lnTo>
                  <a:lnTo>
                    <a:pt x="102" y="201"/>
                  </a:lnTo>
                  <a:lnTo>
                    <a:pt x="106" y="201"/>
                  </a:lnTo>
                  <a:lnTo>
                    <a:pt x="109" y="198"/>
                  </a:lnTo>
                  <a:lnTo>
                    <a:pt x="113" y="196"/>
                  </a:lnTo>
                  <a:lnTo>
                    <a:pt x="118" y="194"/>
                  </a:lnTo>
                  <a:lnTo>
                    <a:pt x="118" y="189"/>
                  </a:lnTo>
                  <a:lnTo>
                    <a:pt x="113" y="189"/>
                  </a:lnTo>
                  <a:lnTo>
                    <a:pt x="111" y="189"/>
                  </a:lnTo>
                  <a:lnTo>
                    <a:pt x="109" y="189"/>
                  </a:lnTo>
                  <a:lnTo>
                    <a:pt x="106" y="189"/>
                  </a:lnTo>
                  <a:lnTo>
                    <a:pt x="106" y="187"/>
                  </a:lnTo>
                  <a:lnTo>
                    <a:pt x="106" y="184"/>
                  </a:lnTo>
                  <a:lnTo>
                    <a:pt x="109" y="182"/>
                  </a:lnTo>
                  <a:lnTo>
                    <a:pt x="109" y="179"/>
                  </a:lnTo>
                  <a:lnTo>
                    <a:pt x="109" y="177"/>
                  </a:lnTo>
                  <a:lnTo>
                    <a:pt x="111" y="177"/>
                  </a:lnTo>
                  <a:lnTo>
                    <a:pt x="113" y="177"/>
                  </a:lnTo>
                  <a:lnTo>
                    <a:pt x="116" y="177"/>
                  </a:lnTo>
                  <a:lnTo>
                    <a:pt x="118" y="177"/>
                  </a:lnTo>
                  <a:lnTo>
                    <a:pt x="120" y="177"/>
                  </a:lnTo>
                  <a:lnTo>
                    <a:pt x="120" y="175"/>
                  </a:lnTo>
                  <a:lnTo>
                    <a:pt x="123" y="175"/>
                  </a:lnTo>
                  <a:lnTo>
                    <a:pt x="123" y="172"/>
                  </a:lnTo>
                  <a:lnTo>
                    <a:pt x="123" y="170"/>
                  </a:lnTo>
                  <a:lnTo>
                    <a:pt x="125" y="168"/>
                  </a:lnTo>
                  <a:lnTo>
                    <a:pt x="125" y="165"/>
                  </a:lnTo>
                  <a:lnTo>
                    <a:pt x="128" y="161"/>
                  </a:lnTo>
                  <a:lnTo>
                    <a:pt x="128" y="158"/>
                  </a:lnTo>
                  <a:lnTo>
                    <a:pt x="125" y="153"/>
                  </a:lnTo>
                  <a:lnTo>
                    <a:pt x="123" y="151"/>
                  </a:lnTo>
                  <a:lnTo>
                    <a:pt x="120" y="149"/>
                  </a:lnTo>
                  <a:lnTo>
                    <a:pt x="118" y="149"/>
                  </a:lnTo>
                  <a:lnTo>
                    <a:pt x="116" y="149"/>
                  </a:lnTo>
                  <a:lnTo>
                    <a:pt x="113" y="149"/>
                  </a:lnTo>
                  <a:lnTo>
                    <a:pt x="111" y="149"/>
                  </a:lnTo>
                  <a:lnTo>
                    <a:pt x="109" y="156"/>
                  </a:lnTo>
                  <a:lnTo>
                    <a:pt x="106" y="156"/>
                  </a:lnTo>
                  <a:lnTo>
                    <a:pt x="104" y="153"/>
                  </a:lnTo>
                  <a:lnTo>
                    <a:pt x="104" y="151"/>
                  </a:lnTo>
                  <a:lnTo>
                    <a:pt x="102" y="151"/>
                  </a:lnTo>
                  <a:lnTo>
                    <a:pt x="102" y="153"/>
                  </a:lnTo>
                  <a:lnTo>
                    <a:pt x="102" y="151"/>
                  </a:lnTo>
                  <a:lnTo>
                    <a:pt x="102" y="146"/>
                  </a:lnTo>
                  <a:lnTo>
                    <a:pt x="102" y="142"/>
                  </a:lnTo>
                  <a:lnTo>
                    <a:pt x="102" y="139"/>
                  </a:lnTo>
                  <a:lnTo>
                    <a:pt x="99" y="137"/>
                  </a:lnTo>
                  <a:lnTo>
                    <a:pt x="97" y="132"/>
                  </a:lnTo>
                  <a:lnTo>
                    <a:pt x="99" y="132"/>
                  </a:lnTo>
                  <a:lnTo>
                    <a:pt x="102" y="132"/>
                  </a:lnTo>
                  <a:lnTo>
                    <a:pt x="104" y="132"/>
                  </a:lnTo>
                  <a:lnTo>
                    <a:pt x="104" y="130"/>
                  </a:lnTo>
                  <a:lnTo>
                    <a:pt x="102" y="127"/>
                  </a:lnTo>
                  <a:lnTo>
                    <a:pt x="97" y="127"/>
                  </a:lnTo>
                  <a:lnTo>
                    <a:pt x="94" y="125"/>
                  </a:lnTo>
                  <a:lnTo>
                    <a:pt x="90" y="118"/>
                  </a:lnTo>
                  <a:lnTo>
                    <a:pt x="85" y="111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8" y="109"/>
                  </a:lnTo>
                  <a:lnTo>
                    <a:pt x="76" y="106"/>
                  </a:lnTo>
                  <a:lnTo>
                    <a:pt x="73" y="104"/>
                  </a:lnTo>
                  <a:lnTo>
                    <a:pt x="73" y="101"/>
                  </a:lnTo>
                  <a:lnTo>
                    <a:pt x="71" y="97"/>
                  </a:lnTo>
                  <a:lnTo>
                    <a:pt x="71" y="94"/>
                  </a:lnTo>
                  <a:lnTo>
                    <a:pt x="71" y="90"/>
                  </a:lnTo>
                  <a:lnTo>
                    <a:pt x="68" y="87"/>
                  </a:lnTo>
                  <a:lnTo>
                    <a:pt x="68" y="85"/>
                  </a:lnTo>
                  <a:lnTo>
                    <a:pt x="66" y="83"/>
                  </a:lnTo>
                  <a:lnTo>
                    <a:pt x="64" y="80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76"/>
                  </a:lnTo>
                  <a:lnTo>
                    <a:pt x="57" y="73"/>
                  </a:lnTo>
                  <a:lnTo>
                    <a:pt x="54" y="73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52" y="71"/>
                  </a:lnTo>
                  <a:lnTo>
                    <a:pt x="54" y="66"/>
                  </a:lnTo>
                  <a:lnTo>
                    <a:pt x="57" y="66"/>
                  </a:lnTo>
                  <a:lnTo>
                    <a:pt x="57" y="64"/>
                  </a:lnTo>
                  <a:lnTo>
                    <a:pt x="57" y="61"/>
                  </a:lnTo>
                  <a:lnTo>
                    <a:pt x="54" y="59"/>
                  </a:lnTo>
                  <a:lnTo>
                    <a:pt x="52" y="59"/>
                  </a:lnTo>
                  <a:lnTo>
                    <a:pt x="54" y="57"/>
                  </a:lnTo>
                  <a:lnTo>
                    <a:pt x="57" y="52"/>
                  </a:lnTo>
                  <a:lnTo>
                    <a:pt x="61" y="50"/>
                  </a:lnTo>
                  <a:lnTo>
                    <a:pt x="64" y="47"/>
                  </a:lnTo>
                  <a:lnTo>
                    <a:pt x="66" y="42"/>
                  </a:lnTo>
                  <a:lnTo>
                    <a:pt x="66" y="38"/>
                  </a:lnTo>
                  <a:lnTo>
                    <a:pt x="66" y="35"/>
                  </a:lnTo>
                  <a:lnTo>
                    <a:pt x="66" y="33"/>
                  </a:lnTo>
                  <a:lnTo>
                    <a:pt x="66" y="31"/>
                  </a:lnTo>
                  <a:lnTo>
                    <a:pt x="64" y="31"/>
                  </a:lnTo>
                  <a:lnTo>
                    <a:pt x="64" y="28"/>
                  </a:lnTo>
                  <a:lnTo>
                    <a:pt x="61" y="28"/>
                  </a:lnTo>
                  <a:lnTo>
                    <a:pt x="57" y="28"/>
                  </a:lnTo>
                  <a:lnTo>
                    <a:pt x="45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31" y="31"/>
                  </a:lnTo>
                  <a:lnTo>
                    <a:pt x="28" y="31"/>
                  </a:lnTo>
                  <a:lnTo>
                    <a:pt x="31" y="26"/>
                  </a:lnTo>
                  <a:lnTo>
                    <a:pt x="31" y="21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8" y="19"/>
                  </a:lnTo>
                  <a:lnTo>
                    <a:pt x="40" y="16"/>
                  </a:lnTo>
                  <a:lnTo>
                    <a:pt x="42" y="12"/>
                  </a:lnTo>
                  <a:lnTo>
                    <a:pt x="47" y="12"/>
                  </a:lnTo>
                  <a:lnTo>
                    <a:pt x="45" y="9"/>
                  </a:lnTo>
                  <a:lnTo>
                    <a:pt x="45" y="5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5" y="2"/>
                  </a:lnTo>
                  <a:lnTo>
                    <a:pt x="40" y="0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0" name="Freeform 1580"/>
            <p:cNvSpPr>
              <a:spLocks/>
            </p:cNvSpPr>
            <p:nvPr/>
          </p:nvSpPr>
          <p:spPr bwMode="gray">
            <a:xfrm>
              <a:off x="3772245" y="5827892"/>
              <a:ext cx="493832" cy="161344"/>
            </a:xfrm>
            <a:custGeom>
              <a:avLst/>
              <a:gdLst/>
              <a:ahLst/>
              <a:cxnLst/>
              <a:rect l="l" t="t" r="r" b="b"/>
              <a:pathLst>
                <a:path w="598579" h="195567">
                  <a:moveTo>
                    <a:pt x="296322" y="0"/>
                  </a:moveTo>
                  <a:lnTo>
                    <a:pt x="325108" y="0"/>
                  </a:lnTo>
                  <a:lnTo>
                    <a:pt x="368291" y="0"/>
                  </a:lnTo>
                  <a:lnTo>
                    <a:pt x="425863" y="28786"/>
                  </a:lnTo>
                  <a:lnTo>
                    <a:pt x="425863" y="71970"/>
                  </a:lnTo>
                  <a:lnTo>
                    <a:pt x="598579" y="172716"/>
                  </a:lnTo>
                  <a:lnTo>
                    <a:pt x="598579" y="195567"/>
                  </a:lnTo>
                  <a:lnTo>
                    <a:pt x="0" y="195567"/>
                  </a:lnTo>
                  <a:lnTo>
                    <a:pt x="22851" y="172716"/>
                  </a:lnTo>
                  <a:lnTo>
                    <a:pt x="22851" y="129542"/>
                  </a:lnTo>
                  <a:lnTo>
                    <a:pt x="22851" y="100756"/>
                  </a:lnTo>
                  <a:lnTo>
                    <a:pt x="51637" y="100756"/>
                  </a:lnTo>
                  <a:lnTo>
                    <a:pt x="94820" y="100756"/>
                  </a:lnTo>
                  <a:lnTo>
                    <a:pt x="123606" y="100756"/>
                  </a:lnTo>
                  <a:lnTo>
                    <a:pt x="152392" y="71970"/>
                  </a:lnTo>
                  <a:lnTo>
                    <a:pt x="195576" y="71970"/>
                  </a:lnTo>
                  <a:lnTo>
                    <a:pt x="253147" y="28786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1" name="Freeform 1583"/>
            <p:cNvSpPr>
              <a:spLocks/>
            </p:cNvSpPr>
            <p:nvPr/>
          </p:nvSpPr>
          <p:spPr bwMode="gray">
            <a:xfrm>
              <a:off x="5132891" y="3690499"/>
              <a:ext cx="118743" cy="118743"/>
            </a:xfrm>
            <a:custGeom>
              <a:avLst/>
              <a:gdLst>
                <a:gd name="T0" fmla="*/ 0 w 10"/>
                <a:gd name="T1" fmla="*/ 0 h 10"/>
                <a:gd name="T2" fmla="*/ 4763 w 10"/>
                <a:gd name="T3" fmla="*/ 7938 h 10"/>
                <a:gd name="T4" fmla="*/ 4763 w 10"/>
                <a:gd name="T5" fmla="*/ 15875 h 10"/>
                <a:gd name="T6" fmla="*/ 7938 w 10"/>
                <a:gd name="T7" fmla="*/ 15875 h 10"/>
                <a:gd name="T8" fmla="*/ 11113 w 10"/>
                <a:gd name="T9" fmla="*/ 15875 h 10"/>
                <a:gd name="T10" fmla="*/ 15875 w 10"/>
                <a:gd name="T11" fmla="*/ 15875 h 10"/>
                <a:gd name="T12" fmla="*/ 15875 w 10"/>
                <a:gd name="T13" fmla="*/ 15875 h 10"/>
                <a:gd name="T14" fmla="*/ 15875 w 10"/>
                <a:gd name="T15" fmla="*/ 15875 h 10"/>
                <a:gd name="T16" fmla="*/ 15875 w 10"/>
                <a:gd name="T17" fmla="*/ 15875 h 10"/>
                <a:gd name="T18" fmla="*/ 15875 w 10"/>
                <a:gd name="T19" fmla="*/ 11113 h 10"/>
                <a:gd name="T20" fmla="*/ 15875 w 10"/>
                <a:gd name="T21" fmla="*/ 11113 h 10"/>
                <a:gd name="T22" fmla="*/ 11113 w 10"/>
                <a:gd name="T23" fmla="*/ 7938 h 10"/>
                <a:gd name="T24" fmla="*/ 7938 w 10"/>
                <a:gd name="T25" fmla="*/ 4763 h 10"/>
                <a:gd name="T26" fmla="*/ 4763 w 10"/>
                <a:gd name="T27" fmla="*/ 0 h 10"/>
                <a:gd name="T28" fmla="*/ 0 w 10"/>
                <a:gd name="T29" fmla="*/ 0 h 10"/>
                <a:gd name="T30" fmla="*/ 0 w 10"/>
                <a:gd name="T31" fmla="*/ 0 h 10"/>
                <a:gd name="T32" fmla="*/ 0 w 10"/>
                <a:gd name="T33" fmla="*/ 0 h 10"/>
                <a:gd name="T34" fmla="*/ 0 w 10"/>
                <a:gd name="T35" fmla="*/ 0 h 1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"/>
                <a:gd name="T55" fmla="*/ 0 h 10"/>
                <a:gd name="T56" fmla="*/ 10 w 10"/>
                <a:gd name="T57" fmla="*/ 10 h 1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" h="10">
                  <a:moveTo>
                    <a:pt x="0" y="0"/>
                  </a:moveTo>
                  <a:lnTo>
                    <a:pt x="3" y="5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7" y="10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7" y="5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2" name="Freeform 1682"/>
            <p:cNvSpPr>
              <a:spLocks/>
            </p:cNvSpPr>
            <p:nvPr/>
          </p:nvSpPr>
          <p:spPr bwMode="gray">
            <a:xfrm>
              <a:off x="5026025" y="4066020"/>
              <a:ext cx="356222" cy="942528"/>
            </a:xfrm>
            <a:custGeom>
              <a:avLst/>
              <a:gdLst/>
              <a:ahLst/>
              <a:cxnLst/>
              <a:rect l="l" t="t" r="r" b="b"/>
              <a:pathLst>
                <a:path w="47624" h="126008">
                  <a:moveTo>
                    <a:pt x="45243" y="0"/>
                  </a:moveTo>
                  <a:lnTo>
                    <a:pt x="45243" y="119658"/>
                  </a:lnTo>
                  <a:lnTo>
                    <a:pt x="47624" y="119658"/>
                  </a:lnTo>
                  <a:lnTo>
                    <a:pt x="47624" y="126008"/>
                  </a:lnTo>
                  <a:lnTo>
                    <a:pt x="44450" y="126008"/>
                  </a:lnTo>
                  <a:lnTo>
                    <a:pt x="41275" y="126008"/>
                  </a:lnTo>
                  <a:lnTo>
                    <a:pt x="36513" y="122833"/>
                  </a:lnTo>
                  <a:lnTo>
                    <a:pt x="33338" y="122833"/>
                  </a:lnTo>
                  <a:lnTo>
                    <a:pt x="33338" y="119658"/>
                  </a:lnTo>
                  <a:lnTo>
                    <a:pt x="22225" y="119658"/>
                  </a:lnTo>
                  <a:lnTo>
                    <a:pt x="19050" y="119658"/>
                  </a:lnTo>
                  <a:lnTo>
                    <a:pt x="11113" y="114896"/>
                  </a:lnTo>
                  <a:lnTo>
                    <a:pt x="11113" y="108546"/>
                  </a:lnTo>
                  <a:lnTo>
                    <a:pt x="11113" y="100608"/>
                  </a:lnTo>
                  <a:lnTo>
                    <a:pt x="11113" y="89496"/>
                  </a:lnTo>
                  <a:lnTo>
                    <a:pt x="11113" y="81558"/>
                  </a:lnTo>
                  <a:lnTo>
                    <a:pt x="7938" y="73621"/>
                  </a:lnTo>
                  <a:lnTo>
                    <a:pt x="3175" y="67271"/>
                  </a:lnTo>
                  <a:lnTo>
                    <a:pt x="3175" y="59333"/>
                  </a:lnTo>
                  <a:lnTo>
                    <a:pt x="7938" y="56158"/>
                  </a:lnTo>
                  <a:lnTo>
                    <a:pt x="7938" y="51396"/>
                  </a:lnTo>
                  <a:lnTo>
                    <a:pt x="7938" y="48221"/>
                  </a:lnTo>
                  <a:lnTo>
                    <a:pt x="3175" y="43458"/>
                  </a:lnTo>
                  <a:lnTo>
                    <a:pt x="0" y="40283"/>
                  </a:lnTo>
                  <a:lnTo>
                    <a:pt x="0" y="37108"/>
                  </a:lnTo>
                  <a:lnTo>
                    <a:pt x="0" y="32346"/>
                  </a:lnTo>
                  <a:lnTo>
                    <a:pt x="3175" y="29171"/>
                  </a:lnTo>
                  <a:lnTo>
                    <a:pt x="3175" y="25996"/>
                  </a:lnTo>
                  <a:lnTo>
                    <a:pt x="3175" y="21233"/>
                  </a:lnTo>
                  <a:lnTo>
                    <a:pt x="3175" y="18058"/>
                  </a:lnTo>
                  <a:lnTo>
                    <a:pt x="3175" y="10121"/>
                  </a:lnTo>
                  <a:lnTo>
                    <a:pt x="7938" y="10121"/>
                  </a:lnTo>
                  <a:lnTo>
                    <a:pt x="11113" y="10121"/>
                  </a:lnTo>
                  <a:lnTo>
                    <a:pt x="14288" y="10121"/>
                  </a:lnTo>
                  <a:lnTo>
                    <a:pt x="22225" y="6946"/>
                  </a:lnTo>
                  <a:lnTo>
                    <a:pt x="25400" y="6946"/>
                  </a:lnTo>
                  <a:lnTo>
                    <a:pt x="33338" y="6946"/>
                  </a:lnTo>
                  <a:lnTo>
                    <a:pt x="36513" y="2183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3" name="Freeform 1747"/>
            <p:cNvSpPr>
              <a:spLocks/>
            </p:cNvSpPr>
            <p:nvPr/>
          </p:nvSpPr>
          <p:spPr bwMode="gray">
            <a:xfrm>
              <a:off x="3031146" y="4307958"/>
              <a:ext cx="759957" cy="653093"/>
            </a:xfrm>
            <a:custGeom>
              <a:avLst/>
              <a:gdLst>
                <a:gd name="T0" fmla="*/ 98425 w 64"/>
                <a:gd name="T1" fmla="*/ 15875 h 55"/>
                <a:gd name="T2" fmla="*/ 98425 w 64"/>
                <a:gd name="T3" fmla="*/ 11113 h 55"/>
                <a:gd name="T4" fmla="*/ 90488 w 64"/>
                <a:gd name="T5" fmla="*/ 4763 h 55"/>
                <a:gd name="T6" fmla="*/ 71438 w 64"/>
                <a:gd name="T7" fmla="*/ 0 h 55"/>
                <a:gd name="T8" fmla="*/ 60325 w 64"/>
                <a:gd name="T9" fmla="*/ 0 h 55"/>
                <a:gd name="T10" fmla="*/ 52388 w 64"/>
                <a:gd name="T11" fmla="*/ 7938 h 55"/>
                <a:gd name="T12" fmla="*/ 41275 w 64"/>
                <a:gd name="T13" fmla="*/ 15875 h 55"/>
                <a:gd name="T14" fmla="*/ 33338 w 64"/>
                <a:gd name="T15" fmla="*/ 19050 h 55"/>
                <a:gd name="T16" fmla="*/ 30163 w 64"/>
                <a:gd name="T17" fmla="*/ 23813 h 55"/>
                <a:gd name="T18" fmla="*/ 26988 w 64"/>
                <a:gd name="T19" fmla="*/ 34925 h 55"/>
                <a:gd name="T20" fmla="*/ 26988 w 64"/>
                <a:gd name="T21" fmla="*/ 57150 h 55"/>
                <a:gd name="T22" fmla="*/ 19050 w 64"/>
                <a:gd name="T23" fmla="*/ 68263 h 55"/>
                <a:gd name="T24" fmla="*/ 7938 w 64"/>
                <a:gd name="T25" fmla="*/ 68263 h 55"/>
                <a:gd name="T26" fmla="*/ 0 w 64"/>
                <a:gd name="T27" fmla="*/ 71438 h 55"/>
                <a:gd name="T28" fmla="*/ 4763 w 64"/>
                <a:gd name="T29" fmla="*/ 76200 h 55"/>
                <a:gd name="T30" fmla="*/ 11113 w 64"/>
                <a:gd name="T31" fmla="*/ 79375 h 55"/>
                <a:gd name="T32" fmla="*/ 19050 w 64"/>
                <a:gd name="T33" fmla="*/ 82550 h 55"/>
                <a:gd name="T34" fmla="*/ 22225 w 64"/>
                <a:gd name="T35" fmla="*/ 79375 h 55"/>
                <a:gd name="T36" fmla="*/ 26988 w 64"/>
                <a:gd name="T37" fmla="*/ 79375 h 55"/>
                <a:gd name="T38" fmla="*/ 30163 w 64"/>
                <a:gd name="T39" fmla="*/ 76200 h 55"/>
                <a:gd name="T40" fmla="*/ 33338 w 64"/>
                <a:gd name="T41" fmla="*/ 76200 h 55"/>
                <a:gd name="T42" fmla="*/ 41275 w 64"/>
                <a:gd name="T43" fmla="*/ 76200 h 55"/>
                <a:gd name="T44" fmla="*/ 41275 w 64"/>
                <a:gd name="T45" fmla="*/ 79375 h 55"/>
                <a:gd name="T46" fmla="*/ 41275 w 64"/>
                <a:gd name="T47" fmla="*/ 82550 h 55"/>
                <a:gd name="T48" fmla="*/ 44450 w 64"/>
                <a:gd name="T49" fmla="*/ 82550 h 55"/>
                <a:gd name="T50" fmla="*/ 52388 w 64"/>
                <a:gd name="T51" fmla="*/ 87313 h 55"/>
                <a:gd name="T52" fmla="*/ 52388 w 64"/>
                <a:gd name="T53" fmla="*/ 82550 h 55"/>
                <a:gd name="T54" fmla="*/ 60325 w 64"/>
                <a:gd name="T55" fmla="*/ 68263 h 55"/>
                <a:gd name="T56" fmla="*/ 63500 w 64"/>
                <a:gd name="T57" fmla="*/ 57150 h 55"/>
                <a:gd name="T58" fmla="*/ 68263 w 64"/>
                <a:gd name="T59" fmla="*/ 52388 h 55"/>
                <a:gd name="T60" fmla="*/ 71438 w 64"/>
                <a:gd name="T61" fmla="*/ 52388 h 55"/>
                <a:gd name="T62" fmla="*/ 79375 w 64"/>
                <a:gd name="T63" fmla="*/ 57150 h 55"/>
                <a:gd name="T64" fmla="*/ 85725 w 64"/>
                <a:gd name="T65" fmla="*/ 52388 h 55"/>
                <a:gd name="T66" fmla="*/ 85725 w 64"/>
                <a:gd name="T67" fmla="*/ 49213 h 55"/>
                <a:gd name="T68" fmla="*/ 90488 w 64"/>
                <a:gd name="T69" fmla="*/ 49213 h 55"/>
                <a:gd name="T70" fmla="*/ 98425 w 64"/>
                <a:gd name="T71" fmla="*/ 46038 h 55"/>
                <a:gd name="T72" fmla="*/ 98425 w 64"/>
                <a:gd name="T73" fmla="*/ 41275 h 55"/>
                <a:gd name="T74" fmla="*/ 98425 w 64"/>
                <a:gd name="T75" fmla="*/ 41275 h 55"/>
                <a:gd name="T76" fmla="*/ 98425 w 64"/>
                <a:gd name="T77" fmla="*/ 41275 h 55"/>
                <a:gd name="T78" fmla="*/ 93663 w 64"/>
                <a:gd name="T79" fmla="*/ 38100 h 55"/>
                <a:gd name="T80" fmla="*/ 93663 w 64"/>
                <a:gd name="T81" fmla="*/ 34925 h 55"/>
                <a:gd name="T82" fmla="*/ 98425 w 64"/>
                <a:gd name="T83" fmla="*/ 34925 h 55"/>
                <a:gd name="T84" fmla="*/ 101600 w 64"/>
                <a:gd name="T85" fmla="*/ 34925 h 55"/>
                <a:gd name="T86" fmla="*/ 101600 w 64"/>
                <a:gd name="T87" fmla="*/ 30163 h 55"/>
                <a:gd name="T88" fmla="*/ 101600 w 64"/>
                <a:gd name="T89" fmla="*/ 26988 h 55"/>
                <a:gd name="T90" fmla="*/ 101600 w 64"/>
                <a:gd name="T91" fmla="*/ 15875 h 55"/>
                <a:gd name="T92" fmla="*/ 98425 w 64"/>
                <a:gd name="T93" fmla="*/ 11113 h 55"/>
                <a:gd name="T94" fmla="*/ 98425 w 64"/>
                <a:gd name="T95" fmla="*/ 11113 h 5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4"/>
                <a:gd name="T145" fmla="*/ 0 h 55"/>
                <a:gd name="T146" fmla="*/ 64 w 64"/>
                <a:gd name="T147" fmla="*/ 55 h 5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4" h="55">
                  <a:moveTo>
                    <a:pt x="62" y="7"/>
                  </a:moveTo>
                  <a:lnTo>
                    <a:pt x="62" y="10"/>
                  </a:lnTo>
                  <a:lnTo>
                    <a:pt x="62" y="7"/>
                  </a:lnTo>
                  <a:lnTo>
                    <a:pt x="62" y="5"/>
                  </a:lnTo>
                  <a:lnTo>
                    <a:pt x="57" y="3"/>
                  </a:lnTo>
                  <a:lnTo>
                    <a:pt x="50" y="3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36" y="3"/>
                  </a:lnTo>
                  <a:lnTo>
                    <a:pt x="33" y="5"/>
                  </a:lnTo>
                  <a:lnTo>
                    <a:pt x="33" y="10"/>
                  </a:lnTo>
                  <a:lnTo>
                    <a:pt x="26" y="10"/>
                  </a:lnTo>
                  <a:lnTo>
                    <a:pt x="21" y="12"/>
                  </a:lnTo>
                  <a:lnTo>
                    <a:pt x="21" y="15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7" y="22"/>
                  </a:lnTo>
                  <a:lnTo>
                    <a:pt x="17" y="26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2" y="43"/>
                  </a:lnTo>
                  <a:lnTo>
                    <a:pt x="7" y="43"/>
                  </a:lnTo>
                  <a:lnTo>
                    <a:pt x="5" y="43"/>
                  </a:lnTo>
                  <a:lnTo>
                    <a:pt x="0" y="45"/>
                  </a:lnTo>
                  <a:lnTo>
                    <a:pt x="3" y="48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4" y="50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24" y="48"/>
                  </a:lnTo>
                  <a:lnTo>
                    <a:pt x="26" y="48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8" y="52"/>
                  </a:lnTo>
                  <a:lnTo>
                    <a:pt x="31" y="52"/>
                  </a:lnTo>
                  <a:lnTo>
                    <a:pt x="33" y="55"/>
                  </a:lnTo>
                  <a:lnTo>
                    <a:pt x="33" y="52"/>
                  </a:lnTo>
                  <a:lnTo>
                    <a:pt x="36" y="48"/>
                  </a:lnTo>
                  <a:lnTo>
                    <a:pt x="38" y="43"/>
                  </a:lnTo>
                  <a:lnTo>
                    <a:pt x="38" y="38"/>
                  </a:lnTo>
                  <a:lnTo>
                    <a:pt x="40" y="36"/>
                  </a:lnTo>
                  <a:lnTo>
                    <a:pt x="40" y="33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50" y="36"/>
                  </a:lnTo>
                  <a:lnTo>
                    <a:pt x="52" y="36"/>
                  </a:lnTo>
                  <a:lnTo>
                    <a:pt x="54" y="33"/>
                  </a:lnTo>
                  <a:lnTo>
                    <a:pt x="54" y="31"/>
                  </a:lnTo>
                  <a:lnTo>
                    <a:pt x="57" y="31"/>
                  </a:lnTo>
                  <a:lnTo>
                    <a:pt x="59" y="29"/>
                  </a:lnTo>
                  <a:lnTo>
                    <a:pt x="62" y="29"/>
                  </a:lnTo>
                  <a:lnTo>
                    <a:pt x="62" y="26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62" y="22"/>
                  </a:lnTo>
                  <a:lnTo>
                    <a:pt x="64" y="22"/>
                  </a:lnTo>
                  <a:lnTo>
                    <a:pt x="64" y="19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0"/>
                  </a:lnTo>
                  <a:lnTo>
                    <a:pt x="62" y="7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4" name="Freeform 1771"/>
            <p:cNvSpPr>
              <a:spLocks/>
            </p:cNvSpPr>
            <p:nvPr/>
          </p:nvSpPr>
          <p:spPr bwMode="gray">
            <a:xfrm>
              <a:off x="3458621" y="5186661"/>
              <a:ext cx="130621" cy="213739"/>
            </a:xfrm>
            <a:custGeom>
              <a:avLst/>
              <a:gdLst>
                <a:gd name="T0" fmla="*/ 0 w 11"/>
                <a:gd name="T1" fmla="*/ 17463 h 18"/>
                <a:gd name="T2" fmla="*/ 0 w 11"/>
                <a:gd name="T3" fmla="*/ 17463 h 18"/>
                <a:gd name="T4" fmla="*/ 0 w 11"/>
                <a:gd name="T5" fmla="*/ 14288 h 18"/>
                <a:gd name="T6" fmla="*/ 0 w 11"/>
                <a:gd name="T7" fmla="*/ 14288 h 18"/>
                <a:gd name="T8" fmla="*/ 0 w 11"/>
                <a:gd name="T9" fmla="*/ 11113 h 18"/>
                <a:gd name="T10" fmla="*/ 3175 w 11"/>
                <a:gd name="T11" fmla="*/ 6350 h 18"/>
                <a:gd name="T12" fmla="*/ 0 w 11"/>
                <a:gd name="T13" fmla="*/ 3175 h 18"/>
                <a:gd name="T14" fmla="*/ 0 w 11"/>
                <a:gd name="T15" fmla="*/ 3175 h 18"/>
                <a:gd name="T16" fmla="*/ 3175 w 11"/>
                <a:gd name="T17" fmla="*/ 3175 h 18"/>
                <a:gd name="T18" fmla="*/ 3175 w 11"/>
                <a:gd name="T19" fmla="*/ 0 h 18"/>
                <a:gd name="T20" fmla="*/ 6350 w 11"/>
                <a:gd name="T21" fmla="*/ 0 h 18"/>
                <a:gd name="T22" fmla="*/ 6350 w 11"/>
                <a:gd name="T23" fmla="*/ 0 h 18"/>
                <a:gd name="T24" fmla="*/ 6350 w 11"/>
                <a:gd name="T25" fmla="*/ 0 h 18"/>
                <a:gd name="T26" fmla="*/ 11113 w 11"/>
                <a:gd name="T27" fmla="*/ 3175 h 18"/>
                <a:gd name="T28" fmla="*/ 11113 w 11"/>
                <a:gd name="T29" fmla="*/ 6350 h 18"/>
                <a:gd name="T30" fmla="*/ 14288 w 11"/>
                <a:gd name="T31" fmla="*/ 11113 h 18"/>
                <a:gd name="T32" fmla="*/ 14288 w 11"/>
                <a:gd name="T33" fmla="*/ 11113 h 18"/>
                <a:gd name="T34" fmla="*/ 14288 w 11"/>
                <a:gd name="T35" fmla="*/ 11113 h 18"/>
                <a:gd name="T36" fmla="*/ 17463 w 11"/>
                <a:gd name="T37" fmla="*/ 11113 h 18"/>
                <a:gd name="T38" fmla="*/ 17463 w 11"/>
                <a:gd name="T39" fmla="*/ 11113 h 18"/>
                <a:gd name="T40" fmla="*/ 14288 w 11"/>
                <a:gd name="T41" fmla="*/ 17463 h 18"/>
                <a:gd name="T42" fmla="*/ 11113 w 11"/>
                <a:gd name="T43" fmla="*/ 17463 h 18"/>
                <a:gd name="T44" fmla="*/ 11113 w 11"/>
                <a:gd name="T45" fmla="*/ 22225 h 18"/>
                <a:gd name="T46" fmla="*/ 11113 w 11"/>
                <a:gd name="T47" fmla="*/ 25400 h 18"/>
                <a:gd name="T48" fmla="*/ 11113 w 11"/>
                <a:gd name="T49" fmla="*/ 25400 h 18"/>
                <a:gd name="T50" fmla="*/ 14288 w 11"/>
                <a:gd name="T51" fmla="*/ 28575 h 18"/>
                <a:gd name="T52" fmla="*/ 14288 w 11"/>
                <a:gd name="T53" fmla="*/ 28575 h 18"/>
                <a:gd name="T54" fmla="*/ 11113 w 11"/>
                <a:gd name="T55" fmla="*/ 28575 h 18"/>
                <a:gd name="T56" fmla="*/ 3175 w 11"/>
                <a:gd name="T57" fmla="*/ 28575 h 18"/>
                <a:gd name="T58" fmla="*/ 3175 w 11"/>
                <a:gd name="T59" fmla="*/ 25400 h 18"/>
                <a:gd name="T60" fmla="*/ 3175 w 11"/>
                <a:gd name="T61" fmla="*/ 25400 h 18"/>
                <a:gd name="T62" fmla="*/ 0 w 11"/>
                <a:gd name="T63" fmla="*/ 25400 h 18"/>
                <a:gd name="T64" fmla="*/ 0 w 11"/>
                <a:gd name="T65" fmla="*/ 22225 h 18"/>
                <a:gd name="T66" fmla="*/ 0 w 11"/>
                <a:gd name="T67" fmla="*/ 17463 h 18"/>
                <a:gd name="T68" fmla="*/ 0 w 11"/>
                <a:gd name="T69" fmla="*/ 17463 h 18"/>
                <a:gd name="T70" fmla="*/ 0 w 11"/>
                <a:gd name="T71" fmla="*/ 17463 h 18"/>
                <a:gd name="T72" fmla="*/ 0 w 11"/>
                <a:gd name="T73" fmla="*/ 17463 h 18"/>
                <a:gd name="T74" fmla="*/ 0 w 11"/>
                <a:gd name="T75" fmla="*/ 17463 h 1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"/>
                <a:gd name="T115" fmla="*/ 0 h 18"/>
                <a:gd name="T116" fmla="*/ 11 w 11"/>
                <a:gd name="T117" fmla="*/ 18 h 1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" h="18">
                  <a:moveTo>
                    <a:pt x="0" y="11"/>
                  </a:move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1" y="7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5" name="Freeform 1802"/>
            <p:cNvSpPr>
              <a:spLocks/>
            </p:cNvSpPr>
            <p:nvPr/>
          </p:nvSpPr>
          <p:spPr bwMode="gray">
            <a:xfrm>
              <a:off x="454414" y="3642994"/>
              <a:ext cx="759957" cy="1151816"/>
            </a:xfrm>
            <a:custGeom>
              <a:avLst/>
              <a:gdLst>
                <a:gd name="T0" fmla="*/ 85725 w 64"/>
                <a:gd name="T1" fmla="*/ 6350 h 97"/>
                <a:gd name="T2" fmla="*/ 85725 w 64"/>
                <a:gd name="T3" fmla="*/ 3175 h 97"/>
                <a:gd name="T4" fmla="*/ 77788 w 64"/>
                <a:gd name="T5" fmla="*/ 0 h 97"/>
                <a:gd name="T6" fmla="*/ 71438 w 64"/>
                <a:gd name="T7" fmla="*/ 11113 h 97"/>
                <a:gd name="T8" fmla="*/ 66675 w 64"/>
                <a:gd name="T9" fmla="*/ 6350 h 97"/>
                <a:gd name="T10" fmla="*/ 55563 w 64"/>
                <a:gd name="T11" fmla="*/ 6350 h 97"/>
                <a:gd name="T12" fmla="*/ 52388 w 64"/>
                <a:gd name="T13" fmla="*/ 17463 h 97"/>
                <a:gd name="T14" fmla="*/ 49213 w 64"/>
                <a:gd name="T15" fmla="*/ 22225 h 97"/>
                <a:gd name="T16" fmla="*/ 55563 w 64"/>
                <a:gd name="T17" fmla="*/ 30163 h 97"/>
                <a:gd name="T18" fmla="*/ 41275 w 64"/>
                <a:gd name="T19" fmla="*/ 41275 h 97"/>
                <a:gd name="T20" fmla="*/ 36513 w 64"/>
                <a:gd name="T21" fmla="*/ 44450 h 97"/>
                <a:gd name="T22" fmla="*/ 30163 w 64"/>
                <a:gd name="T23" fmla="*/ 44450 h 97"/>
                <a:gd name="T24" fmla="*/ 22225 w 64"/>
                <a:gd name="T25" fmla="*/ 44450 h 97"/>
                <a:gd name="T26" fmla="*/ 14288 w 64"/>
                <a:gd name="T27" fmla="*/ 36513 h 97"/>
                <a:gd name="T28" fmla="*/ 19050 w 64"/>
                <a:gd name="T29" fmla="*/ 52388 h 97"/>
                <a:gd name="T30" fmla="*/ 22225 w 64"/>
                <a:gd name="T31" fmla="*/ 55563 h 97"/>
                <a:gd name="T32" fmla="*/ 22225 w 64"/>
                <a:gd name="T33" fmla="*/ 63500 h 97"/>
                <a:gd name="T34" fmla="*/ 7938 w 64"/>
                <a:gd name="T35" fmla="*/ 63500 h 97"/>
                <a:gd name="T36" fmla="*/ 7938 w 64"/>
                <a:gd name="T37" fmla="*/ 71438 h 97"/>
                <a:gd name="T38" fmla="*/ 3175 w 64"/>
                <a:gd name="T39" fmla="*/ 71438 h 97"/>
                <a:gd name="T40" fmla="*/ 14288 w 64"/>
                <a:gd name="T41" fmla="*/ 85725 h 97"/>
                <a:gd name="T42" fmla="*/ 30163 w 64"/>
                <a:gd name="T43" fmla="*/ 85725 h 97"/>
                <a:gd name="T44" fmla="*/ 14288 w 64"/>
                <a:gd name="T45" fmla="*/ 115888 h 97"/>
                <a:gd name="T46" fmla="*/ 0 w 64"/>
                <a:gd name="T47" fmla="*/ 130175 h 97"/>
                <a:gd name="T48" fmla="*/ 7938 w 64"/>
                <a:gd name="T49" fmla="*/ 146050 h 97"/>
                <a:gd name="T50" fmla="*/ 11113 w 64"/>
                <a:gd name="T51" fmla="*/ 146050 h 97"/>
                <a:gd name="T52" fmla="*/ 14288 w 64"/>
                <a:gd name="T53" fmla="*/ 149225 h 97"/>
                <a:gd name="T54" fmla="*/ 19050 w 64"/>
                <a:gd name="T55" fmla="*/ 149225 h 97"/>
                <a:gd name="T56" fmla="*/ 22225 w 64"/>
                <a:gd name="T57" fmla="*/ 149225 h 97"/>
                <a:gd name="T58" fmla="*/ 25400 w 64"/>
                <a:gd name="T59" fmla="*/ 146050 h 97"/>
                <a:gd name="T60" fmla="*/ 33338 w 64"/>
                <a:gd name="T61" fmla="*/ 149225 h 97"/>
                <a:gd name="T62" fmla="*/ 36513 w 64"/>
                <a:gd name="T63" fmla="*/ 153988 h 97"/>
                <a:gd name="T64" fmla="*/ 44450 w 64"/>
                <a:gd name="T65" fmla="*/ 149225 h 97"/>
                <a:gd name="T66" fmla="*/ 63500 w 64"/>
                <a:gd name="T67" fmla="*/ 138113 h 97"/>
                <a:gd name="T68" fmla="*/ 71438 w 64"/>
                <a:gd name="T69" fmla="*/ 127000 h 97"/>
                <a:gd name="T70" fmla="*/ 82550 w 64"/>
                <a:gd name="T71" fmla="*/ 119063 h 97"/>
                <a:gd name="T72" fmla="*/ 85725 w 64"/>
                <a:gd name="T73" fmla="*/ 119063 h 97"/>
                <a:gd name="T74" fmla="*/ 90488 w 64"/>
                <a:gd name="T75" fmla="*/ 123825 h 97"/>
                <a:gd name="T76" fmla="*/ 93663 w 64"/>
                <a:gd name="T77" fmla="*/ 123825 h 97"/>
                <a:gd name="T78" fmla="*/ 93663 w 64"/>
                <a:gd name="T79" fmla="*/ 119063 h 97"/>
                <a:gd name="T80" fmla="*/ 90488 w 64"/>
                <a:gd name="T81" fmla="*/ 115888 h 97"/>
                <a:gd name="T82" fmla="*/ 90488 w 64"/>
                <a:gd name="T83" fmla="*/ 115888 h 97"/>
                <a:gd name="T84" fmla="*/ 93663 w 64"/>
                <a:gd name="T85" fmla="*/ 112713 h 97"/>
                <a:gd name="T86" fmla="*/ 96838 w 64"/>
                <a:gd name="T87" fmla="*/ 104775 h 97"/>
                <a:gd name="T88" fmla="*/ 96838 w 64"/>
                <a:gd name="T89" fmla="*/ 96838 h 97"/>
                <a:gd name="T90" fmla="*/ 90488 w 64"/>
                <a:gd name="T91" fmla="*/ 77788 h 97"/>
                <a:gd name="T92" fmla="*/ 93663 w 64"/>
                <a:gd name="T93" fmla="*/ 55563 h 97"/>
                <a:gd name="T94" fmla="*/ 82550 w 64"/>
                <a:gd name="T95" fmla="*/ 47625 h 97"/>
                <a:gd name="T96" fmla="*/ 74613 w 64"/>
                <a:gd name="T97" fmla="*/ 52388 h 97"/>
                <a:gd name="T98" fmla="*/ 71438 w 64"/>
                <a:gd name="T99" fmla="*/ 52388 h 97"/>
                <a:gd name="T100" fmla="*/ 71438 w 64"/>
                <a:gd name="T101" fmla="*/ 44450 h 97"/>
                <a:gd name="T102" fmla="*/ 66675 w 64"/>
                <a:gd name="T103" fmla="*/ 41275 h 97"/>
                <a:gd name="T104" fmla="*/ 63500 w 64"/>
                <a:gd name="T105" fmla="*/ 41275 h 97"/>
                <a:gd name="T106" fmla="*/ 63500 w 64"/>
                <a:gd name="T107" fmla="*/ 41275 h 97"/>
                <a:gd name="T108" fmla="*/ 63500 w 64"/>
                <a:gd name="T109" fmla="*/ 33338 h 97"/>
                <a:gd name="T110" fmla="*/ 63500 w 64"/>
                <a:gd name="T111" fmla="*/ 33338 h 97"/>
                <a:gd name="T112" fmla="*/ 66675 w 64"/>
                <a:gd name="T113" fmla="*/ 30163 h 97"/>
                <a:gd name="T114" fmla="*/ 71438 w 64"/>
                <a:gd name="T115" fmla="*/ 30163 h 97"/>
                <a:gd name="T116" fmla="*/ 71438 w 64"/>
                <a:gd name="T117" fmla="*/ 25400 h 97"/>
                <a:gd name="T118" fmla="*/ 71438 w 64"/>
                <a:gd name="T119" fmla="*/ 22225 h 97"/>
                <a:gd name="T120" fmla="*/ 77788 w 64"/>
                <a:gd name="T121" fmla="*/ 14288 h 97"/>
                <a:gd name="T122" fmla="*/ 85725 w 64"/>
                <a:gd name="T123" fmla="*/ 11113 h 9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4"/>
                <a:gd name="T187" fmla="*/ 0 h 97"/>
                <a:gd name="T188" fmla="*/ 64 w 64"/>
                <a:gd name="T189" fmla="*/ 97 h 9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4" h="97">
                  <a:moveTo>
                    <a:pt x="54" y="7"/>
                  </a:moveTo>
                  <a:lnTo>
                    <a:pt x="54" y="7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5" y="7"/>
                  </a:lnTo>
                  <a:lnTo>
                    <a:pt x="42" y="4"/>
                  </a:lnTo>
                  <a:lnTo>
                    <a:pt x="38" y="4"/>
                  </a:lnTo>
                  <a:lnTo>
                    <a:pt x="35" y="4"/>
                  </a:lnTo>
                  <a:lnTo>
                    <a:pt x="35" y="7"/>
                  </a:lnTo>
                  <a:lnTo>
                    <a:pt x="35" y="11"/>
                  </a:lnTo>
                  <a:lnTo>
                    <a:pt x="33" y="11"/>
                  </a:lnTo>
                  <a:lnTo>
                    <a:pt x="31" y="14"/>
                  </a:lnTo>
                  <a:lnTo>
                    <a:pt x="35" y="14"/>
                  </a:lnTo>
                  <a:lnTo>
                    <a:pt x="35" y="19"/>
                  </a:lnTo>
                  <a:lnTo>
                    <a:pt x="31" y="19"/>
                  </a:lnTo>
                  <a:lnTo>
                    <a:pt x="28" y="21"/>
                  </a:lnTo>
                  <a:lnTo>
                    <a:pt x="26" y="26"/>
                  </a:lnTo>
                  <a:lnTo>
                    <a:pt x="26" y="28"/>
                  </a:lnTo>
                  <a:lnTo>
                    <a:pt x="23" y="28"/>
                  </a:lnTo>
                  <a:lnTo>
                    <a:pt x="21" y="28"/>
                  </a:lnTo>
                  <a:lnTo>
                    <a:pt x="19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9" y="28"/>
                  </a:lnTo>
                  <a:lnTo>
                    <a:pt x="9" y="33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4" y="37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2" y="45"/>
                  </a:lnTo>
                  <a:lnTo>
                    <a:pt x="5" y="49"/>
                  </a:lnTo>
                  <a:lnTo>
                    <a:pt x="7" y="54"/>
                  </a:lnTo>
                  <a:lnTo>
                    <a:pt x="9" y="54"/>
                  </a:lnTo>
                  <a:lnTo>
                    <a:pt x="12" y="54"/>
                  </a:lnTo>
                  <a:lnTo>
                    <a:pt x="16" y="54"/>
                  </a:lnTo>
                  <a:lnTo>
                    <a:pt x="19" y="54"/>
                  </a:lnTo>
                  <a:lnTo>
                    <a:pt x="16" y="61"/>
                  </a:lnTo>
                  <a:lnTo>
                    <a:pt x="14" y="68"/>
                  </a:lnTo>
                  <a:lnTo>
                    <a:pt x="9" y="73"/>
                  </a:lnTo>
                  <a:lnTo>
                    <a:pt x="7" y="82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7" y="92"/>
                  </a:lnTo>
                  <a:lnTo>
                    <a:pt x="9" y="92"/>
                  </a:lnTo>
                  <a:lnTo>
                    <a:pt x="9" y="94"/>
                  </a:lnTo>
                  <a:lnTo>
                    <a:pt x="7" y="97"/>
                  </a:lnTo>
                  <a:lnTo>
                    <a:pt x="12" y="97"/>
                  </a:lnTo>
                  <a:lnTo>
                    <a:pt x="12" y="94"/>
                  </a:lnTo>
                  <a:lnTo>
                    <a:pt x="14" y="94"/>
                  </a:lnTo>
                  <a:lnTo>
                    <a:pt x="16" y="94"/>
                  </a:lnTo>
                  <a:lnTo>
                    <a:pt x="16" y="92"/>
                  </a:lnTo>
                  <a:lnTo>
                    <a:pt x="19" y="92"/>
                  </a:lnTo>
                  <a:lnTo>
                    <a:pt x="21" y="94"/>
                  </a:lnTo>
                  <a:lnTo>
                    <a:pt x="21" y="97"/>
                  </a:lnTo>
                  <a:lnTo>
                    <a:pt x="23" y="97"/>
                  </a:lnTo>
                  <a:lnTo>
                    <a:pt x="28" y="97"/>
                  </a:lnTo>
                  <a:lnTo>
                    <a:pt x="28" y="94"/>
                  </a:lnTo>
                  <a:lnTo>
                    <a:pt x="31" y="92"/>
                  </a:lnTo>
                  <a:lnTo>
                    <a:pt x="35" y="87"/>
                  </a:lnTo>
                  <a:lnTo>
                    <a:pt x="40" y="87"/>
                  </a:lnTo>
                  <a:lnTo>
                    <a:pt x="45" y="87"/>
                  </a:lnTo>
                  <a:lnTo>
                    <a:pt x="45" y="85"/>
                  </a:lnTo>
                  <a:lnTo>
                    <a:pt x="45" y="80"/>
                  </a:lnTo>
                  <a:lnTo>
                    <a:pt x="47" y="80"/>
                  </a:lnTo>
                  <a:lnTo>
                    <a:pt x="52" y="80"/>
                  </a:lnTo>
                  <a:lnTo>
                    <a:pt x="52" y="75"/>
                  </a:lnTo>
                  <a:lnTo>
                    <a:pt x="54" y="75"/>
                  </a:lnTo>
                  <a:lnTo>
                    <a:pt x="54" y="78"/>
                  </a:lnTo>
                  <a:lnTo>
                    <a:pt x="57" y="78"/>
                  </a:lnTo>
                  <a:lnTo>
                    <a:pt x="59" y="78"/>
                  </a:lnTo>
                  <a:lnTo>
                    <a:pt x="59" y="75"/>
                  </a:lnTo>
                  <a:lnTo>
                    <a:pt x="57" y="75"/>
                  </a:lnTo>
                  <a:lnTo>
                    <a:pt x="57" y="73"/>
                  </a:lnTo>
                  <a:lnTo>
                    <a:pt x="59" y="71"/>
                  </a:lnTo>
                  <a:lnTo>
                    <a:pt x="61" y="68"/>
                  </a:lnTo>
                  <a:lnTo>
                    <a:pt x="61" y="66"/>
                  </a:lnTo>
                  <a:lnTo>
                    <a:pt x="61" y="63"/>
                  </a:lnTo>
                  <a:lnTo>
                    <a:pt x="61" y="61"/>
                  </a:lnTo>
                  <a:lnTo>
                    <a:pt x="59" y="56"/>
                  </a:lnTo>
                  <a:lnTo>
                    <a:pt x="57" y="49"/>
                  </a:lnTo>
                  <a:lnTo>
                    <a:pt x="59" y="45"/>
                  </a:lnTo>
                  <a:lnTo>
                    <a:pt x="59" y="40"/>
                  </a:lnTo>
                  <a:lnTo>
                    <a:pt x="59" y="35"/>
                  </a:lnTo>
                  <a:lnTo>
                    <a:pt x="64" y="30"/>
                  </a:lnTo>
                  <a:lnTo>
                    <a:pt x="57" y="33"/>
                  </a:lnTo>
                  <a:lnTo>
                    <a:pt x="52" y="30"/>
                  </a:lnTo>
                  <a:lnTo>
                    <a:pt x="49" y="30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5" y="30"/>
                  </a:lnTo>
                  <a:lnTo>
                    <a:pt x="45" y="28"/>
                  </a:lnTo>
                  <a:lnTo>
                    <a:pt x="42" y="26"/>
                  </a:lnTo>
                  <a:lnTo>
                    <a:pt x="40" y="26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2" y="19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45" y="14"/>
                  </a:lnTo>
                  <a:lnTo>
                    <a:pt x="47" y="11"/>
                  </a:lnTo>
                  <a:lnTo>
                    <a:pt x="49" y="9"/>
                  </a:lnTo>
                  <a:lnTo>
                    <a:pt x="52" y="7"/>
                  </a:lnTo>
                  <a:lnTo>
                    <a:pt x="54" y="7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6" name="Freeform 1803"/>
            <p:cNvSpPr>
              <a:spLocks/>
            </p:cNvSpPr>
            <p:nvPr/>
          </p:nvSpPr>
          <p:spPr bwMode="gray">
            <a:xfrm>
              <a:off x="680030" y="4201093"/>
              <a:ext cx="47497" cy="83124"/>
            </a:xfrm>
            <a:custGeom>
              <a:avLst/>
              <a:gdLst>
                <a:gd name="T0" fmla="*/ 3175 w 4"/>
                <a:gd name="T1" fmla="*/ 3175 h 7"/>
                <a:gd name="T2" fmla="*/ 6350 w 4"/>
                <a:gd name="T3" fmla="*/ 3175 h 7"/>
                <a:gd name="T4" fmla="*/ 6350 w 4"/>
                <a:gd name="T5" fmla="*/ 3175 h 7"/>
                <a:gd name="T6" fmla="*/ 6350 w 4"/>
                <a:gd name="T7" fmla="*/ 7938 h 7"/>
                <a:gd name="T8" fmla="*/ 3175 w 4"/>
                <a:gd name="T9" fmla="*/ 7938 h 7"/>
                <a:gd name="T10" fmla="*/ 3175 w 4"/>
                <a:gd name="T11" fmla="*/ 7938 h 7"/>
                <a:gd name="T12" fmla="*/ 0 w 4"/>
                <a:gd name="T13" fmla="*/ 11113 h 7"/>
                <a:gd name="T14" fmla="*/ 0 w 4"/>
                <a:gd name="T15" fmla="*/ 7938 h 7"/>
                <a:gd name="T16" fmla="*/ 0 w 4"/>
                <a:gd name="T17" fmla="*/ 3175 h 7"/>
                <a:gd name="T18" fmla="*/ 0 w 4"/>
                <a:gd name="T19" fmla="*/ 3175 h 7"/>
                <a:gd name="T20" fmla="*/ 3175 w 4"/>
                <a:gd name="T21" fmla="*/ 3175 h 7"/>
                <a:gd name="T22" fmla="*/ 3175 w 4"/>
                <a:gd name="T23" fmla="*/ 0 h 7"/>
                <a:gd name="T24" fmla="*/ 3175 w 4"/>
                <a:gd name="T25" fmla="*/ 3175 h 7"/>
                <a:gd name="T26" fmla="*/ 3175 w 4"/>
                <a:gd name="T27" fmla="*/ 3175 h 7"/>
                <a:gd name="T28" fmla="*/ 3175 w 4"/>
                <a:gd name="T29" fmla="*/ 3175 h 7"/>
                <a:gd name="T30" fmla="*/ 3175 w 4"/>
                <a:gd name="T31" fmla="*/ 3175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"/>
                <a:gd name="T49" fmla="*/ 0 h 7"/>
                <a:gd name="T50" fmla="*/ 4 w 4"/>
                <a:gd name="T51" fmla="*/ 7 h 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" h="7">
                  <a:moveTo>
                    <a:pt x="2" y="2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7" name="Freeform 1804"/>
            <p:cNvSpPr>
              <a:spLocks/>
            </p:cNvSpPr>
            <p:nvPr/>
          </p:nvSpPr>
          <p:spPr bwMode="gray">
            <a:xfrm>
              <a:off x="644403" y="4426702"/>
              <a:ext cx="59375" cy="59376"/>
            </a:xfrm>
            <a:custGeom>
              <a:avLst/>
              <a:gdLst>
                <a:gd name="T0" fmla="*/ 7938 w 5"/>
                <a:gd name="T1" fmla="*/ 0 h 5"/>
                <a:gd name="T2" fmla="*/ 7938 w 5"/>
                <a:gd name="T3" fmla="*/ 7938 h 5"/>
                <a:gd name="T4" fmla="*/ 4763 w 5"/>
                <a:gd name="T5" fmla="*/ 7938 h 5"/>
                <a:gd name="T6" fmla="*/ 4763 w 5"/>
                <a:gd name="T7" fmla="*/ 7938 h 5"/>
                <a:gd name="T8" fmla="*/ 4763 w 5"/>
                <a:gd name="T9" fmla="*/ 7938 h 5"/>
                <a:gd name="T10" fmla="*/ 4763 w 5"/>
                <a:gd name="T11" fmla="*/ 7938 h 5"/>
                <a:gd name="T12" fmla="*/ 0 w 5"/>
                <a:gd name="T13" fmla="*/ 3175 h 5"/>
                <a:gd name="T14" fmla="*/ 4763 w 5"/>
                <a:gd name="T15" fmla="*/ 3175 h 5"/>
                <a:gd name="T16" fmla="*/ 4763 w 5"/>
                <a:gd name="T17" fmla="*/ 3175 h 5"/>
                <a:gd name="T18" fmla="*/ 4763 w 5"/>
                <a:gd name="T19" fmla="*/ 0 h 5"/>
                <a:gd name="T20" fmla="*/ 7938 w 5"/>
                <a:gd name="T21" fmla="*/ 0 h 5"/>
                <a:gd name="T22" fmla="*/ 7938 w 5"/>
                <a:gd name="T23" fmla="*/ 0 h 5"/>
                <a:gd name="T24" fmla="*/ 7938 w 5"/>
                <a:gd name="T25" fmla="*/ 0 h 5"/>
                <a:gd name="T26" fmla="*/ 7938 w 5"/>
                <a:gd name="T27" fmla="*/ 0 h 5"/>
                <a:gd name="T28" fmla="*/ 7938 w 5"/>
                <a:gd name="T29" fmla="*/ 0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"/>
                <a:gd name="T46" fmla="*/ 0 h 5"/>
                <a:gd name="T47" fmla="*/ 5 w 5"/>
                <a:gd name="T48" fmla="*/ 5 h 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" h="5">
                  <a:moveTo>
                    <a:pt x="5" y="0"/>
                  </a:moveTo>
                  <a:lnTo>
                    <a:pt x="5" y="5"/>
                  </a:lnTo>
                  <a:lnTo>
                    <a:pt x="3" y="5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8" name="Freeform 1884"/>
            <p:cNvSpPr>
              <a:spLocks/>
            </p:cNvSpPr>
            <p:nvPr/>
          </p:nvSpPr>
          <p:spPr bwMode="gray">
            <a:xfrm>
              <a:off x="3422995" y="3773616"/>
              <a:ext cx="1686154" cy="2196761"/>
            </a:xfrm>
            <a:custGeom>
              <a:avLst/>
              <a:gdLst>
                <a:gd name="T0" fmla="*/ 49213 w 142"/>
                <a:gd name="T1" fmla="*/ 101600 h 185"/>
                <a:gd name="T2" fmla="*/ 41275 w 142"/>
                <a:gd name="T3" fmla="*/ 106363 h 185"/>
                <a:gd name="T4" fmla="*/ 46038 w 142"/>
                <a:gd name="T5" fmla="*/ 112713 h 185"/>
                <a:gd name="T6" fmla="*/ 38100 w 142"/>
                <a:gd name="T7" fmla="*/ 120650 h 185"/>
                <a:gd name="T8" fmla="*/ 26988 w 142"/>
                <a:gd name="T9" fmla="*/ 128588 h 185"/>
                <a:gd name="T10" fmla="*/ 11113 w 142"/>
                <a:gd name="T11" fmla="*/ 128588 h 185"/>
                <a:gd name="T12" fmla="*/ 0 w 142"/>
                <a:gd name="T13" fmla="*/ 158750 h 185"/>
                <a:gd name="T14" fmla="*/ 11113 w 142"/>
                <a:gd name="T15" fmla="*/ 165100 h 185"/>
                <a:gd name="T16" fmla="*/ 7938 w 142"/>
                <a:gd name="T17" fmla="*/ 169863 h 185"/>
                <a:gd name="T18" fmla="*/ 11113 w 142"/>
                <a:gd name="T19" fmla="*/ 173038 h 185"/>
                <a:gd name="T20" fmla="*/ 11113 w 142"/>
                <a:gd name="T21" fmla="*/ 188913 h 185"/>
                <a:gd name="T22" fmla="*/ 19050 w 142"/>
                <a:gd name="T23" fmla="*/ 200025 h 185"/>
                <a:gd name="T24" fmla="*/ 15875 w 142"/>
                <a:gd name="T25" fmla="*/ 214313 h 185"/>
                <a:gd name="T26" fmla="*/ 30163 w 142"/>
                <a:gd name="T27" fmla="*/ 217488 h 185"/>
                <a:gd name="T28" fmla="*/ 41275 w 142"/>
                <a:gd name="T29" fmla="*/ 225425 h 185"/>
                <a:gd name="T30" fmla="*/ 60325 w 142"/>
                <a:gd name="T31" fmla="*/ 230188 h 185"/>
                <a:gd name="T32" fmla="*/ 63500 w 142"/>
                <a:gd name="T33" fmla="*/ 241300 h 185"/>
                <a:gd name="T34" fmla="*/ 60325 w 142"/>
                <a:gd name="T35" fmla="*/ 263525 h 185"/>
                <a:gd name="T36" fmla="*/ 68263 w 142"/>
                <a:gd name="T37" fmla="*/ 282575 h 185"/>
                <a:gd name="T38" fmla="*/ 82550 w 142"/>
                <a:gd name="T39" fmla="*/ 274638 h 185"/>
                <a:gd name="T40" fmla="*/ 120650 w 142"/>
                <a:gd name="T41" fmla="*/ 285750 h 185"/>
                <a:gd name="T42" fmla="*/ 139700 w 142"/>
                <a:gd name="T43" fmla="*/ 277813 h 185"/>
                <a:gd name="T44" fmla="*/ 150813 w 142"/>
                <a:gd name="T45" fmla="*/ 271463 h 185"/>
                <a:gd name="T46" fmla="*/ 173038 w 142"/>
                <a:gd name="T47" fmla="*/ 274638 h 185"/>
                <a:gd name="T48" fmla="*/ 184150 w 142"/>
                <a:gd name="T49" fmla="*/ 282575 h 185"/>
                <a:gd name="T50" fmla="*/ 180975 w 142"/>
                <a:gd name="T51" fmla="*/ 263525 h 185"/>
                <a:gd name="T52" fmla="*/ 184150 w 142"/>
                <a:gd name="T53" fmla="*/ 255588 h 185"/>
                <a:gd name="T54" fmla="*/ 195263 w 142"/>
                <a:gd name="T55" fmla="*/ 244475 h 185"/>
                <a:gd name="T56" fmla="*/ 203200 w 142"/>
                <a:gd name="T57" fmla="*/ 233363 h 185"/>
                <a:gd name="T58" fmla="*/ 187325 w 142"/>
                <a:gd name="T59" fmla="*/ 222250 h 185"/>
                <a:gd name="T60" fmla="*/ 180975 w 142"/>
                <a:gd name="T61" fmla="*/ 206375 h 185"/>
                <a:gd name="T62" fmla="*/ 169863 w 142"/>
                <a:gd name="T63" fmla="*/ 184150 h 185"/>
                <a:gd name="T64" fmla="*/ 169863 w 142"/>
                <a:gd name="T65" fmla="*/ 173038 h 185"/>
                <a:gd name="T66" fmla="*/ 184150 w 142"/>
                <a:gd name="T67" fmla="*/ 169863 h 185"/>
                <a:gd name="T68" fmla="*/ 198438 w 142"/>
                <a:gd name="T69" fmla="*/ 158750 h 185"/>
                <a:gd name="T70" fmla="*/ 225425 w 142"/>
                <a:gd name="T71" fmla="*/ 128588 h 185"/>
                <a:gd name="T72" fmla="*/ 222250 w 142"/>
                <a:gd name="T73" fmla="*/ 90488 h 185"/>
                <a:gd name="T74" fmla="*/ 214313 w 142"/>
                <a:gd name="T75" fmla="*/ 71438 h 185"/>
                <a:gd name="T76" fmla="*/ 217488 w 142"/>
                <a:gd name="T77" fmla="*/ 49213 h 185"/>
                <a:gd name="T78" fmla="*/ 192088 w 142"/>
                <a:gd name="T79" fmla="*/ 30163 h 185"/>
                <a:gd name="T80" fmla="*/ 161925 w 142"/>
                <a:gd name="T81" fmla="*/ 41275 h 185"/>
                <a:gd name="T82" fmla="*/ 150813 w 142"/>
                <a:gd name="T83" fmla="*/ 49213 h 185"/>
                <a:gd name="T84" fmla="*/ 128588 w 142"/>
                <a:gd name="T85" fmla="*/ 38100 h 185"/>
                <a:gd name="T86" fmla="*/ 112713 w 142"/>
                <a:gd name="T87" fmla="*/ 23813 h 185"/>
                <a:gd name="T88" fmla="*/ 101600 w 142"/>
                <a:gd name="T89" fmla="*/ 4763 h 185"/>
                <a:gd name="T90" fmla="*/ 74613 w 142"/>
                <a:gd name="T91" fmla="*/ 12700 h 185"/>
                <a:gd name="T92" fmla="*/ 87313 w 142"/>
                <a:gd name="T93" fmla="*/ 38100 h 185"/>
                <a:gd name="T94" fmla="*/ 87313 w 142"/>
                <a:gd name="T95" fmla="*/ 60325 h 185"/>
                <a:gd name="T96" fmla="*/ 82550 w 142"/>
                <a:gd name="T97" fmla="*/ 57150 h 185"/>
                <a:gd name="T98" fmla="*/ 71438 w 142"/>
                <a:gd name="T99" fmla="*/ 68263 h 185"/>
                <a:gd name="T100" fmla="*/ 57150 w 142"/>
                <a:gd name="T101" fmla="*/ 68263 h 185"/>
                <a:gd name="T102" fmla="*/ 46038 w 142"/>
                <a:gd name="T103" fmla="*/ 79375 h 185"/>
                <a:gd name="T104" fmla="*/ 49213 w 142"/>
                <a:gd name="T105" fmla="*/ 82550 h 1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2"/>
                <a:gd name="T160" fmla="*/ 0 h 185"/>
                <a:gd name="T161" fmla="*/ 142 w 142"/>
                <a:gd name="T162" fmla="*/ 185 h 1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2" h="185">
                  <a:moveTo>
                    <a:pt x="29" y="52"/>
                  </a:moveTo>
                  <a:lnTo>
                    <a:pt x="31" y="55"/>
                  </a:lnTo>
                  <a:lnTo>
                    <a:pt x="31" y="60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31" y="67"/>
                  </a:lnTo>
                  <a:lnTo>
                    <a:pt x="29" y="67"/>
                  </a:lnTo>
                  <a:lnTo>
                    <a:pt x="26" y="67"/>
                  </a:lnTo>
                  <a:lnTo>
                    <a:pt x="26" y="69"/>
                  </a:lnTo>
                  <a:lnTo>
                    <a:pt x="29" y="71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4" y="76"/>
                  </a:lnTo>
                  <a:lnTo>
                    <a:pt x="21" y="76"/>
                  </a:lnTo>
                  <a:lnTo>
                    <a:pt x="21" y="78"/>
                  </a:lnTo>
                  <a:lnTo>
                    <a:pt x="19" y="81"/>
                  </a:lnTo>
                  <a:lnTo>
                    <a:pt x="17" y="81"/>
                  </a:lnTo>
                  <a:lnTo>
                    <a:pt x="14" y="78"/>
                  </a:lnTo>
                  <a:lnTo>
                    <a:pt x="12" y="78"/>
                  </a:lnTo>
                  <a:lnTo>
                    <a:pt x="10" y="78"/>
                  </a:lnTo>
                  <a:lnTo>
                    <a:pt x="7" y="78"/>
                  </a:lnTo>
                  <a:lnTo>
                    <a:pt x="7" y="81"/>
                  </a:lnTo>
                  <a:lnTo>
                    <a:pt x="5" y="83"/>
                  </a:lnTo>
                  <a:lnTo>
                    <a:pt x="5" y="88"/>
                  </a:lnTo>
                  <a:lnTo>
                    <a:pt x="3" y="93"/>
                  </a:lnTo>
                  <a:lnTo>
                    <a:pt x="0" y="97"/>
                  </a:lnTo>
                  <a:lnTo>
                    <a:pt x="0" y="100"/>
                  </a:lnTo>
                  <a:lnTo>
                    <a:pt x="3" y="102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7" y="104"/>
                  </a:lnTo>
                  <a:lnTo>
                    <a:pt x="5" y="104"/>
                  </a:lnTo>
                  <a:lnTo>
                    <a:pt x="5" y="107"/>
                  </a:lnTo>
                  <a:lnTo>
                    <a:pt x="7" y="109"/>
                  </a:lnTo>
                  <a:lnTo>
                    <a:pt x="10" y="112"/>
                  </a:lnTo>
                  <a:lnTo>
                    <a:pt x="10" y="114"/>
                  </a:lnTo>
                  <a:lnTo>
                    <a:pt x="7" y="119"/>
                  </a:lnTo>
                  <a:lnTo>
                    <a:pt x="10" y="121"/>
                  </a:lnTo>
                  <a:lnTo>
                    <a:pt x="10" y="123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2" y="130"/>
                  </a:lnTo>
                  <a:lnTo>
                    <a:pt x="12" y="133"/>
                  </a:lnTo>
                  <a:lnTo>
                    <a:pt x="10" y="133"/>
                  </a:lnTo>
                  <a:lnTo>
                    <a:pt x="10" y="135"/>
                  </a:lnTo>
                  <a:lnTo>
                    <a:pt x="12" y="137"/>
                  </a:lnTo>
                  <a:lnTo>
                    <a:pt x="14" y="137"/>
                  </a:lnTo>
                  <a:lnTo>
                    <a:pt x="17" y="137"/>
                  </a:lnTo>
                  <a:lnTo>
                    <a:pt x="19" y="137"/>
                  </a:lnTo>
                  <a:lnTo>
                    <a:pt x="21" y="137"/>
                  </a:lnTo>
                  <a:lnTo>
                    <a:pt x="24" y="137"/>
                  </a:lnTo>
                  <a:lnTo>
                    <a:pt x="24" y="140"/>
                  </a:lnTo>
                  <a:lnTo>
                    <a:pt x="26" y="140"/>
                  </a:lnTo>
                  <a:lnTo>
                    <a:pt x="26" y="142"/>
                  </a:lnTo>
                  <a:lnTo>
                    <a:pt x="29" y="142"/>
                  </a:lnTo>
                  <a:lnTo>
                    <a:pt x="31" y="142"/>
                  </a:lnTo>
                  <a:lnTo>
                    <a:pt x="33" y="142"/>
                  </a:lnTo>
                  <a:lnTo>
                    <a:pt x="38" y="145"/>
                  </a:lnTo>
                  <a:lnTo>
                    <a:pt x="40" y="145"/>
                  </a:lnTo>
                  <a:lnTo>
                    <a:pt x="40" y="147"/>
                  </a:lnTo>
                  <a:lnTo>
                    <a:pt x="40" y="149"/>
                  </a:lnTo>
                  <a:lnTo>
                    <a:pt x="40" y="152"/>
                  </a:lnTo>
                  <a:lnTo>
                    <a:pt x="40" y="154"/>
                  </a:lnTo>
                  <a:lnTo>
                    <a:pt x="38" y="156"/>
                  </a:lnTo>
                  <a:lnTo>
                    <a:pt x="38" y="159"/>
                  </a:lnTo>
                  <a:lnTo>
                    <a:pt x="38" y="161"/>
                  </a:lnTo>
                  <a:lnTo>
                    <a:pt x="38" y="163"/>
                  </a:lnTo>
                  <a:lnTo>
                    <a:pt x="38" y="166"/>
                  </a:lnTo>
                  <a:lnTo>
                    <a:pt x="38" y="171"/>
                  </a:lnTo>
                  <a:lnTo>
                    <a:pt x="38" y="173"/>
                  </a:lnTo>
                  <a:lnTo>
                    <a:pt x="38" y="175"/>
                  </a:lnTo>
                  <a:lnTo>
                    <a:pt x="40" y="178"/>
                  </a:lnTo>
                  <a:lnTo>
                    <a:pt x="43" y="178"/>
                  </a:lnTo>
                  <a:lnTo>
                    <a:pt x="47" y="175"/>
                  </a:lnTo>
                  <a:lnTo>
                    <a:pt x="47" y="173"/>
                  </a:lnTo>
                  <a:lnTo>
                    <a:pt x="50" y="173"/>
                  </a:lnTo>
                  <a:lnTo>
                    <a:pt x="52" y="173"/>
                  </a:lnTo>
                  <a:lnTo>
                    <a:pt x="55" y="173"/>
                  </a:lnTo>
                  <a:lnTo>
                    <a:pt x="59" y="175"/>
                  </a:lnTo>
                  <a:lnTo>
                    <a:pt x="62" y="175"/>
                  </a:lnTo>
                  <a:lnTo>
                    <a:pt x="73" y="185"/>
                  </a:lnTo>
                  <a:lnTo>
                    <a:pt x="73" y="182"/>
                  </a:lnTo>
                  <a:lnTo>
                    <a:pt x="76" y="180"/>
                  </a:lnTo>
                  <a:lnTo>
                    <a:pt x="78" y="180"/>
                  </a:lnTo>
                  <a:lnTo>
                    <a:pt x="78" y="178"/>
                  </a:lnTo>
                  <a:lnTo>
                    <a:pt x="81" y="178"/>
                  </a:lnTo>
                  <a:lnTo>
                    <a:pt x="85" y="178"/>
                  </a:lnTo>
                  <a:lnTo>
                    <a:pt x="88" y="175"/>
                  </a:lnTo>
                  <a:lnTo>
                    <a:pt x="90" y="175"/>
                  </a:lnTo>
                  <a:lnTo>
                    <a:pt x="92" y="175"/>
                  </a:lnTo>
                  <a:lnTo>
                    <a:pt x="92" y="173"/>
                  </a:lnTo>
                  <a:lnTo>
                    <a:pt x="95" y="171"/>
                  </a:lnTo>
                  <a:lnTo>
                    <a:pt x="99" y="171"/>
                  </a:lnTo>
                  <a:lnTo>
                    <a:pt x="104" y="173"/>
                  </a:lnTo>
                  <a:lnTo>
                    <a:pt x="107" y="173"/>
                  </a:lnTo>
                  <a:lnTo>
                    <a:pt x="109" y="173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4" y="178"/>
                  </a:lnTo>
                  <a:lnTo>
                    <a:pt x="116" y="178"/>
                  </a:lnTo>
                  <a:lnTo>
                    <a:pt x="116" y="175"/>
                  </a:lnTo>
                  <a:lnTo>
                    <a:pt x="116" y="171"/>
                  </a:lnTo>
                  <a:lnTo>
                    <a:pt x="114" y="168"/>
                  </a:lnTo>
                  <a:lnTo>
                    <a:pt x="114" y="166"/>
                  </a:lnTo>
                  <a:lnTo>
                    <a:pt x="111" y="166"/>
                  </a:lnTo>
                  <a:lnTo>
                    <a:pt x="111" y="163"/>
                  </a:lnTo>
                  <a:lnTo>
                    <a:pt x="114" y="161"/>
                  </a:lnTo>
                  <a:lnTo>
                    <a:pt x="116" y="161"/>
                  </a:lnTo>
                  <a:lnTo>
                    <a:pt x="118" y="159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3" y="156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8" y="147"/>
                  </a:lnTo>
                  <a:lnTo>
                    <a:pt x="123" y="142"/>
                  </a:lnTo>
                  <a:lnTo>
                    <a:pt x="121" y="140"/>
                  </a:lnTo>
                  <a:lnTo>
                    <a:pt x="118" y="140"/>
                  </a:lnTo>
                  <a:lnTo>
                    <a:pt x="116" y="140"/>
                  </a:lnTo>
                  <a:lnTo>
                    <a:pt x="116" y="137"/>
                  </a:lnTo>
                  <a:lnTo>
                    <a:pt x="116" y="135"/>
                  </a:lnTo>
                  <a:lnTo>
                    <a:pt x="114" y="133"/>
                  </a:lnTo>
                  <a:lnTo>
                    <a:pt x="114" y="130"/>
                  </a:lnTo>
                  <a:lnTo>
                    <a:pt x="114" y="128"/>
                  </a:lnTo>
                  <a:lnTo>
                    <a:pt x="111" y="126"/>
                  </a:lnTo>
                  <a:lnTo>
                    <a:pt x="109" y="123"/>
                  </a:lnTo>
                  <a:lnTo>
                    <a:pt x="109" y="121"/>
                  </a:lnTo>
                  <a:lnTo>
                    <a:pt x="107" y="119"/>
                  </a:lnTo>
                  <a:lnTo>
                    <a:pt x="107" y="116"/>
                  </a:lnTo>
                  <a:lnTo>
                    <a:pt x="104" y="114"/>
                  </a:lnTo>
                  <a:lnTo>
                    <a:pt x="104" y="112"/>
                  </a:lnTo>
                  <a:lnTo>
                    <a:pt x="104" y="109"/>
                  </a:lnTo>
                  <a:lnTo>
                    <a:pt x="107" y="109"/>
                  </a:lnTo>
                  <a:lnTo>
                    <a:pt x="109" y="109"/>
                  </a:lnTo>
                  <a:lnTo>
                    <a:pt x="111" y="109"/>
                  </a:lnTo>
                  <a:lnTo>
                    <a:pt x="114" y="109"/>
                  </a:lnTo>
                  <a:lnTo>
                    <a:pt x="114" y="107"/>
                  </a:lnTo>
                  <a:lnTo>
                    <a:pt x="116" y="107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1" y="102"/>
                  </a:lnTo>
                  <a:lnTo>
                    <a:pt x="125" y="100"/>
                  </a:lnTo>
                  <a:lnTo>
                    <a:pt x="132" y="95"/>
                  </a:lnTo>
                  <a:lnTo>
                    <a:pt x="135" y="93"/>
                  </a:lnTo>
                  <a:lnTo>
                    <a:pt x="142" y="95"/>
                  </a:lnTo>
                  <a:lnTo>
                    <a:pt x="142" y="93"/>
                  </a:lnTo>
                  <a:lnTo>
                    <a:pt x="142" y="88"/>
                  </a:lnTo>
                  <a:lnTo>
                    <a:pt x="142" y="81"/>
                  </a:lnTo>
                  <a:lnTo>
                    <a:pt x="140" y="76"/>
                  </a:lnTo>
                  <a:lnTo>
                    <a:pt x="140" y="71"/>
                  </a:lnTo>
                  <a:lnTo>
                    <a:pt x="137" y="67"/>
                  </a:lnTo>
                  <a:lnTo>
                    <a:pt x="137" y="62"/>
                  </a:lnTo>
                  <a:lnTo>
                    <a:pt x="137" y="60"/>
                  </a:lnTo>
                  <a:lnTo>
                    <a:pt x="140" y="57"/>
                  </a:lnTo>
                  <a:lnTo>
                    <a:pt x="140" y="55"/>
                  </a:lnTo>
                  <a:lnTo>
                    <a:pt x="137" y="55"/>
                  </a:lnTo>
                  <a:lnTo>
                    <a:pt x="137" y="50"/>
                  </a:lnTo>
                  <a:lnTo>
                    <a:pt x="135" y="50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5" y="43"/>
                  </a:lnTo>
                  <a:lnTo>
                    <a:pt x="137" y="41"/>
                  </a:lnTo>
                  <a:lnTo>
                    <a:pt x="137" y="38"/>
                  </a:lnTo>
                  <a:lnTo>
                    <a:pt x="137" y="36"/>
                  </a:lnTo>
                  <a:lnTo>
                    <a:pt x="137" y="31"/>
                  </a:lnTo>
                  <a:lnTo>
                    <a:pt x="137" y="29"/>
                  </a:lnTo>
                  <a:lnTo>
                    <a:pt x="135" y="29"/>
                  </a:lnTo>
                  <a:lnTo>
                    <a:pt x="130" y="26"/>
                  </a:lnTo>
                  <a:lnTo>
                    <a:pt x="125" y="26"/>
                  </a:lnTo>
                  <a:lnTo>
                    <a:pt x="123" y="24"/>
                  </a:lnTo>
                  <a:lnTo>
                    <a:pt x="121" y="19"/>
                  </a:lnTo>
                  <a:lnTo>
                    <a:pt x="116" y="19"/>
                  </a:lnTo>
                  <a:lnTo>
                    <a:pt x="114" y="19"/>
                  </a:lnTo>
                  <a:lnTo>
                    <a:pt x="109" y="19"/>
                  </a:lnTo>
                  <a:lnTo>
                    <a:pt x="107" y="19"/>
                  </a:lnTo>
                  <a:lnTo>
                    <a:pt x="104" y="24"/>
                  </a:lnTo>
                  <a:lnTo>
                    <a:pt x="102" y="26"/>
                  </a:lnTo>
                  <a:lnTo>
                    <a:pt x="97" y="26"/>
                  </a:lnTo>
                  <a:lnTo>
                    <a:pt x="95" y="26"/>
                  </a:lnTo>
                  <a:lnTo>
                    <a:pt x="95" y="29"/>
                  </a:lnTo>
                  <a:lnTo>
                    <a:pt x="95" y="31"/>
                  </a:lnTo>
                  <a:lnTo>
                    <a:pt x="92" y="34"/>
                  </a:lnTo>
                  <a:lnTo>
                    <a:pt x="90" y="29"/>
                  </a:lnTo>
                  <a:lnTo>
                    <a:pt x="85" y="24"/>
                  </a:lnTo>
                  <a:lnTo>
                    <a:pt x="83" y="24"/>
                  </a:lnTo>
                  <a:lnTo>
                    <a:pt x="81" y="24"/>
                  </a:lnTo>
                  <a:lnTo>
                    <a:pt x="78" y="26"/>
                  </a:lnTo>
                  <a:lnTo>
                    <a:pt x="76" y="26"/>
                  </a:lnTo>
                  <a:lnTo>
                    <a:pt x="73" y="24"/>
                  </a:lnTo>
                  <a:lnTo>
                    <a:pt x="73" y="19"/>
                  </a:lnTo>
                  <a:lnTo>
                    <a:pt x="71" y="15"/>
                  </a:lnTo>
                  <a:lnTo>
                    <a:pt x="66" y="10"/>
                  </a:lnTo>
                  <a:lnTo>
                    <a:pt x="69" y="8"/>
                  </a:lnTo>
                  <a:lnTo>
                    <a:pt x="73" y="3"/>
                  </a:lnTo>
                  <a:lnTo>
                    <a:pt x="69" y="3"/>
                  </a:lnTo>
                  <a:lnTo>
                    <a:pt x="64" y="3"/>
                  </a:lnTo>
                  <a:lnTo>
                    <a:pt x="64" y="0"/>
                  </a:lnTo>
                  <a:lnTo>
                    <a:pt x="52" y="0"/>
                  </a:lnTo>
                  <a:lnTo>
                    <a:pt x="50" y="3"/>
                  </a:lnTo>
                  <a:lnTo>
                    <a:pt x="50" y="5"/>
                  </a:lnTo>
                  <a:lnTo>
                    <a:pt x="47" y="5"/>
                  </a:lnTo>
                  <a:lnTo>
                    <a:pt x="47" y="8"/>
                  </a:lnTo>
                  <a:lnTo>
                    <a:pt x="47" y="10"/>
                  </a:lnTo>
                  <a:lnTo>
                    <a:pt x="52" y="10"/>
                  </a:lnTo>
                  <a:lnTo>
                    <a:pt x="52" y="15"/>
                  </a:lnTo>
                  <a:lnTo>
                    <a:pt x="55" y="19"/>
                  </a:lnTo>
                  <a:lnTo>
                    <a:pt x="55" y="24"/>
                  </a:lnTo>
                  <a:lnTo>
                    <a:pt x="55" y="29"/>
                  </a:lnTo>
                  <a:lnTo>
                    <a:pt x="55" y="31"/>
                  </a:lnTo>
                  <a:lnTo>
                    <a:pt x="55" y="34"/>
                  </a:lnTo>
                  <a:lnTo>
                    <a:pt x="55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50" y="38"/>
                  </a:lnTo>
                  <a:lnTo>
                    <a:pt x="47" y="43"/>
                  </a:lnTo>
                  <a:lnTo>
                    <a:pt x="47" y="45"/>
                  </a:lnTo>
                  <a:lnTo>
                    <a:pt x="45" y="43"/>
                  </a:lnTo>
                  <a:lnTo>
                    <a:pt x="43" y="43"/>
                  </a:lnTo>
                  <a:lnTo>
                    <a:pt x="40" y="43"/>
                  </a:lnTo>
                  <a:lnTo>
                    <a:pt x="40" y="41"/>
                  </a:lnTo>
                  <a:lnTo>
                    <a:pt x="38" y="41"/>
                  </a:lnTo>
                  <a:lnTo>
                    <a:pt x="36" y="43"/>
                  </a:lnTo>
                  <a:lnTo>
                    <a:pt x="33" y="43"/>
                  </a:lnTo>
                  <a:lnTo>
                    <a:pt x="29" y="48"/>
                  </a:lnTo>
                  <a:lnTo>
                    <a:pt x="29" y="50"/>
                  </a:lnTo>
                  <a:lnTo>
                    <a:pt x="31" y="50"/>
                  </a:lnTo>
                  <a:lnTo>
                    <a:pt x="31" y="52"/>
                  </a:lnTo>
                  <a:lnTo>
                    <a:pt x="29" y="52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69" name="Freeform 1893"/>
            <p:cNvSpPr>
              <a:spLocks/>
            </p:cNvSpPr>
            <p:nvPr/>
          </p:nvSpPr>
          <p:spPr bwMode="gray">
            <a:xfrm>
              <a:off x="1463735" y="4877927"/>
              <a:ext cx="2469860" cy="1111309"/>
            </a:xfrm>
            <a:custGeom>
              <a:avLst/>
              <a:gdLst/>
              <a:ahLst/>
              <a:cxnLst/>
              <a:rect l="l" t="t" r="r" b="b"/>
              <a:pathLst>
                <a:path w="2993741" h="1347028">
                  <a:moveTo>
                    <a:pt x="1597626" y="0"/>
                  </a:moveTo>
                  <a:lnTo>
                    <a:pt x="1669586" y="57572"/>
                  </a:lnTo>
                  <a:lnTo>
                    <a:pt x="1698372" y="57572"/>
                  </a:lnTo>
                  <a:lnTo>
                    <a:pt x="1727158" y="100756"/>
                  </a:lnTo>
                  <a:lnTo>
                    <a:pt x="1727158" y="158328"/>
                  </a:lnTo>
                  <a:lnTo>
                    <a:pt x="1727158" y="201503"/>
                  </a:lnTo>
                  <a:lnTo>
                    <a:pt x="1770342" y="201503"/>
                  </a:lnTo>
                  <a:lnTo>
                    <a:pt x="1799128" y="230289"/>
                  </a:lnTo>
                  <a:lnTo>
                    <a:pt x="1827914" y="273472"/>
                  </a:lnTo>
                  <a:lnTo>
                    <a:pt x="1871088" y="302258"/>
                  </a:lnTo>
                  <a:lnTo>
                    <a:pt x="1899874" y="302258"/>
                  </a:lnTo>
                  <a:lnTo>
                    <a:pt x="1943058" y="273472"/>
                  </a:lnTo>
                  <a:lnTo>
                    <a:pt x="1943058" y="302258"/>
                  </a:lnTo>
                  <a:lnTo>
                    <a:pt x="1971844" y="302258"/>
                  </a:lnTo>
                  <a:lnTo>
                    <a:pt x="1971844" y="331045"/>
                  </a:lnTo>
                  <a:lnTo>
                    <a:pt x="2000630" y="374219"/>
                  </a:lnTo>
                  <a:lnTo>
                    <a:pt x="2043804" y="403005"/>
                  </a:lnTo>
                  <a:lnTo>
                    <a:pt x="2072590" y="431791"/>
                  </a:lnTo>
                  <a:lnTo>
                    <a:pt x="2101376" y="431791"/>
                  </a:lnTo>
                  <a:lnTo>
                    <a:pt x="2144559" y="431791"/>
                  </a:lnTo>
                  <a:lnTo>
                    <a:pt x="2173345" y="431791"/>
                  </a:lnTo>
                  <a:lnTo>
                    <a:pt x="2173345" y="403005"/>
                  </a:lnTo>
                  <a:lnTo>
                    <a:pt x="2202131" y="403005"/>
                  </a:lnTo>
                  <a:lnTo>
                    <a:pt x="2202131" y="431791"/>
                  </a:lnTo>
                  <a:lnTo>
                    <a:pt x="2202131" y="474975"/>
                  </a:lnTo>
                  <a:lnTo>
                    <a:pt x="2202131" y="503761"/>
                  </a:lnTo>
                  <a:lnTo>
                    <a:pt x="2202131" y="532547"/>
                  </a:lnTo>
                  <a:lnTo>
                    <a:pt x="2245306" y="532547"/>
                  </a:lnTo>
                  <a:lnTo>
                    <a:pt x="2302878" y="532547"/>
                  </a:lnTo>
                  <a:lnTo>
                    <a:pt x="2418022" y="503761"/>
                  </a:lnTo>
                  <a:lnTo>
                    <a:pt x="2418022" y="532547"/>
                  </a:lnTo>
                  <a:lnTo>
                    <a:pt x="2418022" y="575721"/>
                  </a:lnTo>
                  <a:lnTo>
                    <a:pt x="2418022" y="604508"/>
                  </a:lnTo>
                  <a:lnTo>
                    <a:pt x="2446808" y="604508"/>
                  </a:lnTo>
                  <a:lnTo>
                    <a:pt x="2446808" y="633294"/>
                  </a:lnTo>
                  <a:lnTo>
                    <a:pt x="2518777" y="633294"/>
                  </a:lnTo>
                  <a:lnTo>
                    <a:pt x="2547563" y="633294"/>
                  </a:lnTo>
                  <a:lnTo>
                    <a:pt x="2576349" y="633294"/>
                  </a:lnTo>
                  <a:lnTo>
                    <a:pt x="2619523" y="633294"/>
                  </a:lnTo>
                  <a:lnTo>
                    <a:pt x="2648309" y="633294"/>
                  </a:lnTo>
                  <a:lnTo>
                    <a:pt x="2677095" y="633294"/>
                  </a:lnTo>
                  <a:lnTo>
                    <a:pt x="2720279" y="633294"/>
                  </a:lnTo>
                  <a:lnTo>
                    <a:pt x="2720279" y="676477"/>
                  </a:lnTo>
                  <a:lnTo>
                    <a:pt x="2749065" y="676477"/>
                  </a:lnTo>
                  <a:lnTo>
                    <a:pt x="2749065" y="705263"/>
                  </a:lnTo>
                  <a:lnTo>
                    <a:pt x="2792239" y="705263"/>
                  </a:lnTo>
                  <a:lnTo>
                    <a:pt x="2821025" y="705263"/>
                  </a:lnTo>
                  <a:lnTo>
                    <a:pt x="2849811" y="705263"/>
                  </a:lnTo>
                  <a:lnTo>
                    <a:pt x="2950567" y="748438"/>
                  </a:lnTo>
                  <a:lnTo>
                    <a:pt x="2993741" y="777224"/>
                  </a:lnTo>
                  <a:lnTo>
                    <a:pt x="2950567" y="806010"/>
                  </a:lnTo>
                  <a:lnTo>
                    <a:pt x="2950567" y="849194"/>
                  </a:lnTo>
                  <a:lnTo>
                    <a:pt x="2950567" y="877980"/>
                  </a:lnTo>
                  <a:lnTo>
                    <a:pt x="2921781" y="906766"/>
                  </a:lnTo>
                  <a:lnTo>
                    <a:pt x="2921781" y="949940"/>
                  </a:lnTo>
                  <a:lnTo>
                    <a:pt x="2921781" y="978726"/>
                  </a:lnTo>
                  <a:lnTo>
                    <a:pt x="2921781" y="1007512"/>
                  </a:lnTo>
                  <a:lnTo>
                    <a:pt x="2921781" y="1050696"/>
                  </a:lnTo>
                  <a:lnTo>
                    <a:pt x="2921781" y="1122657"/>
                  </a:lnTo>
                  <a:lnTo>
                    <a:pt x="2921781" y="1151443"/>
                  </a:lnTo>
                  <a:lnTo>
                    <a:pt x="2950567" y="1223412"/>
                  </a:lnTo>
                  <a:lnTo>
                    <a:pt x="2950567" y="1252199"/>
                  </a:lnTo>
                  <a:lnTo>
                    <a:pt x="2921781" y="1252199"/>
                  </a:lnTo>
                  <a:lnTo>
                    <a:pt x="2892995" y="1252199"/>
                  </a:lnTo>
                  <a:lnTo>
                    <a:pt x="2849811" y="1252199"/>
                  </a:lnTo>
                  <a:lnTo>
                    <a:pt x="2849811" y="1280985"/>
                  </a:lnTo>
                  <a:lnTo>
                    <a:pt x="2849811" y="1324159"/>
                  </a:lnTo>
                  <a:lnTo>
                    <a:pt x="2821025" y="1324159"/>
                  </a:lnTo>
                  <a:lnTo>
                    <a:pt x="2821025" y="1347028"/>
                  </a:lnTo>
                  <a:lnTo>
                    <a:pt x="469056" y="1347028"/>
                  </a:lnTo>
                  <a:lnTo>
                    <a:pt x="446187" y="1324159"/>
                  </a:lnTo>
                  <a:lnTo>
                    <a:pt x="474973" y="1223412"/>
                  </a:lnTo>
                  <a:lnTo>
                    <a:pt x="331043" y="1280985"/>
                  </a:lnTo>
                  <a:lnTo>
                    <a:pt x="331043" y="1223412"/>
                  </a:lnTo>
                  <a:lnTo>
                    <a:pt x="230288" y="1180229"/>
                  </a:lnTo>
                  <a:lnTo>
                    <a:pt x="172716" y="1151443"/>
                  </a:lnTo>
                  <a:lnTo>
                    <a:pt x="129541" y="1151443"/>
                  </a:lnTo>
                  <a:lnTo>
                    <a:pt x="28786" y="1151443"/>
                  </a:lnTo>
                  <a:lnTo>
                    <a:pt x="28786" y="1122657"/>
                  </a:lnTo>
                  <a:lnTo>
                    <a:pt x="28786" y="1079482"/>
                  </a:lnTo>
                  <a:lnTo>
                    <a:pt x="28786" y="1050696"/>
                  </a:lnTo>
                  <a:lnTo>
                    <a:pt x="0" y="1007512"/>
                  </a:lnTo>
                  <a:lnTo>
                    <a:pt x="71970" y="1007512"/>
                  </a:lnTo>
                  <a:lnTo>
                    <a:pt x="129541" y="978726"/>
                  </a:lnTo>
                  <a:lnTo>
                    <a:pt x="71970" y="949940"/>
                  </a:lnTo>
                  <a:lnTo>
                    <a:pt x="0" y="906766"/>
                  </a:lnTo>
                  <a:lnTo>
                    <a:pt x="28786" y="906766"/>
                  </a:lnTo>
                  <a:lnTo>
                    <a:pt x="100755" y="877980"/>
                  </a:lnTo>
                  <a:lnTo>
                    <a:pt x="129541" y="877980"/>
                  </a:lnTo>
                  <a:lnTo>
                    <a:pt x="201502" y="877980"/>
                  </a:lnTo>
                  <a:lnTo>
                    <a:pt x="230288" y="849194"/>
                  </a:lnTo>
                  <a:lnTo>
                    <a:pt x="331043" y="849194"/>
                  </a:lnTo>
                  <a:lnTo>
                    <a:pt x="374218" y="849194"/>
                  </a:lnTo>
                  <a:lnTo>
                    <a:pt x="403004" y="849194"/>
                  </a:lnTo>
                  <a:lnTo>
                    <a:pt x="403004" y="877980"/>
                  </a:lnTo>
                  <a:lnTo>
                    <a:pt x="403004" y="906766"/>
                  </a:lnTo>
                  <a:lnTo>
                    <a:pt x="446187" y="906766"/>
                  </a:lnTo>
                  <a:lnTo>
                    <a:pt x="474973" y="906766"/>
                  </a:lnTo>
                  <a:lnTo>
                    <a:pt x="575720" y="849194"/>
                  </a:lnTo>
                  <a:lnTo>
                    <a:pt x="604506" y="849194"/>
                  </a:lnTo>
                  <a:lnTo>
                    <a:pt x="647689" y="849194"/>
                  </a:lnTo>
                  <a:lnTo>
                    <a:pt x="676475" y="849194"/>
                  </a:lnTo>
                  <a:lnTo>
                    <a:pt x="705261" y="877980"/>
                  </a:lnTo>
                  <a:lnTo>
                    <a:pt x="777221" y="877980"/>
                  </a:lnTo>
                  <a:lnTo>
                    <a:pt x="777221" y="806010"/>
                  </a:lnTo>
                  <a:lnTo>
                    <a:pt x="777221" y="748438"/>
                  </a:lnTo>
                  <a:lnTo>
                    <a:pt x="748435" y="676477"/>
                  </a:lnTo>
                  <a:lnTo>
                    <a:pt x="705261" y="575721"/>
                  </a:lnTo>
                  <a:lnTo>
                    <a:pt x="676475" y="532547"/>
                  </a:lnTo>
                  <a:lnTo>
                    <a:pt x="676475" y="503761"/>
                  </a:lnTo>
                  <a:lnTo>
                    <a:pt x="705261" y="474975"/>
                  </a:lnTo>
                  <a:lnTo>
                    <a:pt x="748435" y="474975"/>
                  </a:lnTo>
                  <a:lnTo>
                    <a:pt x="748435" y="431791"/>
                  </a:lnTo>
                  <a:lnTo>
                    <a:pt x="777221" y="431791"/>
                  </a:lnTo>
                  <a:lnTo>
                    <a:pt x="820405" y="474975"/>
                  </a:lnTo>
                  <a:lnTo>
                    <a:pt x="820405" y="503761"/>
                  </a:lnTo>
                  <a:lnTo>
                    <a:pt x="820405" y="575721"/>
                  </a:lnTo>
                  <a:lnTo>
                    <a:pt x="877977" y="575721"/>
                  </a:lnTo>
                  <a:lnTo>
                    <a:pt x="978723" y="575721"/>
                  </a:lnTo>
                  <a:lnTo>
                    <a:pt x="1021907" y="604508"/>
                  </a:lnTo>
                  <a:lnTo>
                    <a:pt x="1079479" y="575721"/>
                  </a:lnTo>
                  <a:lnTo>
                    <a:pt x="1122653" y="575721"/>
                  </a:lnTo>
                  <a:lnTo>
                    <a:pt x="1194622" y="575721"/>
                  </a:lnTo>
                  <a:lnTo>
                    <a:pt x="1194622" y="503761"/>
                  </a:lnTo>
                  <a:lnTo>
                    <a:pt x="1194622" y="431791"/>
                  </a:lnTo>
                  <a:lnTo>
                    <a:pt x="1223408" y="403005"/>
                  </a:lnTo>
                  <a:lnTo>
                    <a:pt x="1252194" y="403005"/>
                  </a:lnTo>
                  <a:lnTo>
                    <a:pt x="1295369" y="374219"/>
                  </a:lnTo>
                  <a:lnTo>
                    <a:pt x="1324155" y="374219"/>
                  </a:lnTo>
                  <a:lnTo>
                    <a:pt x="1396124" y="374219"/>
                  </a:lnTo>
                  <a:lnTo>
                    <a:pt x="1453696" y="331045"/>
                  </a:lnTo>
                  <a:lnTo>
                    <a:pt x="1424910" y="273472"/>
                  </a:lnTo>
                  <a:lnTo>
                    <a:pt x="1424910" y="201503"/>
                  </a:lnTo>
                  <a:lnTo>
                    <a:pt x="1424910" y="129542"/>
                  </a:lnTo>
                  <a:lnTo>
                    <a:pt x="1424910" y="57572"/>
                  </a:lnTo>
                  <a:lnTo>
                    <a:pt x="1453696" y="57572"/>
                  </a:lnTo>
                  <a:lnTo>
                    <a:pt x="1525657" y="28786"/>
                  </a:lnTo>
                  <a:lnTo>
                    <a:pt x="1568840" y="28786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70" name="Freeform 1916"/>
            <p:cNvSpPr>
              <a:spLocks/>
            </p:cNvSpPr>
            <p:nvPr/>
          </p:nvSpPr>
          <p:spPr bwMode="gray">
            <a:xfrm>
              <a:off x="3874219" y="2883035"/>
              <a:ext cx="558097" cy="1033073"/>
            </a:xfrm>
            <a:custGeom>
              <a:avLst/>
              <a:gdLst>
                <a:gd name="T0" fmla="*/ 44450 w 47"/>
                <a:gd name="T1" fmla="*/ 115888 h 87"/>
                <a:gd name="T2" fmla="*/ 49213 w 47"/>
                <a:gd name="T3" fmla="*/ 104775 h 87"/>
                <a:gd name="T4" fmla="*/ 52388 w 47"/>
                <a:gd name="T5" fmla="*/ 115888 h 87"/>
                <a:gd name="T6" fmla="*/ 68263 w 47"/>
                <a:gd name="T7" fmla="*/ 123825 h 87"/>
                <a:gd name="T8" fmla="*/ 74613 w 47"/>
                <a:gd name="T9" fmla="*/ 138113 h 87"/>
                <a:gd name="T10" fmla="*/ 68263 w 47"/>
                <a:gd name="T11" fmla="*/ 107950 h 87"/>
                <a:gd name="T12" fmla="*/ 60325 w 47"/>
                <a:gd name="T13" fmla="*/ 101600 h 87"/>
                <a:gd name="T14" fmla="*/ 55563 w 47"/>
                <a:gd name="T15" fmla="*/ 101600 h 87"/>
                <a:gd name="T16" fmla="*/ 55563 w 47"/>
                <a:gd name="T17" fmla="*/ 85725 h 87"/>
                <a:gd name="T18" fmla="*/ 63500 w 47"/>
                <a:gd name="T19" fmla="*/ 71438 h 87"/>
                <a:gd name="T20" fmla="*/ 71438 w 47"/>
                <a:gd name="T21" fmla="*/ 74613 h 87"/>
                <a:gd name="T22" fmla="*/ 71438 w 47"/>
                <a:gd name="T23" fmla="*/ 66675 h 87"/>
                <a:gd name="T24" fmla="*/ 60325 w 47"/>
                <a:gd name="T25" fmla="*/ 63500 h 87"/>
                <a:gd name="T26" fmla="*/ 60325 w 47"/>
                <a:gd name="T27" fmla="*/ 52388 h 87"/>
                <a:gd name="T28" fmla="*/ 60325 w 47"/>
                <a:gd name="T29" fmla="*/ 33338 h 87"/>
                <a:gd name="T30" fmla="*/ 49213 w 47"/>
                <a:gd name="T31" fmla="*/ 33338 h 87"/>
                <a:gd name="T32" fmla="*/ 60325 w 47"/>
                <a:gd name="T33" fmla="*/ 30163 h 87"/>
                <a:gd name="T34" fmla="*/ 63500 w 47"/>
                <a:gd name="T35" fmla="*/ 25400 h 87"/>
                <a:gd name="T36" fmla="*/ 68263 w 47"/>
                <a:gd name="T37" fmla="*/ 19050 h 87"/>
                <a:gd name="T38" fmla="*/ 68263 w 47"/>
                <a:gd name="T39" fmla="*/ 7938 h 87"/>
                <a:gd name="T40" fmla="*/ 68263 w 47"/>
                <a:gd name="T41" fmla="*/ 0 h 87"/>
                <a:gd name="T42" fmla="*/ 49213 w 47"/>
                <a:gd name="T43" fmla="*/ 11113 h 87"/>
                <a:gd name="T44" fmla="*/ 38100 w 47"/>
                <a:gd name="T45" fmla="*/ 25400 h 87"/>
                <a:gd name="T46" fmla="*/ 30163 w 47"/>
                <a:gd name="T47" fmla="*/ 30163 h 87"/>
                <a:gd name="T48" fmla="*/ 19050 w 47"/>
                <a:gd name="T49" fmla="*/ 25400 h 87"/>
                <a:gd name="T50" fmla="*/ 14288 w 47"/>
                <a:gd name="T51" fmla="*/ 33338 h 87"/>
                <a:gd name="T52" fmla="*/ 3175 w 47"/>
                <a:gd name="T53" fmla="*/ 44450 h 87"/>
                <a:gd name="T54" fmla="*/ 7938 w 47"/>
                <a:gd name="T55" fmla="*/ 49213 h 87"/>
                <a:gd name="T56" fmla="*/ 11113 w 47"/>
                <a:gd name="T57" fmla="*/ 52388 h 87"/>
                <a:gd name="T58" fmla="*/ 22225 w 47"/>
                <a:gd name="T59" fmla="*/ 41275 h 87"/>
                <a:gd name="T60" fmla="*/ 19050 w 47"/>
                <a:gd name="T61" fmla="*/ 52388 h 87"/>
                <a:gd name="T62" fmla="*/ 22225 w 47"/>
                <a:gd name="T63" fmla="*/ 52388 h 87"/>
                <a:gd name="T64" fmla="*/ 26988 w 47"/>
                <a:gd name="T65" fmla="*/ 49213 h 87"/>
                <a:gd name="T66" fmla="*/ 26988 w 47"/>
                <a:gd name="T67" fmla="*/ 41275 h 87"/>
                <a:gd name="T68" fmla="*/ 22225 w 47"/>
                <a:gd name="T69" fmla="*/ 33338 h 87"/>
                <a:gd name="T70" fmla="*/ 38100 w 47"/>
                <a:gd name="T71" fmla="*/ 38100 h 87"/>
                <a:gd name="T72" fmla="*/ 38100 w 47"/>
                <a:gd name="T73" fmla="*/ 52388 h 87"/>
                <a:gd name="T74" fmla="*/ 30163 w 47"/>
                <a:gd name="T75" fmla="*/ 49213 h 87"/>
                <a:gd name="T76" fmla="*/ 22225 w 47"/>
                <a:gd name="T77" fmla="*/ 63500 h 87"/>
                <a:gd name="T78" fmla="*/ 3175 w 47"/>
                <a:gd name="T79" fmla="*/ 66675 h 87"/>
                <a:gd name="T80" fmla="*/ 0 w 47"/>
                <a:gd name="T81" fmla="*/ 74613 h 87"/>
                <a:gd name="T82" fmla="*/ 7938 w 47"/>
                <a:gd name="T83" fmla="*/ 79375 h 87"/>
                <a:gd name="T84" fmla="*/ 11113 w 47"/>
                <a:gd name="T85" fmla="*/ 82550 h 87"/>
                <a:gd name="T86" fmla="*/ 11113 w 47"/>
                <a:gd name="T87" fmla="*/ 90488 h 87"/>
                <a:gd name="T88" fmla="*/ 7938 w 47"/>
                <a:gd name="T89" fmla="*/ 107950 h 87"/>
                <a:gd name="T90" fmla="*/ 22225 w 47"/>
                <a:gd name="T91" fmla="*/ 119063 h 87"/>
                <a:gd name="T92" fmla="*/ 22225 w 47"/>
                <a:gd name="T93" fmla="*/ 119063 h 8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7"/>
                <a:gd name="T142" fmla="*/ 0 h 87"/>
                <a:gd name="T143" fmla="*/ 47 w 47"/>
                <a:gd name="T144" fmla="*/ 87 h 8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7" h="87">
                  <a:moveTo>
                    <a:pt x="14" y="75"/>
                  </a:moveTo>
                  <a:lnTo>
                    <a:pt x="26" y="75"/>
                  </a:lnTo>
                  <a:lnTo>
                    <a:pt x="28" y="73"/>
                  </a:lnTo>
                  <a:lnTo>
                    <a:pt x="31" y="68"/>
                  </a:lnTo>
                  <a:lnTo>
                    <a:pt x="31" y="66"/>
                  </a:lnTo>
                  <a:lnTo>
                    <a:pt x="33" y="68"/>
                  </a:lnTo>
                  <a:lnTo>
                    <a:pt x="31" y="71"/>
                  </a:lnTo>
                  <a:lnTo>
                    <a:pt x="33" y="73"/>
                  </a:lnTo>
                  <a:lnTo>
                    <a:pt x="35" y="75"/>
                  </a:lnTo>
                  <a:lnTo>
                    <a:pt x="43" y="75"/>
                  </a:lnTo>
                  <a:lnTo>
                    <a:pt x="43" y="78"/>
                  </a:lnTo>
                  <a:lnTo>
                    <a:pt x="43" y="83"/>
                  </a:lnTo>
                  <a:lnTo>
                    <a:pt x="45" y="85"/>
                  </a:lnTo>
                  <a:lnTo>
                    <a:pt x="47" y="87"/>
                  </a:lnTo>
                  <a:lnTo>
                    <a:pt x="45" y="83"/>
                  </a:lnTo>
                  <a:lnTo>
                    <a:pt x="43" y="75"/>
                  </a:lnTo>
                  <a:lnTo>
                    <a:pt x="43" y="68"/>
                  </a:lnTo>
                  <a:lnTo>
                    <a:pt x="43" y="64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5" y="64"/>
                  </a:lnTo>
                  <a:lnTo>
                    <a:pt x="33" y="64"/>
                  </a:lnTo>
                  <a:lnTo>
                    <a:pt x="35" y="59"/>
                  </a:lnTo>
                  <a:lnTo>
                    <a:pt x="35" y="54"/>
                  </a:lnTo>
                  <a:lnTo>
                    <a:pt x="38" y="50"/>
                  </a:lnTo>
                  <a:lnTo>
                    <a:pt x="38" y="45"/>
                  </a:lnTo>
                  <a:lnTo>
                    <a:pt x="40" y="45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7" y="47"/>
                  </a:lnTo>
                  <a:lnTo>
                    <a:pt x="45" y="42"/>
                  </a:lnTo>
                  <a:lnTo>
                    <a:pt x="47" y="40"/>
                  </a:lnTo>
                  <a:lnTo>
                    <a:pt x="43" y="40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1"/>
                  </a:lnTo>
                  <a:lnTo>
                    <a:pt x="38" y="26"/>
                  </a:lnTo>
                  <a:lnTo>
                    <a:pt x="38" y="21"/>
                  </a:lnTo>
                  <a:lnTo>
                    <a:pt x="35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28" y="19"/>
                  </a:lnTo>
                  <a:lnTo>
                    <a:pt x="33" y="19"/>
                  </a:lnTo>
                  <a:lnTo>
                    <a:pt x="38" y="19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9"/>
                  </a:lnTo>
                  <a:lnTo>
                    <a:pt x="43" y="7"/>
                  </a:lnTo>
                  <a:lnTo>
                    <a:pt x="43" y="5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38" y="2"/>
                  </a:lnTo>
                  <a:lnTo>
                    <a:pt x="35" y="5"/>
                  </a:lnTo>
                  <a:lnTo>
                    <a:pt x="31" y="7"/>
                  </a:lnTo>
                  <a:lnTo>
                    <a:pt x="28" y="7"/>
                  </a:lnTo>
                  <a:lnTo>
                    <a:pt x="26" y="12"/>
                  </a:lnTo>
                  <a:lnTo>
                    <a:pt x="24" y="16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7" y="21"/>
                  </a:lnTo>
                  <a:lnTo>
                    <a:pt x="5" y="26"/>
                  </a:lnTo>
                  <a:lnTo>
                    <a:pt x="2" y="28"/>
                  </a:lnTo>
                  <a:lnTo>
                    <a:pt x="5" y="31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9" y="26"/>
                  </a:lnTo>
                  <a:lnTo>
                    <a:pt x="14" y="26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7" y="31"/>
                  </a:lnTo>
                  <a:lnTo>
                    <a:pt x="17" y="28"/>
                  </a:lnTo>
                  <a:lnTo>
                    <a:pt x="17" y="26"/>
                  </a:lnTo>
                  <a:lnTo>
                    <a:pt x="17" y="24"/>
                  </a:lnTo>
                  <a:lnTo>
                    <a:pt x="14" y="21"/>
                  </a:lnTo>
                  <a:lnTo>
                    <a:pt x="17" y="24"/>
                  </a:lnTo>
                  <a:lnTo>
                    <a:pt x="19" y="24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4" y="28"/>
                  </a:lnTo>
                  <a:lnTo>
                    <a:pt x="24" y="33"/>
                  </a:lnTo>
                  <a:lnTo>
                    <a:pt x="24" y="31"/>
                  </a:lnTo>
                  <a:lnTo>
                    <a:pt x="19" y="31"/>
                  </a:lnTo>
                  <a:lnTo>
                    <a:pt x="17" y="35"/>
                  </a:lnTo>
                  <a:lnTo>
                    <a:pt x="14" y="38"/>
                  </a:lnTo>
                  <a:lnTo>
                    <a:pt x="14" y="40"/>
                  </a:lnTo>
                  <a:lnTo>
                    <a:pt x="0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0" y="47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7"/>
                  </a:lnTo>
                  <a:lnTo>
                    <a:pt x="7" y="61"/>
                  </a:lnTo>
                  <a:lnTo>
                    <a:pt x="5" y="66"/>
                  </a:lnTo>
                  <a:lnTo>
                    <a:pt x="5" y="68"/>
                  </a:lnTo>
                  <a:lnTo>
                    <a:pt x="12" y="71"/>
                  </a:lnTo>
                  <a:lnTo>
                    <a:pt x="14" y="73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71" name="Freeform 1917"/>
            <p:cNvSpPr>
              <a:spLocks/>
            </p:cNvSpPr>
            <p:nvPr/>
          </p:nvSpPr>
          <p:spPr bwMode="gray">
            <a:xfrm>
              <a:off x="4491676" y="3832983"/>
              <a:ext cx="225616" cy="142492"/>
            </a:xfrm>
            <a:custGeom>
              <a:avLst/>
              <a:gdLst>
                <a:gd name="T0" fmla="*/ 19050 w 19"/>
                <a:gd name="T1" fmla="*/ 0 h 12"/>
                <a:gd name="T2" fmla="*/ 14288 w 19"/>
                <a:gd name="T3" fmla="*/ 0 h 12"/>
                <a:gd name="T4" fmla="*/ 11113 w 19"/>
                <a:gd name="T5" fmla="*/ 0 h 12"/>
                <a:gd name="T6" fmla="*/ 3175 w 19"/>
                <a:gd name="T7" fmla="*/ 4763 h 12"/>
                <a:gd name="T8" fmla="*/ 0 w 19"/>
                <a:gd name="T9" fmla="*/ 4763 h 12"/>
                <a:gd name="T10" fmla="*/ 0 w 19"/>
                <a:gd name="T11" fmla="*/ 7938 h 12"/>
                <a:gd name="T12" fmla="*/ 0 w 19"/>
                <a:gd name="T13" fmla="*/ 7938 h 12"/>
                <a:gd name="T14" fmla="*/ 0 w 19"/>
                <a:gd name="T15" fmla="*/ 11113 h 12"/>
                <a:gd name="T16" fmla="*/ 0 w 19"/>
                <a:gd name="T17" fmla="*/ 15875 h 12"/>
                <a:gd name="T18" fmla="*/ 0 w 19"/>
                <a:gd name="T19" fmla="*/ 19050 h 12"/>
                <a:gd name="T20" fmla="*/ 3175 w 19"/>
                <a:gd name="T21" fmla="*/ 19050 h 12"/>
                <a:gd name="T22" fmla="*/ 3175 w 19"/>
                <a:gd name="T23" fmla="*/ 19050 h 12"/>
                <a:gd name="T24" fmla="*/ 3175 w 19"/>
                <a:gd name="T25" fmla="*/ 19050 h 12"/>
                <a:gd name="T26" fmla="*/ 7938 w 19"/>
                <a:gd name="T27" fmla="*/ 19050 h 12"/>
                <a:gd name="T28" fmla="*/ 11113 w 19"/>
                <a:gd name="T29" fmla="*/ 19050 h 12"/>
                <a:gd name="T30" fmla="*/ 11113 w 19"/>
                <a:gd name="T31" fmla="*/ 19050 h 12"/>
                <a:gd name="T32" fmla="*/ 19050 w 19"/>
                <a:gd name="T33" fmla="*/ 15875 h 12"/>
                <a:gd name="T34" fmla="*/ 22225 w 19"/>
                <a:gd name="T35" fmla="*/ 11113 h 12"/>
                <a:gd name="T36" fmla="*/ 26988 w 19"/>
                <a:gd name="T37" fmla="*/ 7938 h 12"/>
                <a:gd name="T38" fmla="*/ 30163 w 19"/>
                <a:gd name="T39" fmla="*/ 7938 h 12"/>
                <a:gd name="T40" fmla="*/ 30163 w 19"/>
                <a:gd name="T41" fmla="*/ 4763 h 12"/>
                <a:gd name="T42" fmla="*/ 30163 w 19"/>
                <a:gd name="T43" fmla="*/ 4763 h 12"/>
                <a:gd name="T44" fmla="*/ 30163 w 19"/>
                <a:gd name="T45" fmla="*/ 0 h 12"/>
                <a:gd name="T46" fmla="*/ 30163 w 19"/>
                <a:gd name="T47" fmla="*/ 0 h 12"/>
                <a:gd name="T48" fmla="*/ 26988 w 19"/>
                <a:gd name="T49" fmla="*/ 0 h 12"/>
                <a:gd name="T50" fmla="*/ 22225 w 19"/>
                <a:gd name="T51" fmla="*/ 0 h 12"/>
                <a:gd name="T52" fmla="*/ 19050 w 19"/>
                <a:gd name="T53" fmla="*/ 0 h 12"/>
                <a:gd name="T54" fmla="*/ 19050 w 19"/>
                <a:gd name="T55" fmla="*/ 0 h 12"/>
                <a:gd name="T56" fmla="*/ 19050 w 19"/>
                <a:gd name="T57" fmla="*/ 0 h 12"/>
                <a:gd name="T58" fmla="*/ 19050 w 19"/>
                <a:gd name="T59" fmla="*/ 0 h 1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"/>
                <a:gd name="T91" fmla="*/ 0 h 12"/>
                <a:gd name="T92" fmla="*/ 19 w 19"/>
                <a:gd name="T93" fmla="*/ 12 h 1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" h="12">
                  <a:moveTo>
                    <a:pt x="12" y="0"/>
                  </a:moveTo>
                  <a:lnTo>
                    <a:pt x="9" y="0"/>
                  </a:lnTo>
                  <a:lnTo>
                    <a:pt x="7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7" y="12"/>
                  </a:lnTo>
                  <a:lnTo>
                    <a:pt x="12" y="10"/>
                  </a:lnTo>
                  <a:lnTo>
                    <a:pt x="14" y="7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72" name="Freeform 1918"/>
            <p:cNvSpPr>
              <a:spLocks/>
            </p:cNvSpPr>
            <p:nvPr/>
          </p:nvSpPr>
          <p:spPr bwMode="gray">
            <a:xfrm>
              <a:off x="4432309" y="3441133"/>
              <a:ext cx="284984" cy="332482"/>
            </a:xfrm>
            <a:custGeom>
              <a:avLst/>
              <a:gdLst>
                <a:gd name="T0" fmla="*/ 26988 w 24"/>
                <a:gd name="T1" fmla="*/ 0 h 28"/>
                <a:gd name="T2" fmla="*/ 19050 w 24"/>
                <a:gd name="T3" fmla="*/ 11113 h 28"/>
                <a:gd name="T4" fmla="*/ 19050 w 24"/>
                <a:gd name="T5" fmla="*/ 11113 h 28"/>
                <a:gd name="T6" fmla="*/ 19050 w 24"/>
                <a:gd name="T7" fmla="*/ 11113 h 28"/>
                <a:gd name="T8" fmla="*/ 19050 w 24"/>
                <a:gd name="T9" fmla="*/ 11113 h 28"/>
                <a:gd name="T10" fmla="*/ 22225 w 24"/>
                <a:gd name="T11" fmla="*/ 11113 h 28"/>
                <a:gd name="T12" fmla="*/ 19050 w 24"/>
                <a:gd name="T13" fmla="*/ 15875 h 28"/>
                <a:gd name="T14" fmla="*/ 22225 w 24"/>
                <a:gd name="T15" fmla="*/ 19050 h 28"/>
                <a:gd name="T16" fmla="*/ 11113 w 24"/>
                <a:gd name="T17" fmla="*/ 11113 h 28"/>
                <a:gd name="T18" fmla="*/ 4763 w 24"/>
                <a:gd name="T19" fmla="*/ 15875 h 28"/>
                <a:gd name="T20" fmla="*/ 0 w 24"/>
                <a:gd name="T21" fmla="*/ 22225 h 28"/>
                <a:gd name="T22" fmla="*/ 0 w 24"/>
                <a:gd name="T23" fmla="*/ 26988 h 28"/>
                <a:gd name="T24" fmla="*/ 4763 w 24"/>
                <a:gd name="T25" fmla="*/ 30163 h 28"/>
                <a:gd name="T26" fmla="*/ 4763 w 24"/>
                <a:gd name="T27" fmla="*/ 30163 h 28"/>
                <a:gd name="T28" fmla="*/ 7938 w 24"/>
                <a:gd name="T29" fmla="*/ 33338 h 28"/>
                <a:gd name="T30" fmla="*/ 7938 w 24"/>
                <a:gd name="T31" fmla="*/ 41275 h 28"/>
                <a:gd name="T32" fmla="*/ 11113 w 24"/>
                <a:gd name="T33" fmla="*/ 41275 h 28"/>
                <a:gd name="T34" fmla="*/ 11113 w 24"/>
                <a:gd name="T35" fmla="*/ 41275 h 28"/>
                <a:gd name="T36" fmla="*/ 11113 w 24"/>
                <a:gd name="T37" fmla="*/ 41275 h 28"/>
                <a:gd name="T38" fmla="*/ 11113 w 24"/>
                <a:gd name="T39" fmla="*/ 41275 h 28"/>
                <a:gd name="T40" fmla="*/ 15875 w 24"/>
                <a:gd name="T41" fmla="*/ 41275 h 28"/>
                <a:gd name="T42" fmla="*/ 19050 w 24"/>
                <a:gd name="T43" fmla="*/ 41275 h 28"/>
                <a:gd name="T44" fmla="*/ 22225 w 24"/>
                <a:gd name="T45" fmla="*/ 41275 h 28"/>
                <a:gd name="T46" fmla="*/ 19050 w 24"/>
                <a:gd name="T47" fmla="*/ 41275 h 28"/>
                <a:gd name="T48" fmla="*/ 19050 w 24"/>
                <a:gd name="T49" fmla="*/ 44450 h 28"/>
                <a:gd name="T50" fmla="*/ 15875 w 24"/>
                <a:gd name="T51" fmla="*/ 44450 h 28"/>
                <a:gd name="T52" fmla="*/ 15875 w 24"/>
                <a:gd name="T53" fmla="*/ 44450 h 28"/>
                <a:gd name="T54" fmla="*/ 19050 w 24"/>
                <a:gd name="T55" fmla="*/ 44450 h 28"/>
                <a:gd name="T56" fmla="*/ 22225 w 24"/>
                <a:gd name="T57" fmla="*/ 44450 h 28"/>
                <a:gd name="T58" fmla="*/ 26988 w 24"/>
                <a:gd name="T59" fmla="*/ 44450 h 28"/>
                <a:gd name="T60" fmla="*/ 26988 w 24"/>
                <a:gd name="T61" fmla="*/ 41275 h 28"/>
                <a:gd name="T62" fmla="*/ 26988 w 24"/>
                <a:gd name="T63" fmla="*/ 41275 h 28"/>
                <a:gd name="T64" fmla="*/ 26988 w 24"/>
                <a:gd name="T65" fmla="*/ 41275 h 28"/>
                <a:gd name="T66" fmla="*/ 26988 w 24"/>
                <a:gd name="T67" fmla="*/ 41275 h 28"/>
                <a:gd name="T68" fmla="*/ 26988 w 24"/>
                <a:gd name="T69" fmla="*/ 41275 h 28"/>
                <a:gd name="T70" fmla="*/ 38100 w 24"/>
                <a:gd name="T71" fmla="*/ 38100 h 28"/>
                <a:gd name="T72" fmla="*/ 38100 w 24"/>
                <a:gd name="T73" fmla="*/ 33338 h 28"/>
                <a:gd name="T74" fmla="*/ 38100 w 24"/>
                <a:gd name="T75" fmla="*/ 22225 h 28"/>
                <a:gd name="T76" fmla="*/ 38100 w 24"/>
                <a:gd name="T77" fmla="*/ 11113 h 28"/>
                <a:gd name="T78" fmla="*/ 38100 w 24"/>
                <a:gd name="T79" fmla="*/ 0 h 28"/>
                <a:gd name="T80" fmla="*/ 30163 w 24"/>
                <a:gd name="T81" fmla="*/ 0 h 28"/>
                <a:gd name="T82" fmla="*/ 26988 w 24"/>
                <a:gd name="T83" fmla="*/ 0 h 28"/>
                <a:gd name="T84" fmla="*/ 26988 w 24"/>
                <a:gd name="T85" fmla="*/ 0 h 28"/>
                <a:gd name="T86" fmla="*/ 26988 w 24"/>
                <a:gd name="T87" fmla="*/ 0 h 28"/>
                <a:gd name="T88" fmla="*/ 26988 w 24"/>
                <a:gd name="T89" fmla="*/ 0 h 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4"/>
                <a:gd name="T136" fmla="*/ 0 h 28"/>
                <a:gd name="T137" fmla="*/ 24 w 24"/>
                <a:gd name="T138" fmla="*/ 28 h 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4" h="28">
                  <a:moveTo>
                    <a:pt x="17" y="0"/>
                  </a:moveTo>
                  <a:lnTo>
                    <a:pt x="12" y="7"/>
                  </a:lnTo>
                  <a:lnTo>
                    <a:pt x="14" y="7"/>
                  </a:lnTo>
                  <a:lnTo>
                    <a:pt x="12" y="10"/>
                  </a:lnTo>
                  <a:lnTo>
                    <a:pt x="14" y="12"/>
                  </a:lnTo>
                  <a:lnTo>
                    <a:pt x="7" y="7"/>
                  </a:lnTo>
                  <a:lnTo>
                    <a:pt x="3" y="10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3" y="19"/>
                  </a:lnTo>
                  <a:lnTo>
                    <a:pt x="5" y="21"/>
                  </a:lnTo>
                  <a:lnTo>
                    <a:pt x="5" y="26"/>
                  </a:lnTo>
                  <a:lnTo>
                    <a:pt x="7" y="26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7" y="28"/>
                  </a:lnTo>
                  <a:lnTo>
                    <a:pt x="17" y="26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4" y="14"/>
                  </a:lnTo>
                  <a:lnTo>
                    <a:pt x="24" y="7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73" name="Freeform 1919"/>
            <p:cNvSpPr>
              <a:spLocks/>
            </p:cNvSpPr>
            <p:nvPr/>
          </p:nvSpPr>
          <p:spPr bwMode="gray">
            <a:xfrm>
              <a:off x="4657917" y="4877927"/>
              <a:ext cx="706520" cy="700591"/>
            </a:xfrm>
            <a:custGeom>
              <a:avLst/>
              <a:gdLst/>
              <a:ahLst/>
              <a:cxnLst/>
              <a:rect l="l" t="t" r="r" b="b"/>
              <a:pathLst>
                <a:path w="94456" h="93663">
                  <a:moveTo>
                    <a:pt x="49213" y="0"/>
                  </a:moveTo>
                  <a:lnTo>
                    <a:pt x="60325" y="6350"/>
                  </a:lnTo>
                  <a:lnTo>
                    <a:pt x="68263" y="11113"/>
                  </a:lnTo>
                  <a:lnTo>
                    <a:pt x="71438" y="11113"/>
                  </a:lnTo>
                  <a:lnTo>
                    <a:pt x="82551" y="14288"/>
                  </a:lnTo>
                  <a:lnTo>
                    <a:pt x="85726" y="14288"/>
                  </a:lnTo>
                  <a:lnTo>
                    <a:pt x="85726" y="17463"/>
                  </a:lnTo>
                  <a:lnTo>
                    <a:pt x="90488" y="17463"/>
                  </a:lnTo>
                  <a:lnTo>
                    <a:pt x="93663" y="17463"/>
                  </a:lnTo>
                  <a:lnTo>
                    <a:pt x="94456" y="17463"/>
                  </a:lnTo>
                  <a:lnTo>
                    <a:pt x="94456" y="85726"/>
                  </a:lnTo>
                  <a:lnTo>
                    <a:pt x="93663" y="85726"/>
                  </a:lnTo>
                  <a:lnTo>
                    <a:pt x="90488" y="85726"/>
                  </a:lnTo>
                  <a:lnTo>
                    <a:pt x="85726" y="85726"/>
                  </a:lnTo>
                  <a:lnTo>
                    <a:pt x="82551" y="82551"/>
                  </a:lnTo>
                  <a:lnTo>
                    <a:pt x="82551" y="77788"/>
                  </a:lnTo>
                  <a:lnTo>
                    <a:pt x="79376" y="77788"/>
                  </a:lnTo>
                  <a:lnTo>
                    <a:pt x="74613" y="77788"/>
                  </a:lnTo>
                  <a:lnTo>
                    <a:pt x="71438" y="77788"/>
                  </a:lnTo>
                  <a:lnTo>
                    <a:pt x="68263" y="77788"/>
                  </a:lnTo>
                  <a:lnTo>
                    <a:pt x="63500" y="82551"/>
                  </a:lnTo>
                  <a:lnTo>
                    <a:pt x="60325" y="85726"/>
                  </a:lnTo>
                  <a:lnTo>
                    <a:pt x="57150" y="93663"/>
                  </a:lnTo>
                  <a:lnTo>
                    <a:pt x="52388" y="93663"/>
                  </a:lnTo>
                  <a:lnTo>
                    <a:pt x="49213" y="93663"/>
                  </a:lnTo>
                  <a:lnTo>
                    <a:pt x="44450" y="93663"/>
                  </a:lnTo>
                  <a:lnTo>
                    <a:pt x="41275" y="85726"/>
                  </a:lnTo>
                  <a:lnTo>
                    <a:pt x="38100" y="85726"/>
                  </a:lnTo>
                  <a:lnTo>
                    <a:pt x="30163" y="77788"/>
                  </a:lnTo>
                  <a:lnTo>
                    <a:pt x="26988" y="74613"/>
                  </a:lnTo>
                  <a:lnTo>
                    <a:pt x="22225" y="74613"/>
                  </a:lnTo>
                  <a:lnTo>
                    <a:pt x="19050" y="74613"/>
                  </a:lnTo>
                  <a:lnTo>
                    <a:pt x="19050" y="69850"/>
                  </a:lnTo>
                  <a:lnTo>
                    <a:pt x="15875" y="69850"/>
                  </a:lnTo>
                  <a:lnTo>
                    <a:pt x="15875" y="66675"/>
                  </a:lnTo>
                  <a:lnTo>
                    <a:pt x="15875" y="63500"/>
                  </a:lnTo>
                  <a:lnTo>
                    <a:pt x="15875" y="58738"/>
                  </a:lnTo>
                  <a:lnTo>
                    <a:pt x="15875" y="55563"/>
                  </a:lnTo>
                  <a:lnTo>
                    <a:pt x="11113" y="52388"/>
                  </a:lnTo>
                  <a:lnTo>
                    <a:pt x="7938" y="47625"/>
                  </a:lnTo>
                  <a:lnTo>
                    <a:pt x="4763" y="44450"/>
                  </a:lnTo>
                  <a:lnTo>
                    <a:pt x="4763" y="41275"/>
                  </a:lnTo>
                  <a:lnTo>
                    <a:pt x="0" y="36513"/>
                  </a:lnTo>
                  <a:lnTo>
                    <a:pt x="0" y="33338"/>
                  </a:lnTo>
                  <a:lnTo>
                    <a:pt x="0" y="30163"/>
                  </a:lnTo>
                  <a:lnTo>
                    <a:pt x="4763" y="30163"/>
                  </a:lnTo>
                  <a:lnTo>
                    <a:pt x="7938" y="25400"/>
                  </a:lnTo>
                  <a:lnTo>
                    <a:pt x="11113" y="25400"/>
                  </a:lnTo>
                  <a:lnTo>
                    <a:pt x="15875" y="25400"/>
                  </a:lnTo>
                  <a:lnTo>
                    <a:pt x="15875" y="22225"/>
                  </a:lnTo>
                  <a:lnTo>
                    <a:pt x="19050" y="22225"/>
                  </a:lnTo>
                  <a:lnTo>
                    <a:pt x="19050" y="17463"/>
                  </a:lnTo>
                  <a:lnTo>
                    <a:pt x="22225" y="17463"/>
                  </a:lnTo>
                  <a:lnTo>
                    <a:pt x="22225" y="14288"/>
                  </a:lnTo>
                  <a:lnTo>
                    <a:pt x="26988" y="14288"/>
                  </a:lnTo>
                  <a:lnTo>
                    <a:pt x="33338" y="11113"/>
                  </a:lnTo>
                  <a:lnTo>
                    <a:pt x="44450" y="3175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74" name="Freeform 2041"/>
            <p:cNvSpPr>
              <a:spLocks/>
            </p:cNvSpPr>
            <p:nvPr/>
          </p:nvSpPr>
          <p:spPr bwMode="gray">
            <a:xfrm>
              <a:off x="2781782" y="4842309"/>
              <a:ext cx="759957" cy="474974"/>
            </a:xfrm>
            <a:custGeom>
              <a:avLst/>
              <a:gdLst>
                <a:gd name="T0" fmla="*/ 7938 w 64"/>
                <a:gd name="T1" fmla="*/ 11113 h 40"/>
                <a:gd name="T2" fmla="*/ 7938 w 64"/>
                <a:gd name="T3" fmla="*/ 11113 h 40"/>
                <a:gd name="T4" fmla="*/ 11113 w 64"/>
                <a:gd name="T5" fmla="*/ 11113 h 40"/>
                <a:gd name="T6" fmla="*/ 11113 w 64"/>
                <a:gd name="T7" fmla="*/ 15875 h 40"/>
                <a:gd name="T8" fmla="*/ 14288 w 64"/>
                <a:gd name="T9" fmla="*/ 26988 h 40"/>
                <a:gd name="T10" fmla="*/ 19050 w 64"/>
                <a:gd name="T11" fmla="*/ 26988 h 40"/>
                <a:gd name="T12" fmla="*/ 25400 w 64"/>
                <a:gd name="T13" fmla="*/ 34925 h 40"/>
                <a:gd name="T14" fmla="*/ 30163 w 64"/>
                <a:gd name="T15" fmla="*/ 38100 h 40"/>
                <a:gd name="T16" fmla="*/ 33338 w 64"/>
                <a:gd name="T17" fmla="*/ 38100 h 40"/>
                <a:gd name="T18" fmla="*/ 38100 w 64"/>
                <a:gd name="T19" fmla="*/ 34925 h 40"/>
                <a:gd name="T20" fmla="*/ 38100 w 64"/>
                <a:gd name="T21" fmla="*/ 38100 h 40"/>
                <a:gd name="T22" fmla="*/ 38100 w 64"/>
                <a:gd name="T23" fmla="*/ 41275 h 40"/>
                <a:gd name="T24" fmla="*/ 41275 w 64"/>
                <a:gd name="T25" fmla="*/ 46038 h 40"/>
                <a:gd name="T26" fmla="*/ 49213 w 64"/>
                <a:gd name="T27" fmla="*/ 49213 h 40"/>
                <a:gd name="T28" fmla="*/ 55563 w 64"/>
                <a:gd name="T29" fmla="*/ 52388 h 40"/>
                <a:gd name="T30" fmla="*/ 60325 w 64"/>
                <a:gd name="T31" fmla="*/ 52388 h 40"/>
                <a:gd name="T32" fmla="*/ 63500 w 64"/>
                <a:gd name="T33" fmla="*/ 49213 h 40"/>
                <a:gd name="T34" fmla="*/ 66675 w 64"/>
                <a:gd name="T35" fmla="*/ 49213 h 40"/>
                <a:gd name="T36" fmla="*/ 66675 w 64"/>
                <a:gd name="T37" fmla="*/ 52388 h 40"/>
                <a:gd name="T38" fmla="*/ 66675 w 64"/>
                <a:gd name="T39" fmla="*/ 60325 h 40"/>
                <a:gd name="T40" fmla="*/ 66675 w 64"/>
                <a:gd name="T41" fmla="*/ 63500 h 40"/>
                <a:gd name="T42" fmla="*/ 71438 w 64"/>
                <a:gd name="T43" fmla="*/ 63500 h 40"/>
                <a:gd name="T44" fmla="*/ 77788 w 64"/>
                <a:gd name="T45" fmla="*/ 63500 h 40"/>
                <a:gd name="T46" fmla="*/ 90488 w 64"/>
                <a:gd name="T47" fmla="*/ 60325 h 40"/>
                <a:gd name="T48" fmla="*/ 93663 w 64"/>
                <a:gd name="T49" fmla="*/ 52388 h 40"/>
                <a:gd name="T50" fmla="*/ 90488 w 64"/>
                <a:gd name="T51" fmla="*/ 49213 h 40"/>
                <a:gd name="T52" fmla="*/ 93663 w 64"/>
                <a:gd name="T53" fmla="*/ 46038 h 40"/>
                <a:gd name="T54" fmla="*/ 96838 w 64"/>
                <a:gd name="T55" fmla="*/ 46038 h 40"/>
                <a:gd name="T56" fmla="*/ 101600 w 64"/>
                <a:gd name="T57" fmla="*/ 38100 h 40"/>
                <a:gd name="T58" fmla="*/ 96838 w 64"/>
                <a:gd name="T59" fmla="*/ 30163 h 40"/>
                <a:gd name="T60" fmla="*/ 96838 w 64"/>
                <a:gd name="T61" fmla="*/ 30163 h 40"/>
                <a:gd name="T62" fmla="*/ 93663 w 64"/>
                <a:gd name="T63" fmla="*/ 26988 h 40"/>
                <a:gd name="T64" fmla="*/ 93663 w 64"/>
                <a:gd name="T65" fmla="*/ 26988 h 40"/>
                <a:gd name="T66" fmla="*/ 93663 w 64"/>
                <a:gd name="T67" fmla="*/ 22225 h 40"/>
                <a:gd name="T68" fmla="*/ 96838 w 64"/>
                <a:gd name="T69" fmla="*/ 22225 h 40"/>
                <a:gd name="T70" fmla="*/ 96838 w 64"/>
                <a:gd name="T71" fmla="*/ 22225 h 40"/>
                <a:gd name="T72" fmla="*/ 96838 w 64"/>
                <a:gd name="T73" fmla="*/ 19050 h 40"/>
                <a:gd name="T74" fmla="*/ 93663 w 64"/>
                <a:gd name="T75" fmla="*/ 19050 h 40"/>
                <a:gd name="T76" fmla="*/ 85725 w 64"/>
                <a:gd name="T77" fmla="*/ 15875 h 40"/>
                <a:gd name="T78" fmla="*/ 82550 w 64"/>
                <a:gd name="T79" fmla="*/ 15875 h 40"/>
                <a:gd name="T80" fmla="*/ 77788 w 64"/>
                <a:gd name="T81" fmla="*/ 11113 h 40"/>
                <a:gd name="T82" fmla="*/ 74613 w 64"/>
                <a:gd name="T83" fmla="*/ 11113 h 40"/>
                <a:gd name="T84" fmla="*/ 74613 w 64"/>
                <a:gd name="T85" fmla="*/ 7938 h 40"/>
                <a:gd name="T86" fmla="*/ 74613 w 64"/>
                <a:gd name="T87" fmla="*/ 4763 h 40"/>
                <a:gd name="T88" fmla="*/ 66675 w 64"/>
                <a:gd name="T89" fmla="*/ 7938 h 40"/>
                <a:gd name="T90" fmla="*/ 63500 w 64"/>
                <a:gd name="T91" fmla="*/ 7938 h 40"/>
                <a:gd name="T92" fmla="*/ 60325 w 64"/>
                <a:gd name="T93" fmla="*/ 7938 h 40"/>
                <a:gd name="T94" fmla="*/ 55563 w 64"/>
                <a:gd name="T95" fmla="*/ 11113 h 40"/>
                <a:gd name="T96" fmla="*/ 52388 w 64"/>
                <a:gd name="T97" fmla="*/ 11113 h 40"/>
                <a:gd name="T98" fmla="*/ 44450 w 64"/>
                <a:gd name="T99" fmla="*/ 11113 h 40"/>
                <a:gd name="T100" fmla="*/ 38100 w 64"/>
                <a:gd name="T101" fmla="*/ 7938 h 40"/>
                <a:gd name="T102" fmla="*/ 33338 w 64"/>
                <a:gd name="T103" fmla="*/ 0 h 40"/>
                <a:gd name="T104" fmla="*/ 22225 w 64"/>
                <a:gd name="T105" fmla="*/ 0 h 40"/>
                <a:gd name="T106" fmla="*/ 7938 w 64"/>
                <a:gd name="T107" fmla="*/ 4763 h 40"/>
                <a:gd name="T108" fmla="*/ 0 w 64"/>
                <a:gd name="T109" fmla="*/ 7938 h 40"/>
                <a:gd name="T110" fmla="*/ 0 w 64"/>
                <a:gd name="T111" fmla="*/ 7938 h 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4"/>
                <a:gd name="T169" fmla="*/ 0 h 40"/>
                <a:gd name="T170" fmla="*/ 64 w 64"/>
                <a:gd name="T171" fmla="*/ 40 h 4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4" h="40">
                  <a:moveTo>
                    <a:pt x="0" y="5"/>
                  </a:moveTo>
                  <a:lnTo>
                    <a:pt x="5" y="7"/>
                  </a:lnTo>
                  <a:lnTo>
                    <a:pt x="7" y="7"/>
                  </a:lnTo>
                  <a:lnTo>
                    <a:pt x="7" y="10"/>
                  </a:lnTo>
                  <a:lnTo>
                    <a:pt x="9" y="14"/>
                  </a:lnTo>
                  <a:lnTo>
                    <a:pt x="9" y="17"/>
                  </a:lnTo>
                  <a:lnTo>
                    <a:pt x="12" y="17"/>
                  </a:lnTo>
                  <a:lnTo>
                    <a:pt x="14" y="19"/>
                  </a:lnTo>
                  <a:lnTo>
                    <a:pt x="16" y="22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24" y="24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4" y="26"/>
                  </a:lnTo>
                  <a:lnTo>
                    <a:pt x="26" y="26"/>
                  </a:lnTo>
                  <a:lnTo>
                    <a:pt x="26" y="29"/>
                  </a:lnTo>
                  <a:lnTo>
                    <a:pt x="28" y="31"/>
                  </a:lnTo>
                  <a:lnTo>
                    <a:pt x="31" y="31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8" y="33"/>
                  </a:lnTo>
                  <a:lnTo>
                    <a:pt x="40" y="31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5" y="40"/>
                  </a:lnTo>
                  <a:lnTo>
                    <a:pt x="49" y="40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9" y="33"/>
                  </a:lnTo>
                  <a:lnTo>
                    <a:pt x="57" y="31"/>
                  </a:lnTo>
                  <a:lnTo>
                    <a:pt x="59" y="31"/>
                  </a:lnTo>
                  <a:lnTo>
                    <a:pt x="59" y="29"/>
                  </a:lnTo>
                  <a:lnTo>
                    <a:pt x="61" y="29"/>
                  </a:lnTo>
                  <a:lnTo>
                    <a:pt x="64" y="24"/>
                  </a:lnTo>
                  <a:lnTo>
                    <a:pt x="61" y="22"/>
                  </a:lnTo>
                  <a:lnTo>
                    <a:pt x="61" y="19"/>
                  </a:lnTo>
                  <a:lnTo>
                    <a:pt x="59" y="19"/>
                  </a:lnTo>
                  <a:lnTo>
                    <a:pt x="59" y="17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1" y="12"/>
                  </a:lnTo>
                  <a:lnTo>
                    <a:pt x="59" y="12"/>
                  </a:lnTo>
                  <a:lnTo>
                    <a:pt x="57" y="12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49" y="7"/>
                  </a:lnTo>
                  <a:lnTo>
                    <a:pt x="47" y="7"/>
                  </a:lnTo>
                  <a:lnTo>
                    <a:pt x="47" y="5"/>
                  </a:lnTo>
                  <a:lnTo>
                    <a:pt x="47" y="3"/>
                  </a:lnTo>
                  <a:lnTo>
                    <a:pt x="45" y="3"/>
                  </a:lnTo>
                  <a:lnTo>
                    <a:pt x="42" y="5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5"/>
                  </a:lnTo>
                  <a:lnTo>
                    <a:pt x="21" y="3"/>
                  </a:lnTo>
                  <a:lnTo>
                    <a:pt x="21" y="0"/>
                  </a:lnTo>
                  <a:lnTo>
                    <a:pt x="14" y="0"/>
                  </a:lnTo>
                  <a:lnTo>
                    <a:pt x="9" y="0"/>
                  </a:lnTo>
                  <a:lnTo>
                    <a:pt x="5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  <p:sp>
          <p:nvSpPr>
            <p:cNvPr id="75" name="Freeform 2047"/>
            <p:cNvSpPr>
              <a:spLocks/>
            </p:cNvSpPr>
            <p:nvPr/>
          </p:nvSpPr>
          <p:spPr bwMode="gray">
            <a:xfrm>
              <a:off x="4266061" y="5459775"/>
              <a:ext cx="1098377" cy="522472"/>
            </a:xfrm>
            <a:custGeom>
              <a:avLst/>
              <a:gdLst/>
              <a:ahLst/>
              <a:cxnLst/>
              <a:rect l="l" t="t" r="r" b="b"/>
              <a:pathLst>
                <a:path w="146844" h="69850">
                  <a:moveTo>
                    <a:pt x="120651" y="0"/>
                  </a:moveTo>
                  <a:lnTo>
                    <a:pt x="123826" y="0"/>
                  </a:lnTo>
                  <a:lnTo>
                    <a:pt x="127001" y="0"/>
                  </a:lnTo>
                  <a:lnTo>
                    <a:pt x="131763" y="0"/>
                  </a:lnTo>
                  <a:lnTo>
                    <a:pt x="134938" y="4763"/>
                  </a:lnTo>
                  <a:lnTo>
                    <a:pt x="138113" y="7938"/>
                  </a:lnTo>
                  <a:lnTo>
                    <a:pt x="142876" y="7938"/>
                  </a:lnTo>
                  <a:lnTo>
                    <a:pt x="146051" y="7938"/>
                  </a:lnTo>
                  <a:lnTo>
                    <a:pt x="146051" y="11113"/>
                  </a:lnTo>
                  <a:lnTo>
                    <a:pt x="146844" y="11113"/>
                  </a:lnTo>
                  <a:lnTo>
                    <a:pt x="146844" y="69850"/>
                  </a:lnTo>
                  <a:lnTo>
                    <a:pt x="0" y="69850"/>
                  </a:lnTo>
                  <a:lnTo>
                    <a:pt x="0" y="68263"/>
                  </a:lnTo>
                  <a:lnTo>
                    <a:pt x="3175" y="63500"/>
                  </a:lnTo>
                  <a:lnTo>
                    <a:pt x="7938" y="60325"/>
                  </a:lnTo>
                  <a:lnTo>
                    <a:pt x="11113" y="57150"/>
                  </a:lnTo>
                  <a:lnTo>
                    <a:pt x="19050" y="57150"/>
                  </a:lnTo>
                  <a:lnTo>
                    <a:pt x="26988" y="57150"/>
                  </a:lnTo>
                  <a:lnTo>
                    <a:pt x="26988" y="52388"/>
                  </a:lnTo>
                  <a:lnTo>
                    <a:pt x="30163" y="52388"/>
                  </a:lnTo>
                  <a:lnTo>
                    <a:pt x="33338" y="49213"/>
                  </a:lnTo>
                  <a:lnTo>
                    <a:pt x="44450" y="49213"/>
                  </a:lnTo>
                  <a:lnTo>
                    <a:pt x="52388" y="49213"/>
                  </a:lnTo>
                  <a:lnTo>
                    <a:pt x="57150" y="49213"/>
                  </a:lnTo>
                  <a:lnTo>
                    <a:pt x="60325" y="52388"/>
                  </a:lnTo>
                  <a:lnTo>
                    <a:pt x="63500" y="57150"/>
                  </a:lnTo>
                  <a:lnTo>
                    <a:pt x="68263" y="57150"/>
                  </a:lnTo>
                  <a:lnTo>
                    <a:pt x="71438" y="52388"/>
                  </a:lnTo>
                  <a:lnTo>
                    <a:pt x="71438" y="49213"/>
                  </a:lnTo>
                  <a:lnTo>
                    <a:pt x="71438" y="46038"/>
                  </a:lnTo>
                  <a:lnTo>
                    <a:pt x="68263" y="41275"/>
                  </a:lnTo>
                  <a:lnTo>
                    <a:pt x="68263" y="38100"/>
                  </a:lnTo>
                  <a:lnTo>
                    <a:pt x="63500" y="38100"/>
                  </a:lnTo>
                  <a:lnTo>
                    <a:pt x="60325" y="38100"/>
                  </a:lnTo>
                  <a:lnTo>
                    <a:pt x="63500" y="33338"/>
                  </a:lnTo>
                  <a:lnTo>
                    <a:pt x="68263" y="30163"/>
                  </a:lnTo>
                  <a:lnTo>
                    <a:pt x="71438" y="30163"/>
                  </a:lnTo>
                  <a:lnTo>
                    <a:pt x="74613" y="30163"/>
                  </a:lnTo>
                  <a:lnTo>
                    <a:pt x="79375" y="26988"/>
                  </a:lnTo>
                  <a:lnTo>
                    <a:pt x="79375" y="22225"/>
                  </a:lnTo>
                  <a:lnTo>
                    <a:pt x="79375" y="19050"/>
                  </a:lnTo>
                  <a:lnTo>
                    <a:pt x="82550" y="15875"/>
                  </a:lnTo>
                  <a:lnTo>
                    <a:pt x="82550" y="11113"/>
                  </a:lnTo>
                  <a:lnTo>
                    <a:pt x="85725" y="11113"/>
                  </a:lnTo>
                  <a:lnTo>
                    <a:pt x="90488" y="7938"/>
                  </a:lnTo>
                  <a:lnTo>
                    <a:pt x="93663" y="11113"/>
                  </a:lnTo>
                  <a:lnTo>
                    <a:pt x="96838" y="15875"/>
                  </a:lnTo>
                  <a:lnTo>
                    <a:pt x="101601" y="15875"/>
                  </a:lnTo>
                  <a:lnTo>
                    <a:pt x="104776" y="15875"/>
                  </a:lnTo>
                  <a:lnTo>
                    <a:pt x="109538" y="15875"/>
                  </a:lnTo>
                  <a:lnTo>
                    <a:pt x="112713" y="7938"/>
                  </a:lnTo>
                  <a:lnTo>
                    <a:pt x="115888" y="4763"/>
                  </a:lnTo>
                  <a:close/>
                </a:path>
              </a:pathLst>
            </a:custGeom>
            <a:grpFill/>
            <a:ln w="6350" cap="rnd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latin typeface="Arial" charset="0"/>
              </a:endParaRPr>
            </a:p>
          </p:txBody>
        </p:sp>
      </p:grpSp>
      <p:pic>
        <p:nvPicPr>
          <p:cNvPr id="76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127718" y="4830313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271336" y="4626500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6306972" y="3487635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6431893" y="3492604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6663401" y="3455751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4328919" y="3385622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4504818" y="5449333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6707053" y="3119383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4520054" y="3193100"/>
            <a:ext cx="190897" cy="147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6588501" y="3456655"/>
            <a:ext cx="190897" cy="147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6733019" y="3359129"/>
            <a:ext cx="190897" cy="147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9" name="TextBox 88"/>
          <p:cNvSpPr txBox="1"/>
          <p:nvPr/>
        </p:nvSpPr>
        <p:spPr bwMode="gray">
          <a:xfrm>
            <a:off x="3812290" y="2938472"/>
            <a:ext cx="549831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Walney Ext.</a:t>
            </a:r>
            <a:endParaRPr lang="en-GB" sz="800" dirty="0"/>
          </a:p>
        </p:txBody>
      </p:sp>
      <p:sp>
        <p:nvSpPr>
          <p:cNvPr id="90" name="TextBox 89"/>
          <p:cNvSpPr txBox="1"/>
          <p:nvPr/>
        </p:nvSpPr>
        <p:spPr bwMode="gray">
          <a:xfrm>
            <a:off x="4683747" y="2815659"/>
            <a:ext cx="604333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Walney 1 + 2</a:t>
            </a:r>
            <a:endParaRPr lang="en-GB" sz="800" dirty="0"/>
          </a:p>
        </p:txBody>
      </p:sp>
      <p:sp>
        <p:nvSpPr>
          <p:cNvPr id="91" name="TextBox 90"/>
          <p:cNvSpPr txBox="1"/>
          <p:nvPr/>
        </p:nvSpPr>
        <p:spPr bwMode="gray">
          <a:xfrm>
            <a:off x="5141148" y="3002410"/>
            <a:ext cx="57708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Westermost </a:t>
            </a:r>
            <a:br>
              <a:rPr lang="en-GB" sz="800" dirty="0" smtClean="0"/>
            </a:br>
            <a:r>
              <a:rPr lang="en-GB" sz="800" dirty="0" smtClean="0"/>
              <a:t>Rough</a:t>
            </a:r>
            <a:endParaRPr lang="en-GB" sz="800" dirty="0"/>
          </a:p>
        </p:txBody>
      </p:sp>
      <p:sp>
        <p:nvSpPr>
          <p:cNvPr id="92" name="TextBox 91"/>
          <p:cNvSpPr txBox="1"/>
          <p:nvPr/>
        </p:nvSpPr>
        <p:spPr bwMode="gray">
          <a:xfrm>
            <a:off x="3437528" y="3501716"/>
            <a:ext cx="504946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Isle of Man</a:t>
            </a:r>
            <a:endParaRPr lang="en-GB" sz="800" dirty="0"/>
          </a:p>
        </p:txBody>
      </p:sp>
      <p:sp>
        <p:nvSpPr>
          <p:cNvPr id="93" name="TextBox 92"/>
          <p:cNvSpPr txBox="1"/>
          <p:nvPr/>
        </p:nvSpPr>
        <p:spPr bwMode="gray">
          <a:xfrm>
            <a:off x="3435070" y="3183487"/>
            <a:ext cx="7927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 smtClean="0"/>
              <a:t>West of Duddon Sands</a:t>
            </a:r>
            <a:endParaRPr lang="en-GB" sz="800" dirty="0"/>
          </a:p>
        </p:txBody>
      </p:sp>
      <p:sp>
        <p:nvSpPr>
          <p:cNvPr id="94" name="TextBox 93"/>
          <p:cNvSpPr txBox="1"/>
          <p:nvPr/>
        </p:nvSpPr>
        <p:spPr bwMode="gray">
          <a:xfrm>
            <a:off x="3708368" y="3777820"/>
            <a:ext cx="325410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Barrow</a:t>
            </a:r>
            <a:endParaRPr lang="en-GB" sz="800" dirty="0"/>
          </a:p>
        </p:txBody>
      </p:sp>
      <p:sp>
        <p:nvSpPr>
          <p:cNvPr id="95" name="TextBox 94"/>
          <p:cNvSpPr txBox="1"/>
          <p:nvPr/>
        </p:nvSpPr>
        <p:spPr bwMode="gray">
          <a:xfrm>
            <a:off x="3610185" y="3974194"/>
            <a:ext cx="746999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Burbo Bank Ext.</a:t>
            </a:r>
            <a:endParaRPr lang="en-GB" sz="800" dirty="0"/>
          </a:p>
        </p:txBody>
      </p:sp>
      <p:sp>
        <p:nvSpPr>
          <p:cNvPr id="96" name="TextBox 95"/>
          <p:cNvSpPr txBox="1"/>
          <p:nvPr/>
        </p:nvSpPr>
        <p:spPr bwMode="gray">
          <a:xfrm>
            <a:off x="3916904" y="4118272"/>
            <a:ext cx="540212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Burbo Bank</a:t>
            </a:r>
            <a:endParaRPr lang="en-GB" sz="800" dirty="0"/>
          </a:p>
        </p:txBody>
      </p:sp>
      <p:sp>
        <p:nvSpPr>
          <p:cNvPr id="97" name="TextBox 96"/>
          <p:cNvSpPr txBox="1"/>
          <p:nvPr/>
        </p:nvSpPr>
        <p:spPr bwMode="gray">
          <a:xfrm>
            <a:off x="4479754" y="4282963"/>
            <a:ext cx="799899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Gunfleet Sands 3</a:t>
            </a:r>
            <a:endParaRPr lang="en-GB" sz="800" dirty="0"/>
          </a:p>
        </p:txBody>
      </p:sp>
      <p:sp>
        <p:nvSpPr>
          <p:cNvPr id="98" name="TextBox 97"/>
          <p:cNvSpPr txBox="1"/>
          <p:nvPr/>
        </p:nvSpPr>
        <p:spPr bwMode="gray">
          <a:xfrm>
            <a:off x="4781280" y="3875511"/>
            <a:ext cx="1008477" cy="1231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 smtClean="0"/>
              <a:t>Gunfleet Sands 1 + 2</a:t>
            </a:r>
            <a:endParaRPr lang="en-GB" sz="800" dirty="0"/>
          </a:p>
        </p:txBody>
      </p:sp>
      <p:sp>
        <p:nvSpPr>
          <p:cNvPr id="99" name="TextBox 98"/>
          <p:cNvSpPr txBox="1"/>
          <p:nvPr/>
        </p:nvSpPr>
        <p:spPr bwMode="gray">
          <a:xfrm>
            <a:off x="5136319" y="3612961"/>
            <a:ext cx="240450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Lincs</a:t>
            </a:r>
            <a:endParaRPr lang="en-GB" sz="800" dirty="0"/>
          </a:p>
        </p:txBody>
      </p:sp>
      <p:sp>
        <p:nvSpPr>
          <p:cNvPr id="100" name="TextBox 99"/>
          <p:cNvSpPr txBox="1"/>
          <p:nvPr/>
        </p:nvSpPr>
        <p:spPr bwMode="gray">
          <a:xfrm>
            <a:off x="4214000" y="4880739"/>
            <a:ext cx="929742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Courseulles-sur-Mer</a:t>
            </a:r>
            <a:endParaRPr lang="en-GB" sz="800" dirty="0"/>
          </a:p>
        </p:txBody>
      </p:sp>
      <p:sp>
        <p:nvSpPr>
          <p:cNvPr id="101" name="TextBox 100"/>
          <p:cNvSpPr txBox="1"/>
          <p:nvPr/>
        </p:nvSpPr>
        <p:spPr bwMode="gray">
          <a:xfrm>
            <a:off x="5414194" y="4836406"/>
            <a:ext cx="371897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Fécamp</a:t>
            </a:r>
            <a:endParaRPr lang="en-GB" sz="800" dirty="0"/>
          </a:p>
        </p:txBody>
      </p:sp>
      <p:sp>
        <p:nvSpPr>
          <p:cNvPr id="102" name="TextBox 101"/>
          <p:cNvSpPr txBox="1"/>
          <p:nvPr/>
        </p:nvSpPr>
        <p:spPr bwMode="gray">
          <a:xfrm>
            <a:off x="5538728" y="4493762"/>
            <a:ext cx="706925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London Array 1</a:t>
            </a:r>
            <a:endParaRPr lang="en-GB" sz="800" dirty="0"/>
          </a:p>
        </p:txBody>
      </p:sp>
      <p:sp>
        <p:nvSpPr>
          <p:cNvPr id="103" name="TextBox 102"/>
          <p:cNvSpPr txBox="1"/>
          <p:nvPr/>
        </p:nvSpPr>
        <p:spPr bwMode="gray">
          <a:xfrm>
            <a:off x="5755285" y="3463428"/>
            <a:ext cx="504946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Race Bank</a:t>
            </a:r>
            <a:endParaRPr lang="en-GB" sz="800" dirty="0"/>
          </a:p>
        </p:txBody>
      </p:sp>
      <p:sp>
        <p:nvSpPr>
          <p:cNvPr id="104" name="TextBox 103"/>
          <p:cNvSpPr txBox="1"/>
          <p:nvPr/>
        </p:nvSpPr>
        <p:spPr bwMode="gray">
          <a:xfrm>
            <a:off x="6027028" y="2837328"/>
            <a:ext cx="746999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Horns Rev 1 + 2</a:t>
            </a:r>
            <a:endParaRPr lang="en-GB" sz="800" dirty="0"/>
          </a:p>
        </p:txBody>
      </p:sp>
      <p:sp>
        <p:nvSpPr>
          <p:cNvPr id="105" name="TextBox 104"/>
          <p:cNvSpPr txBox="1"/>
          <p:nvPr/>
        </p:nvSpPr>
        <p:spPr bwMode="gray">
          <a:xfrm>
            <a:off x="5619811" y="3145767"/>
            <a:ext cx="476092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Hornsea 1</a:t>
            </a:r>
            <a:endParaRPr lang="en-GB" sz="800" dirty="0"/>
          </a:p>
        </p:txBody>
      </p:sp>
      <p:sp>
        <p:nvSpPr>
          <p:cNvPr id="106" name="TextBox 105"/>
          <p:cNvSpPr txBox="1"/>
          <p:nvPr/>
        </p:nvSpPr>
        <p:spPr bwMode="gray">
          <a:xfrm>
            <a:off x="7334701" y="2544365"/>
            <a:ext cx="293350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Anholt</a:t>
            </a:r>
            <a:endParaRPr lang="en-GB" sz="800" dirty="0"/>
          </a:p>
        </p:txBody>
      </p:sp>
      <p:sp>
        <p:nvSpPr>
          <p:cNvPr id="107" name="TextBox 106"/>
          <p:cNvSpPr txBox="1"/>
          <p:nvPr/>
        </p:nvSpPr>
        <p:spPr bwMode="gray">
          <a:xfrm>
            <a:off x="7563731" y="2730532"/>
            <a:ext cx="682879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Middelgrunden</a:t>
            </a:r>
            <a:endParaRPr lang="en-GB" sz="800" dirty="0"/>
          </a:p>
        </p:txBody>
      </p:sp>
      <p:sp>
        <p:nvSpPr>
          <p:cNvPr id="108" name="TextBox 107"/>
          <p:cNvSpPr txBox="1"/>
          <p:nvPr/>
        </p:nvSpPr>
        <p:spPr bwMode="gray">
          <a:xfrm>
            <a:off x="7450909" y="3119191"/>
            <a:ext cx="373500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Vindeby</a:t>
            </a:r>
            <a:endParaRPr lang="en-GB" sz="800" dirty="0"/>
          </a:p>
        </p:txBody>
      </p:sp>
      <p:sp>
        <p:nvSpPr>
          <p:cNvPr id="109" name="TextBox 108"/>
          <p:cNvSpPr txBox="1"/>
          <p:nvPr/>
        </p:nvSpPr>
        <p:spPr bwMode="gray">
          <a:xfrm>
            <a:off x="7623478" y="3397547"/>
            <a:ext cx="320601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Nysted</a:t>
            </a:r>
            <a:endParaRPr lang="en-GB" sz="800" dirty="0"/>
          </a:p>
        </p:txBody>
      </p:sp>
      <p:sp>
        <p:nvSpPr>
          <p:cNvPr id="110" name="TextBox 109"/>
          <p:cNvSpPr txBox="1"/>
          <p:nvPr/>
        </p:nvSpPr>
        <p:spPr bwMode="gray">
          <a:xfrm>
            <a:off x="6656819" y="4382747"/>
            <a:ext cx="1296829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Borkum Riffgrund West 1+ 2</a:t>
            </a:r>
            <a:endParaRPr lang="en-GB" sz="800" dirty="0"/>
          </a:p>
        </p:txBody>
      </p:sp>
      <p:sp>
        <p:nvSpPr>
          <p:cNvPr id="111" name="TextBox 110"/>
          <p:cNvSpPr txBox="1"/>
          <p:nvPr/>
        </p:nvSpPr>
        <p:spPr bwMode="gray">
          <a:xfrm>
            <a:off x="6654946" y="4227759"/>
            <a:ext cx="888064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Borkum Riffgrund 2</a:t>
            </a:r>
            <a:endParaRPr lang="en-GB" sz="800" dirty="0"/>
          </a:p>
        </p:txBody>
      </p:sp>
      <p:sp>
        <p:nvSpPr>
          <p:cNvPr id="112" name="TextBox 111"/>
          <p:cNvSpPr txBox="1"/>
          <p:nvPr/>
        </p:nvSpPr>
        <p:spPr bwMode="gray">
          <a:xfrm>
            <a:off x="6756955" y="4032633"/>
            <a:ext cx="888064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Borkum Riffgrund 1</a:t>
            </a:r>
            <a:endParaRPr lang="en-GB" sz="800" dirty="0"/>
          </a:p>
        </p:txBody>
      </p:sp>
      <p:sp>
        <p:nvSpPr>
          <p:cNvPr id="113" name="TextBox 112"/>
          <p:cNvSpPr txBox="1"/>
          <p:nvPr/>
        </p:nvSpPr>
        <p:spPr bwMode="gray">
          <a:xfrm>
            <a:off x="6895688" y="3863182"/>
            <a:ext cx="602729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Gode Wind 1</a:t>
            </a:r>
            <a:endParaRPr lang="en-GB" sz="800" dirty="0"/>
          </a:p>
        </p:txBody>
      </p:sp>
      <p:sp>
        <p:nvSpPr>
          <p:cNvPr id="114" name="TextBox 113"/>
          <p:cNvSpPr txBox="1"/>
          <p:nvPr/>
        </p:nvSpPr>
        <p:spPr bwMode="gray">
          <a:xfrm>
            <a:off x="6932411" y="3662920"/>
            <a:ext cx="602729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Gode Wind 3</a:t>
            </a:r>
            <a:endParaRPr lang="en-GB" sz="800" dirty="0"/>
          </a:p>
        </p:txBody>
      </p:sp>
      <p:sp>
        <p:nvSpPr>
          <p:cNvPr id="115" name="TextBox 114"/>
          <p:cNvSpPr txBox="1"/>
          <p:nvPr/>
        </p:nvSpPr>
        <p:spPr bwMode="gray">
          <a:xfrm>
            <a:off x="6962178" y="3514008"/>
            <a:ext cx="602729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Gode Wind 2</a:t>
            </a:r>
            <a:endParaRPr lang="en-GB" sz="800" dirty="0"/>
          </a:p>
        </p:txBody>
      </p:sp>
      <p:sp>
        <p:nvSpPr>
          <p:cNvPr id="116" name="TextBox 115"/>
          <p:cNvSpPr txBox="1"/>
          <p:nvPr/>
        </p:nvSpPr>
        <p:spPr bwMode="gray">
          <a:xfrm>
            <a:off x="3882106" y="5514862"/>
            <a:ext cx="623569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Saint-Nazaire</a:t>
            </a:r>
            <a:endParaRPr lang="en-GB" sz="800" dirty="0"/>
          </a:p>
        </p:txBody>
      </p:sp>
      <p:cxnSp>
        <p:nvCxnSpPr>
          <p:cNvPr id="117" name="Elbow Connector 116"/>
          <p:cNvCxnSpPr>
            <a:stCxn id="80" idx="2"/>
            <a:endCxn id="114" idx="1"/>
          </p:cNvCxnSpPr>
          <p:nvPr/>
        </p:nvCxnSpPr>
        <p:spPr bwMode="gray">
          <a:xfrm rot="16200000" flipH="1">
            <a:off x="6789172" y="3581235"/>
            <a:ext cx="111025" cy="175455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18" name="Elbow Connector 117"/>
          <p:cNvCxnSpPr>
            <a:stCxn id="88" idx="2"/>
            <a:endCxn id="115" idx="1"/>
          </p:cNvCxnSpPr>
          <p:nvPr/>
        </p:nvCxnSpPr>
        <p:spPr bwMode="gray">
          <a:xfrm rot="16200000" flipH="1">
            <a:off x="6860654" y="3474040"/>
            <a:ext cx="69338" cy="133710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19" name="Elbow Connector 118"/>
          <p:cNvCxnSpPr/>
          <p:nvPr/>
        </p:nvCxnSpPr>
        <p:spPr bwMode="gray">
          <a:xfrm rot="16200000" flipH="1">
            <a:off x="6436093" y="3788566"/>
            <a:ext cx="477548" cy="133697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0" name="Elbow Connector 119"/>
          <p:cNvCxnSpPr>
            <a:stCxn id="79" idx="2"/>
            <a:endCxn id="111" idx="1"/>
          </p:cNvCxnSpPr>
          <p:nvPr/>
        </p:nvCxnSpPr>
        <p:spPr bwMode="gray">
          <a:xfrm rot="16200000" flipH="1">
            <a:off x="6270692" y="3905060"/>
            <a:ext cx="639011" cy="129497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1" name="Elbow Connector 120"/>
          <p:cNvCxnSpPr>
            <a:stCxn id="78" idx="2"/>
            <a:endCxn id="110" idx="1"/>
          </p:cNvCxnSpPr>
          <p:nvPr/>
        </p:nvCxnSpPr>
        <p:spPr bwMode="gray">
          <a:xfrm rot="16200000" flipH="1">
            <a:off x="6129189" y="3916674"/>
            <a:ext cx="798968" cy="256290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2" name="Elbow Connector 121"/>
          <p:cNvCxnSpPr>
            <a:endCxn id="90" idx="2"/>
          </p:cNvCxnSpPr>
          <p:nvPr/>
        </p:nvCxnSpPr>
        <p:spPr bwMode="gray">
          <a:xfrm rot="5400000" flipH="1" flipV="1">
            <a:off x="4641464" y="3008260"/>
            <a:ext cx="413940" cy="274962"/>
          </a:xfrm>
          <a:prstGeom prst="bentConnector3">
            <a:avLst/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3" name="Elbow Connector 122"/>
          <p:cNvCxnSpPr>
            <a:endCxn id="89" idx="3"/>
          </p:cNvCxnSpPr>
          <p:nvPr/>
        </p:nvCxnSpPr>
        <p:spPr bwMode="gray">
          <a:xfrm rot="16200000" flipV="1">
            <a:off x="4387997" y="2974153"/>
            <a:ext cx="184503" cy="236253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4" name="Elbow Connector 123"/>
          <p:cNvCxnSpPr>
            <a:stCxn id="82" idx="1"/>
            <a:endCxn id="92" idx="3"/>
          </p:cNvCxnSpPr>
          <p:nvPr/>
        </p:nvCxnSpPr>
        <p:spPr bwMode="gray">
          <a:xfrm rot="10800000" flipV="1">
            <a:off x="3942475" y="3464472"/>
            <a:ext cx="386445" cy="98800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5" name="Elbow Connector 124"/>
          <p:cNvCxnSpPr>
            <a:endCxn id="93" idx="3"/>
          </p:cNvCxnSpPr>
          <p:nvPr/>
        </p:nvCxnSpPr>
        <p:spPr bwMode="gray">
          <a:xfrm rot="10800000">
            <a:off x="4227803" y="3306599"/>
            <a:ext cx="258540" cy="7120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6" name="Elbow Connector 125"/>
          <p:cNvCxnSpPr>
            <a:endCxn id="95" idx="3"/>
          </p:cNvCxnSpPr>
          <p:nvPr/>
        </p:nvCxnSpPr>
        <p:spPr bwMode="gray">
          <a:xfrm rot="5400000">
            <a:off x="4312461" y="3732708"/>
            <a:ext cx="347765" cy="258318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7" name="Elbow Connector 126"/>
          <p:cNvCxnSpPr/>
          <p:nvPr/>
        </p:nvCxnSpPr>
        <p:spPr bwMode="gray">
          <a:xfrm rot="5400000">
            <a:off x="5355224" y="3238248"/>
            <a:ext cx="88575" cy="109341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8" name="Elbow Connector 127"/>
          <p:cNvCxnSpPr>
            <a:endCxn id="103" idx="1"/>
          </p:cNvCxnSpPr>
          <p:nvPr/>
        </p:nvCxnSpPr>
        <p:spPr bwMode="gray">
          <a:xfrm rot="5400000" flipH="1" flipV="1">
            <a:off x="5660538" y="3446061"/>
            <a:ext cx="15824" cy="173670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29" name="Elbow Connector 128"/>
          <p:cNvCxnSpPr>
            <a:endCxn id="102" idx="0"/>
          </p:cNvCxnSpPr>
          <p:nvPr/>
        </p:nvCxnSpPr>
        <p:spPr bwMode="gray">
          <a:xfrm rot="16200000" flipH="1">
            <a:off x="5681976" y="4283545"/>
            <a:ext cx="70881" cy="34955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30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4657537" y="3498339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1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6359544" y="3514669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2" name="Elbow Connector 131"/>
          <p:cNvCxnSpPr>
            <a:stCxn id="97" idx="3"/>
          </p:cNvCxnSpPr>
          <p:nvPr/>
        </p:nvCxnSpPr>
        <p:spPr bwMode="gray">
          <a:xfrm flipV="1">
            <a:off x="5279653" y="4216206"/>
            <a:ext cx="194340" cy="128313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33" name="Elbow Connector 132"/>
          <p:cNvCxnSpPr>
            <a:stCxn id="98" idx="2"/>
          </p:cNvCxnSpPr>
          <p:nvPr/>
        </p:nvCxnSpPr>
        <p:spPr bwMode="gray">
          <a:xfrm rot="16200000" flipH="1">
            <a:off x="5418445" y="3865696"/>
            <a:ext cx="72608" cy="338461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34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6601140" y="3017053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5" name="Elbow Connector 134"/>
          <p:cNvCxnSpPr/>
          <p:nvPr/>
        </p:nvCxnSpPr>
        <p:spPr bwMode="gray">
          <a:xfrm rot="16200000" flipH="1">
            <a:off x="6579345" y="3675657"/>
            <a:ext cx="374513" cy="156170"/>
          </a:xfrm>
          <a:prstGeom prst="bentConnector3">
            <a:avLst>
              <a:gd name="adj1" fmla="val 99893"/>
            </a:avLst>
          </a:prstGeom>
          <a:solidFill>
            <a:schemeClr val="accent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36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7347789" y="2674803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7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7549570" y="2898854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8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7268876" y="3101916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9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7432581" y="3337449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0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447190" y="4245185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1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460415" y="4111312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2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593054" y="4077341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627017" y="3994855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4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359613" y="3627914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5" name="Elbow Connector 144"/>
          <p:cNvCxnSpPr/>
          <p:nvPr/>
        </p:nvCxnSpPr>
        <p:spPr bwMode="gray">
          <a:xfrm rot="5400000" flipH="1" flipV="1">
            <a:off x="4342278" y="3770063"/>
            <a:ext cx="511810" cy="309608"/>
          </a:xfrm>
          <a:prstGeom prst="bentConnector3">
            <a:avLst>
              <a:gd name="adj1" fmla="val -492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46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4477177" y="3284423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7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4476908" y="3391340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8" name="Elbow Connector 147"/>
          <p:cNvCxnSpPr/>
          <p:nvPr/>
        </p:nvCxnSpPr>
        <p:spPr bwMode="gray">
          <a:xfrm rot="5400000" flipH="1" flipV="1">
            <a:off x="4069429" y="3342016"/>
            <a:ext cx="232135" cy="629716"/>
          </a:xfrm>
          <a:prstGeom prst="bentConnector3">
            <a:avLst>
              <a:gd name="adj1" fmla="val 17459"/>
            </a:avLst>
          </a:prstGeom>
          <a:solidFill>
            <a:schemeClr val="accent2"/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49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4628635" y="3341218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0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4583422" y="3272266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1" name="Freeform 9"/>
          <p:cNvSpPr>
            <a:spLocks/>
          </p:cNvSpPr>
          <p:nvPr/>
        </p:nvSpPr>
        <p:spPr bwMode="auto">
          <a:xfrm>
            <a:off x="649998" y="1691487"/>
            <a:ext cx="2036931" cy="1157064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344" y="24"/>
              </a:cxn>
              <a:cxn ang="0">
                <a:pos x="352" y="40"/>
              </a:cxn>
              <a:cxn ang="0">
                <a:pos x="376" y="48"/>
              </a:cxn>
              <a:cxn ang="0">
                <a:pos x="408" y="48"/>
              </a:cxn>
              <a:cxn ang="0">
                <a:pos x="424" y="64"/>
              </a:cxn>
              <a:cxn ang="0">
                <a:pos x="392" y="72"/>
              </a:cxn>
              <a:cxn ang="0">
                <a:pos x="384" y="120"/>
              </a:cxn>
              <a:cxn ang="0">
                <a:pos x="400" y="88"/>
              </a:cxn>
              <a:cxn ang="0">
                <a:pos x="408" y="64"/>
              </a:cxn>
              <a:cxn ang="0">
                <a:pos x="424" y="96"/>
              </a:cxn>
              <a:cxn ang="0">
                <a:pos x="448" y="104"/>
              </a:cxn>
              <a:cxn ang="0">
                <a:pos x="448" y="120"/>
              </a:cxn>
              <a:cxn ang="0">
                <a:pos x="504" y="96"/>
              </a:cxn>
              <a:cxn ang="0">
                <a:pos x="552" y="72"/>
              </a:cxn>
              <a:cxn ang="0">
                <a:pos x="584" y="40"/>
              </a:cxn>
              <a:cxn ang="0">
                <a:pos x="600" y="64"/>
              </a:cxn>
              <a:cxn ang="0">
                <a:pos x="600" y="80"/>
              </a:cxn>
              <a:cxn ang="0">
                <a:pos x="568" y="120"/>
              </a:cxn>
              <a:cxn ang="0">
                <a:pos x="552" y="120"/>
              </a:cxn>
              <a:cxn ang="0">
                <a:pos x="528" y="160"/>
              </a:cxn>
              <a:cxn ang="0">
                <a:pos x="512" y="184"/>
              </a:cxn>
              <a:cxn ang="0">
                <a:pos x="504" y="152"/>
              </a:cxn>
              <a:cxn ang="0">
                <a:pos x="512" y="208"/>
              </a:cxn>
              <a:cxn ang="0">
                <a:pos x="456" y="256"/>
              </a:cxn>
              <a:cxn ang="0">
                <a:pos x="464" y="336"/>
              </a:cxn>
              <a:cxn ang="0">
                <a:pos x="440" y="312"/>
              </a:cxn>
              <a:cxn ang="0">
                <a:pos x="408" y="280"/>
              </a:cxn>
              <a:cxn ang="0">
                <a:pos x="368" y="280"/>
              </a:cxn>
              <a:cxn ang="0">
                <a:pos x="344" y="280"/>
              </a:cxn>
              <a:cxn ang="0">
                <a:pos x="288" y="304"/>
              </a:cxn>
              <a:cxn ang="0">
                <a:pos x="240" y="280"/>
              </a:cxn>
              <a:cxn ang="0">
                <a:pos x="216" y="288"/>
              </a:cxn>
              <a:cxn ang="0">
                <a:pos x="192" y="256"/>
              </a:cxn>
              <a:cxn ang="0">
                <a:pos x="80" y="248"/>
              </a:cxn>
              <a:cxn ang="0">
                <a:pos x="64" y="224"/>
              </a:cxn>
              <a:cxn ang="0">
                <a:pos x="24" y="200"/>
              </a:cxn>
              <a:cxn ang="0">
                <a:pos x="16" y="176"/>
              </a:cxn>
              <a:cxn ang="0">
                <a:pos x="8" y="168"/>
              </a:cxn>
              <a:cxn ang="0">
                <a:pos x="8" y="152"/>
              </a:cxn>
              <a:cxn ang="0">
                <a:pos x="0" y="104"/>
              </a:cxn>
              <a:cxn ang="0">
                <a:pos x="8" y="24"/>
              </a:cxn>
              <a:cxn ang="0">
                <a:pos x="16" y="8"/>
              </a:cxn>
            </a:cxnLst>
            <a:rect l="0" t="0" r="r" b="b"/>
            <a:pathLst>
              <a:path w="609" h="337">
                <a:moveTo>
                  <a:pt x="16" y="8"/>
                </a:moveTo>
                <a:lnTo>
                  <a:pt x="304" y="8"/>
                </a:lnTo>
                <a:lnTo>
                  <a:pt x="312" y="0"/>
                </a:lnTo>
                <a:lnTo>
                  <a:pt x="320" y="16"/>
                </a:lnTo>
                <a:lnTo>
                  <a:pt x="328" y="16"/>
                </a:lnTo>
                <a:lnTo>
                  <a:pt x="344" y="24"/>
                </a:lnTo>
                <a:lnTo>
                  <a:pt x="368" y="24"/>
                </a:lnTo>
                <a:lnTo>
                  <a:pt x="336" y="48"/>
                </a:lnTo>
                <a:lnTo>
                  <a:pt x="352" y="40"/>
                </a:lnTo>
                <a:lnTo>
                  <a:pt x="360" y="48"/>
                </a:lnTo>
                <a:lnTo>
                  <a:pt x="376" y="40"/>
                </a:lnTo>
                <a:lnTo>
                  <a:pt x="376" y="48"/>
                </a:lnTo>
                <a:lnTo>
                  <a:pt x="384" y="40"/>
                </a:lnTo>
                <a:lnTo>
                  <a:pt x="392" y="48"/>
                </a:lnTo>
                <a:lnTo>
                  <a:pt x="408" y="48"/>
                </a:lnTo>
                <a:lnTo>
                  <a:pt x="416" y="48"/>
                </a:lnTo>
                <a:lnTo>
                  <a:pt x="424" y="56"/>
                </a:lnTo>
                <a:lnTo>
                  <a:pt x="424" y="64"/>
                </a:lnTo>
                <a:lnTo>
                  <a:pt x="392" y="64"/>
                </a:lnTo>
                <a:lnTo>
                  <a:pt x="384" y="80"/>
                </a:lnTo>
                <a:lnTo>
                  <a:pt x="392" y="72"/>
                </a:lnTo>
                <a:lnTo>
                  <a:pt x="384" y="104"/>
                </a:lnTo>
                <a:lnTo>
                  <a:pt x="384" y="120"/>
                </a:lnTo>
                <a:lnTo>
                  <a:pt x="384" y="120"/>
                </a:lnTo>
                <a:lnTo>
                  <a:pt x="392" y="120"/>
                </a:lnTo>
                <a:lnTo>
                  <a:pt x="400" y="120"/>
                </a:lnTo>
                <a:lnTo>
                  <a:pt x="400" y="88"/>
                </a:lnTo>
                <a:lnTo>
                  <a:pt x="408" y="72"/>
                </a:lnTo>
                <a:lnTo>
                  <a:pt x="408" y="72"/>
                </a:lnTo>
                <a:lnTo>
                  <a:pt x="408" y="64"/>
                </a:lnTo>
                <a:lnTo>
                  <a:pt x="432" y="72"/>
                </a:lnTo>
                <a:lnTo>
                  <a:pt x="432" y="80"/>
                </a:lnTo>
                <a:lnTo>
                  <a:pt x="424" y="96"/>
                </a:lnTo>
                <a:lnTo>
                  <a:pt x="440" y="88"/>
                </a:lnTo>
                <a:lnTo>
                  <a:pt x="440" y="104"/>
                </a:lnTo>
                <a:lnTo>
                  <a:pt x="448" y="104"/>
                </a:lnTo>
                <a:lnTo>
                  <a:pt x="432" y="120"/>
                </a:lnTo>
                <a:lnTo>
                  <a:pt x="440" y="120"/>
                </a:lnTo>
                <a:lnTo>
                  <a:pt x="448" y="120"/>
                </a:lnTo>
                <a:lnTo>
                  <a:pt x="480" y="104"/>
                </a:lnTo>
                <a:lnTo>
                  <a:pt x="480" y="96"/>
                </a:lnTo>
                <a:lnTo>
                  <a:pt x="504" y="96"/>
                </a:lnTo>
                <a:lnTo>
                  <a:pt x="504" y="80"/>
                </a:lnTo>
                <a:lnTo>
                  <a:pt x="520" y="72"/>
                </a:lnTo>
                <a:lnTo>
                  <a:pt x="552" y="72"/>
                </a:lnTo>
                <a:lnTo>
                  <a:pt x="568" y="72"/>
                </a:lnTo>
                <a:lnTo>
                  <a:pt x="576" y="32"/>
                </a:lnTo>
                <a:lnTo>
                  <a:pt x="584" y="40"/>
                </a:lnTo>
                <a:lnTo>
                  <a:pt x="592" y="32"/>
                </a:lnTo>
                <a:lnTo>
                  <a:pt x="592" y="40"/>
                </a:lnTo>
                <a:lnTo>
                  <a:pt x="600" y="64"/>
                </a:lnTo>
                <a:lnTo>
                  <a:pt x="608" y="72"/>
                </a:lnTo>
                <a:lnTo>
                  <a:pt x="608" y="72"/>
                </a:lnTo>
                <a:lnTo>
                  <a:pt x="600" y="80"/>
                </a:lnTo>
                <a:lnTo>
                  <a:pt x="584" y="80"/>
                </a:lnTo>
                <a:lnTo>
                  <a:pt x="560" y="112"/>
                </a:lnTo>
                <a:lnTo>
                  <a:pt x="568" y="120"/>
                </a:lnTo>
                <a:lnTo>
                  <a:pt x="568" y="120"/>
                </a:lnTo>
                <a:lnTo>
                  <a:pt x="568" y="128"/>
                </a:lnTo>
                <a:lnTo>
                  <a:pt x="552" y="120"/>
                </a:lnTo>
                <a:lnTo>
                  <a:pt x="536" y="128"/>
                </a:lnTo>
                <a:lnTo>
                  <a:pt x="528" y="136"/>
                </a:lnTo>
                <a:lnTo>
                  <a:pt x="528" y="160"/>
                </a:lnTo>
                <a:lnTo>
                  <a:pt x="520" y="160"/>
                </a:lnTo>
                <a:lnTo>
                  <a:pt x="520" y="160"/>
                </a:lnTo>
                <a:lnTo>
                  <a:pt x="512" y="184"/>
                </a:lnTo>
                <a:lnTo>
                  <a:pt x="512" y="168"/>
                </a:lnTo>
                <a:lnTo>
                  <a:pt x="504" y="160"/>
                </a:lnTo>
                <a:lnTo>
                  <a:pt x="504" y="152"/>
                </a:lnTo>
                <a:lnTo>
                  <a:pt x="496" y="160"/>
                </a:lnTo>
                <a:lnTo>
                  <a:pt x="504" y="184"/>
                </a:lnTo>
                <a:lnTo>
                  <a:pt x="512" y="208"/>
                </a:lnTo>
                <a:lnTo>
                  <a:pt x="504" y="216"/>
                </a:lnTo>
                <a:lnTo>
                  <a:pt x="480" y="232"/>
                </a:lnTo>
                <a:lnTo>
                  <a:pt x="456" y="256"/>
                </a:lnTo>
                <a:lnTo>
                  <a:pt x="448" y="264"/>
                </a:lnTo>
                <a:lnTo>
                  <a:pt x="464" y="312"/>
                </a:lnTo>
                <a:lnTo>
                  <a:pt x="464" y="336"/>
                </a:lnTo>
                <a:lnTo>
                  <a:pt x="456" y="336"/>
                </a:lnTo>
                <a:lnTo>
                  <a:pt x="448" y="328"/>
                </a:lnTo>
                <a:lnTo>
                  <a:pt x="440" y="312"/>
                </a:lnTo>
                <a:lnTo>
                  <a:pt x="440" y="288"/>
                </a:lnTo>
                <a:lnTo>
                  <a:pt x="424" y="272"/>
                </a:lnTo>
                <a:lnTo>
                  <a:pt x="408" y="280"/>
                </a:lnTo>
                <a:lnTo>
                  <a:pt x="408" y="272"/>
                </a:lnTo>
                <a:lnTo>
                  <a:pt x="368" y="272"/>
                </a:lnTo>
                <a:lnTo>
                  <a:pt x="368" y="280"/>
                </a:lnTo>
                <a:lnTo>
                  <a:pt x="368" y="288"/>
                </a:lnTo>
                <a:lnTo>
                  <a:pt x="352" y="288"/>
                </a:lnTo>
                <a:lnTo>
                  <a:pt x="344" y="280"/>
                </a:lnTo>
                <a:lnTo>
                  <a:pt x="328" y="280"/>
                </a:lnTo>
                <a:lnTo>
                  <a:pt x="312" y="288"/>
                </a:lnTo>
                <a:lnTo>
                  <a:pt x="288" y="304"/>
                </a:lnTo>
                <a:lnTo>
                  <a:pt x="288" y="328"/>
                </a:lnTo>
                <a:lnTo>
                  <a:pt x="264" y="320"/>
                </a:lnTo>
                <a:lnTo>
                  <a:pt x="240" y="280"/>
                </a:lnTo>
                <a:lnTo>
                  <a:pt x="232" y="280"/>
                </a:lnTo>
                <a:lnTo>
                  <a:pt x="224" y="288"/>
                </a:lnTo>
                <a:lnTo>
                  <a:pt x="216" y="288"/>
                </a:lnTo>
                <a:lnTo>
                  <a:pt x="208" y="280"/>
                </a:lnTo>
                <a:lnTo>
                  <a:pt x="208" y="264"/>
                </a:lnTo>
                <a:lnTo>
                  <a:pt x="192" y="256"/>
                </a:lnTo>
                <a:lnTo>
                  <a:pt x="136" y="256"/>
                </a:lnTo>
                <a:lnTo>
                  <a:pt x="96" y="248"/>
                </a:lnTo>
                <a:lnTo>
                  <a:pt x="80" y="248"/>
                </a:lnTo>
                <a:lnTo>
                  <a:pt x="72" y="232"/>
                </a:lnTo>
                <a:lnTo>
                  <a:pt x="64" y="232"/>
                </a:lnTo>
                <a:lnTo>
                  <a:pt x="64" y="224"/>
                </a:lnTo>
                <a:lnTo>
                  <a:pt x="40" y="216"/>
                </a:lnTo>
                <a:lnTo>
                  <a:pt x="40" y="208"/>
                </a:lnTo>
                <a:lnTo>
                  <a:pt x="24" y="200"/>
                </a:lnTo>
                <a:lnTo>
                  <a:pt x="24" y="184"/>
                </a:lnTo>
                <a:lnTo>
                  <a:pt x="16" y="184"/>
                </a:lnTo>
                <a:lnTo>
                  <a:pt x="16" y="176"/>
                </a:lnTo>
                <a:lnTo>
                  <a:pt x="24" y="176"/>
                </a:lnTo>
                <a:lnTo>
                  <a:pt x="24" y="168"/>
                </a:lnTo>
                <a:lnTo>
                  <a:pt x="8" y="168"/>
                </a:lnTo>
                <a:lnTo>
                  <a:pt x="16" y="168"/>
                </a:lnTo>
                <a:lnTo>
                  <a:pt x="8" y="160"/>
                </a:lnTo>
                <a:lnTo>
                  <a:pt x="8" y="152"/>
                </a:lnTo>
                <a:lnTo>
                  <a:pt x="0" y="144"/>
                </a:lnTo>
                <a:lnTo>
                  <a:pt x="8" y="120"/>
                </a:lnTo>
                <a:lnTo>
                  <a:pt x="0" y="104"/>
                </a:lnTo>
                <a:lnTo>
                  <a:pt x="8" y="56"/>
                </a:lnTo>
                <a:lnTo>
                  <a:pt x="0" y="24"/>
                </a:lnTo>
                <a:lnTo>
                  <a:pt x="8" y="24"/>
                </a:lnTo>
                <a:lnTo>
                  <a:pt x="8" y="32"/>
                </a:lnTo>
                <a:lnTo>
                  <a:pt x="16" y="32"/>
                </a:lnTo>
                <a:lnTo>
                  <a:pt x="16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pic>
        <p:nvPicPr>
          <p:cNvPr id="152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2534951" y="2045561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" name="TextBox 152"/>
          <p:cNvSpPr txBox="1"/>
          <p:nvPr/>
        </p:nvSpPr>
        <p:spPr bwMode="gray">
          <a:xfrm>
            <a:off x="2711318" y="2053738"/>
            <a:ext cx="71173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Bay State Wind</a:t>
            </a:r>
            <a:endParaRPr lang="en-GB" sz="800" dirty="0"/>
          </a:p>
        </p:txBody>
      </p:sp>
      <p:pic>
        <p:nvPicPr>
          <p:cNvPr id="155" name="Picture 15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79911" y="1313696"/>
            <a:ext cx="505164" cy="314324"/>
          </a:xfrm>
          <a:prstGeom prst="rect">
            <a:avLst/>
          </a:prstGeom>
        </p:spPr>
      </p:pic>
      <p:pic>
        <p:nvPicPr>
          <p:cNvPr id="156" name="Picture 15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745085" y="1311243"/>
            <a:ext cx="504000" cy="330207"/>
          </a:xfrm>
          <a:prstGeom prst="rect">
            <a:avLst/>
          </a:prstGeom>
        </p:spPr>
      </p:pic>
      <p:pic>
        <p:nvPicPr>
          <p:cNvPr id="157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243351" y="3342231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489179" y="3565379"/>
            <a:ext cx="190897" cy="147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6516211" y="3428092"/>
            <a:ext cx="190897" cy="160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640931" y="3287042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726764" y="3279006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2" name="TextBox 161"/>
          <p:cNvSpPr txBox="1"/>
          <p:nvPr/>
        </p:nvSpPr>
        <p:spPr bwMode="gray">
          <a:xfrm>
            <a:off x="5875834" y="3274037"/>
            <a:ext cx="67967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Hornsea 2 + 3 </a:t>
            </a:r>
            <a:endParaRPr lang="en-GB" sz="800" dirty="0"/>
          </a:p>
        </p:txBody>
      </p:sp>
      <p:pic>
        <p:nvPicPr>
          <p:cNvPr id="164" name="Picture 25" descr="M:\info\lped\- Grafisk Support\Generation\Powerpoint\- art\i_onshoreVind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2391917" y="2192579"/>
            <a:ext cx="187112" cy="1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5" name="TextBox 164"/>
          <p:cNvSpPr txBox="1"/>
          <p:nvPr/>
        </p:nvSpPr>
        <p:spPr bwMode="gray">
          <a:xfrm>
            <a:off x="2588963" y="2340202"/>
            <a:ext cx="56746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 smtClean="0"/>
              <a:t>Ocean Wind</a:t>
            </a:r>
            <a:endParaRPr lang="en-GB" sz="800" dirty="0"/>
          </a:p>
        </p:txBody>
      </p:sp>
      <p:pic>
        <p:nvPicPr>
          <p:cNvPr id="166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4520054" y="3526453"/>
            <a:ext cx="190897" cy="147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7" name="Picture 23" descr="M:\info\lped\- Grafisk Support\Generation\Powerpoint\- art\i_offshoreVi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gray">
          <a:xfrm>
            <a:off x="5582236" y="3275353"/>
            <a:ext cx="190897" cy="147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7903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837909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2593" name="think-cell Slide" r:id="rId44" imgW="360" imgH="360" progId="">
              <p:embed/>
            </p:oleObj>
          </a:graphicData>
        </a:graphic>
      </p:graphicFrame>
      <p:sp>
        <p:nvSpPr>
          <p:cNvPr id="56" name="Rectangle 5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600" b="1" dirty="0" smtClean="0"/>
              <a:t>Significant build-out of renewables expected to continue towards 2030</a:t>
            </a:r>
            <a:endParaRPr lang="en-GB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/>
              <a:t>Transformation of </a:t>
            </a:r>
            <a:r>
              <a:rPr lang="en-GB" dirty="0" smtClean="0"/>
              <a:t>European </a:t>
            </a:r>
            <a:r>
              <a:rPr lang="en-GB" dirty="0"/>
              <a:t>power </a:t>
            </a:r>
            <a:r>
              <a:rPr lang="en-GB" dirty="0" smtClean="0"/>
              <a:t>genera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5599" y="6523199"/>
            <a:ext cx="6860425" cy="158919"/>
          </a:xfrm>
        </p:spPr>
        <p:txBody>
          <a:bodyPr/>
          <a:lstStyle/>
          <a:p>
            <a:pPr>
              <a:defRPr/>
            </a:pPr>
            <a:r>
              <a:rPr lang="en-GB" dirty="0"/>
              <a:t>Source: IEA 2014 – World Energy Outlook; European Union, New Policies Scenario</a:t>
            </a:r>
          </a:p>
          <a:p>
            <a:pPr>
              <a:defRPr/>
            </a:pPr>
            <a:endParaRPr lang="en-GB" dirty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70814378"/>
              </p:ext>
            </p:extLst>
          </p:nvPr>
        </p:nvGraphicFramePr>
        <p:xfrm>
          <a:off x="533400" y="2287588"/>
          <a:ext cx="2438400" cy="2451100"/>
        </p:xfrm>
        <a:graphic>
          <a:graphicData uri="http://schemas.openxmlformats.org/presentationml/2006/ole">
            <p:oleObj spid="_x0000_s662594" name="Chart" r:id="rId45" imgW="2422800" imgH="2440800" progId="MSGraph.Chart.8">
              <p:embed followColorScheme="full"/>
            </p:oleObj>
          </a:graphicData>
        </a:graphic>
      </p:graphicFrame>
      <p:sp>
        <p:nvSpPr>
          <p:cNvPr id="12" name="Rectangle 11"/>
          <p:cNvSpPr/>
          <p:nvPr>
            <p:custDataLst>
              <p:tags r:id="rId3"/>
            </p:custDataLst>
          </p:nvPr>
        </p:nvSpPr>
        <p:spPr bwMode="gray">
          <a:xfrm>
            <a:off x="823913" y="2922588"/>
            <a:ext cx="263525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2225" tIns="0" rIns="22225" bIns="0" rtlCol="0" anchor="ctr">
            <a:noAutofit/>
          </a:bodyPr>
          <a:lstStyle/>
          <a:p>
            <a:pPr algn="ctr"/>
            <a:fld id="{178201AA-54E2-4FC3-A1DF-DE5E6E906FBE}" type="datetime'''7''%'''''''''''''''''''''''''''''''''''''''''">
              <a:rPr lang="en-US" sz="1200">
                <a:solidFill>
                  <a:schemeClr val="bg1"/>
                </a:solidFill>
              </a:rPr>
              <a:pPr algn="ctr"/>
              <a:t>7%</a:t>
            </a:fld>
            <a:endParaRPr lang="en-US" sz="12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Rectangle 9"/>
          <p:cNvSpPr/>
          <p:nvPr>
            <p:custDataLst>
              <p:tags r:id="rId4"/>
            </p:custDataLst>
          </p:nvPr>
        </p:nvSpPr>
        <p:spPr bwMode="gray">
          <a:xfrm>
            <a:off x="652463" y="3375025"/>
            <a:ext cx="263525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2225" tIns="0" rIns="22225" bIns="0" rtlCol="0" anchor="ctr">
            <a:noAutofit/>
          </a:bodyPr>
          <a:lstStyle/>
          <a:p>
            <a:pPr algn="ctr"/>
            <a:fld id="{924C9822-E14D-4E53-9AED-6BBF8BCBB653}" type="datetime'''''''''''''''''''''9''''''''''%'''''''''">
              <a:rPr lang="en-US" sz="1200"/>
              <a:pPr algn="ctr"/>
              <a:t>9%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13" name="Text Placeholder 1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25550" y="4306888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AA302BB-3179-442A-B6D3-58D49C046BD3}" type="datetime'3''''''''1%'''''''''''">
              <a:rPr lang="en-US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31%</a:t>
            </a:fld>
            <a:endParaRPr lang="en-US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1" name="Text Placeholder 1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62213" y="3168650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7F33806-1422-4759-AA5E-15EB6F57C41D}" type="datetime'''''4''''''''''''''''''''''1''''''''%'''''''''''''''">
              <a:rPr lang="en-US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41%</a:t>
            </a:fld>
            <a:endParaRPr lang="en-US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593850" y="2443163"/>
            <a:ext cx="263525" cy="182563"/>
          </a:xfrm>
          <a:prstGeom prst="rect">
            <a:avLst/>
          </a:prstGeom>
          <a:solidFill>
            <a:srgbClr val="8CB41D"/>
          </a:solidFill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3306EF0-1C5C-4B75-97A0-AF78305AC94D}" type="datetime'''''''''''1''''''''''%'''''''">
              <a:rPr lang="en-US"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%</a:t>
            </a:fld>
            <a:endParaRPr lang="en-US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Text Placeholder 5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8088" y="2568575"/>
            <a:ext cx="336550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9228C88-B848-471B-86DD-87E29D0B0FD4}" type="datetime'''1''''''''''''1''''''''''%'''''''''''''''''''''''''''">
              <a:rPr lang="en-US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1%</a:t>
            </a:fld>
            <a:endParaRPr lang="en-US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87475" y="4902200"/>
            <a:ext cx="524499" cy="276995"/>
          </a:xfrm>
          <a:prstGeom prst="rect">
            <a:avLst/>
          </a:prstGeom>
          <a:noFill/>
        </p:spPr>
        <p:txBody>
          <a:bodyPr wrap="none" lIns="91438" tIns="45718" rIns="91438" bIns="45718" rtlCol="0">
            <a:spAutoFit/>
          </a:bodyPr>
          <a:lstStyle/>
          <a:p>
            <a:r>
              <a:rPr lang="en-GB" sz="1200" b="1" dirty="0" smtClean="0"/>
              <a:t>1990</a:t>
            </a:r>
            <a:endParaRPr lang="en-GB" sz="12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4562475" y="4902200"/>
            <a:ext cx="524499" cy="276995"/>
          </a:xfrm>
          <a:prstGeom prst="rect">
            <a:avLst/>
          </a:prstGeom>
          <a:noFill/>
        </p:spPr>
        <p:txBody>
          <a:bodyPr wrap="none" lIns="91438" tIns="45718" rIns="91438" bIns="45718" rtlCol="0">
            <a:spAutoFit/>
          </a:bodyPr>
          <a:lstStyle/>
          <a:p>
            <a:r>
              <a:rPr lang="en-GB" sz="1200" b="1" dirty="0" smtClean="0"/>
              <a:t>2013</a:t>
            </a:r>
            <a:endParaRPr lang="en-GB" sz="12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7566025" y="4902200"/>
            <a:ext cx="524499" cy="276995"/>
          </a:xfrm>
          <a:prstGeom prst="rect">
            <a:avLst/>
          </a:prstGeom>
          <a:noFill/>
        </p:spPr>
        <p:txBody>
          <a:bodyPr wrap="none" lIns="91438" tIns="45718" rIns="91438" bIns="45718" rtlCol="0">
            <a:spAutoFit/>
          </a:bodyPr>
          <a:lstStyle/>
          <a:p>
            <a:r>
              <a:rPr lang="en-GB" sz="1200" b="1" dirty="0" smtClean="0"/>
              <a:t>2030</a:t>
            </a:r>
            <a:endParaRPr lang="en-GB" sz="1200" b="1" dirty="0"/>
          </a:p>
        </p:txBody>
      </p:sp>
      <p:sp>
        <p:nvSpPr>
          <p:cNvPr id="17" name="Rectangle 16"/>
          <p:cNvSpPr/>
          <p:nvPr>
            <p:custDataLst>
              <p:tags r:id="rId9"/>
            </p:custDataLst>
          </p:nvPr>
        </p:nvSpPr>
        <p:spPr bwMode="auto">
          <a:xfrm>
            <a:off x="4016375" y="5624513"/>
            <a:ext cx="214313" cy="160338"/>
          </a:xfrm>
          <a:prstGeom prst="rect">
            <a:avLst/>
          </a:prstGeom>
          <a:solidFill>
            <a:srgbClr val="8CB41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38" tIns="45718" rIns="91438" bIns="45718" rtlCol="0" anchor="ctr">
            <a:noAutofit/>
          </a:bodyPr>
          <a:lstStyle/>
          <a:p>
            <a:pPr algn="ctr"/>
            <a:endParaRPr lang="en-GB" sz="1200" dirty="0"/>
          </a:p>
        </p:txBody>
      </p:sp>
      <p:sp>
        <p:nvSpPr>
          <p:cNvPr id="19" name="Rectangle 18"/>
          <p:cNvSpPr/>
          <p:nvPr>
            <p:custDataLst>
              <p:tags r:id="rId10"/>
            </p:custDataLst>
          </p:nvPr>
        </p:nvSpPr>
        <p:spPr bwMode="auto">
          <a:xfrm>
            <a:off x="2046288" y="5624513"/>
            <a:ext cx="214313" cy="160338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38" tIns="45718" rIns="91438" bIns="45718" rtlCol="0" anchor="ctr">
            <a:noAutofit/>
          </a:bodyPr>
          <a:lstStyle/>
          <a:p>
            <a:pPr algn="ctr"/>
            <a:endParaRPr lang="en-GB" sz="1200" dirty="0"/>
          </a:p>
        </p:txBody>
      </p:sp>
      <p:sp>
        <p:nvSpPr>
          <p:cNvPr id="22" name="Rectangle 21"/>
          <p:cNvSpPr/>
          <p:nvPr>
            <p:custDataLst>
              <p:tags r:id="rId11"/>
            </p:custDataLst>
          </p:nvPr>
        </p:nvSpPr>
        <p:spPr bwMode="auto">
          <a:xfrm>
            <a:off x="3244850" y="5624513"/>
            <a:ext cx="214313" cy="160338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38" tIns="45718" rIns="91438" bIns="45718" rtlCol="0" anchor="ctr">
            <a:noAutofit/>
          </a:bodyPr>
          <a:lstStyle/>
          <a:p>
            <a:pPr algn="ctr"/>
            <a:endParaRPr lang="en-GB" sz="1200" dirty="0"/>
          </a:p>
        </p:txBody>
      </p:sp>
      <p:sp>
        <p:nvSpPr>
          <p:cNvPr id="18" name="Rectangle 17"/>
          <p:cNvSpPr/>
          <p:nvPr>
            <p:custDataLst>
              <p:tags r:id="rId12"/>
            </p:custDataLst>
          </p:nvPr>
        </p:nvSpPr>
        <p:spPr bwMode="auto">
          <a:xfrm>
            <a:off x="2598738" y="5624513"/>
            <a:ext cx="214313" cy="160338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38" tIns="45718" rIns="91438" bIns="45718" rtlCol="0" anchor="ctr">
            <a:noAutofit/>
          </a:bodyPr>
          <a:lstStyle/>
          <a:p>
            <a:pPr algn="ctr"/>
            <a:endParaRPr lang="en-GB" sz="1200" dirty="0"/>
          </a:p>
        </p:txBody>
      </p:sp>
      <p:sp>
        <p:nvSpPr>
          <p:cNvPr id="20" name="Rectangle 19"/>
          <p:cNvSpPr/>
          <p:nvPr>
            <p:custDataLst>
              <p:tags r:id="rId13"/>
            </p:custDataLst>
          </p:nvPr>
        </p:nvSpPr>
        <p:spPr bwMode="auto">
          <a:xfrm>
            <a:off x="1157288" y="5624513"/>
            <a:ext cx="214313" cy="1603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38" tIns="45718" rIns="91438" bIns="45718" rtlCol="0" anchor="ctr"/>
          <a:lstStyle/>
          <a:p>
            <a:pPr algn="ctr"/>
            <a:endParaRPr lang="en-GB" sz="1200" dirty="0"/>
          </a:p>
        </p:txBody>
      </p:sp>
      <p:sp>
        <p:nvSpPr>
          <p:cNvPr id="21" name="Rectangle 20"/>
          <p:cNvSpPr/>
          <p:nvPr>
            <p:custDataLst>
              <p:tags r:id="rId14"/>
            </p:custDataLst>
          </p:nvPr>
        </p:nvSpPr>
        <p:spPr bwMode="auto">
          <a:xfrm>
            <a:off x="479425" y="5624513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38" tIns="45718" rIns="91438" bIns="45718" rtlCol="0" anchor="ctr">
            <a:noAutofit/>
          </a:bodyPr>
          <a:lstStyle/>
          <a:p>
            <a:pPr algn="ctr"/>
            <a:endParaRPr lang="en-GB" sz="1200" dirty="0"/>
          </a:p>
        </p:txBody>
      </p:sp>
      <p:sp>
        <p:nvSpPr>
          <p:cNvPr id="24" name="Text Placeholder 2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311400" y="5619750"/>
            <a:ext cx="185738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C9B7D60-D8A0-4ADC-8727-A2685CF51747}" type="datetime'''''''''''''''Oi''''''''''''''''''''l'">
              <a:rPr lang="en-US">
                <a:cs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Oil</a:t>
            </a:fld>
            <a:endParaRPr lang="en-US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Text Placeholder 2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509963" y="5619750"/>
            <a:ext cx="40481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8565AAD-85ED-4F9F-B608-7C530894B9A2}" type="datetime'''''''''''''Hyd''''''''''''''''''r''''''''''o'''''''''''">
              <a:rPr lang="en-US">
                <a:cs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Hydro</a:t>
            </a:fld>
            <a:endParaRPr lang="en-US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863850" y="5619750"/>
            <a:ext cx="279400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219F9AD-6B44-46B9-AD75-E4C75F5C79E2}" type="datetime'''''''''''''''''G''''''''''''a''s'''''''''''''''''''''''''''">
              <a:rPr lang="en-US">
                <a:cs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Gas</a:t>
            </a:fld>
            <a:endParaRPr lang="en-US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5" name="Rectangle 24"/>
          <p:cNvSpPr/>
          <p:nvPr>
            <p:custDataLst>
              <p:tags r:id="rId18"/>
            </p:custDataLst>
          </p:nvPr>
        </p:nvSpPr>
        <p:spPr bwMode="auto">
          <a:xfrm>
            <a:off x="1422400" y="5619750"/>
            <a:ext cx="52228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/>
          <a:lstStyle/>
          <a:p>
            <a:fld id="{0B9B3B24-D039-4F8D-9C61-BAE3D805792D}" type="datetime'''''''''N''''''''uc''l''''''e''a''''''''''''''''''r'''''''''">
              <a:rPr lang="en-US" sz="1200"/>
              <a:pPr/>
              <a:t>Nuclear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28" name="Text Placeholder 20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44538" y="5619750"/>
            <a:ext cx="311150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E066F5E-CC45-4482-A881-4D17419B2098}" type="datetime'C''''''''''''o''''''''''''''''''al'''''''''''''">
              <a:rPr lang="en-US">
                <a:cs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Coal</a:t>
            </a:fld>
            <a:endParaRPr lang="en-US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7" name="Text Placeholder 2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281488" y="5619750"/>
            <a:ext cx="833438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GB" dirty="0" smtClean="0">
                <a:latin typeface="Arial"/>
                <a:cs typeface="Arial"/>
                <a:sym typeface="Arial"/>
              </a:rPr>
              <a:t>Renewables</a:t>
            </a:r>
            <a:endParaRPr lang="en-GB" dirty="0">
              <a:latin typeface="Arial"/>
              <a:cs typeface="Arial"/>
              <a:sym typeface="Arial"/>
            </a:endParaRPr>
          </a:p>
        </p:txBody>
      </p:sp>
      <p:graphicFrame>
        <p:nvGraphicFramePr>
          <p:cNvPr id="29" name="Object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42539786"/>
              </p:ext>
            </p:extLst>
          </p:nvPr>
        </p:nvGraphicFramePr>
        <p:xfrm>
          <a:off x="3541713" y="2287588"/>
          <a:ext cx="2463800" cy="2451100"/>
        </p:xfrm>
        <a:graphic>
          <a:graphicData uri="http://schemas.openxmlformats.org/presentationml/2006/ole">
            <p:oleObj spid="_x0000_s662595" name="Chart" r:id="rId46" imgW="2450160" imgH="2440800" progId="MSGraph.Chart.8">
              <p:embed followColorScheme="full"/>
            </p:oleObj>
          </a:graphicData>
        </a:graphic>
      </p:graphicFrame>
      <p:sp>
        <p:nvSpPr>
          <p:cNvPr id="32" name="Rectangle 31"/>
          <p:cNvSpPr/>
          <p:nvPr>
            <p:custDataLst>
              <p:tags r:id="rId21"/>
            </p:custDataLst>
          </p:nvPr>
        </p:nvSpPr>
        <p:spPr bwMode="auto">
          <a:xfrm>
            <a:off x="3622675" y="2371725"/>
            <a:ext cx="346075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/>
          <a:lstStyle/>
          <a:p>
            <a:pPr algn="r"/>
            <a:fld id="{4A024C5D-B6AF-4F6D-ADC4-D70FBC0F0F3A}" type="datetime'''Wi''''''''''''''''n''''''''''d'">
              <a:rPr lang="en-US" sz="1200"/>
              <a:pPr algn="r"/>
              <a:t>Wind</a:t>
            </a:fld>
            <a:r>
              <a:rPr lang="en-US" sz="1200" smtClean="0">
                <a:latin typeface="Arial"/>
                <a:cs typeface="Arial"/>
                <a:sym typeface="Arial"/>
              </a:rPr>
              <a:t/>
            </a:r>
            <a:br>
              <a:rPr lang="en-US" sz="1200" smtClean="0">
                <a:latin typeface="Arial"/>
                <a:cs typeface="Arial"/>
                <a:sym typeface="Arial"/>
              </a:rPr>
            </a:br>
            <a:fld id="{29B5DAF4-2C76-4D34-AF40-74C448449DF2}" type="datetime'''''''''''7''''''''''''''''%'''">
              <a:rPr lang="en-US" sz="1200"/>
              <a:pPr algn="r"/>
              <a:t>7%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30" name="Rectangle 29"/>
          <p:cNvSpPr/>
          <p:nvPr>
            <p:custDataLst>
              <p:tags r:id="rId22"/>
            </p:custDataLst>
          </p:nvPr>
        </p:nvSpPr>
        <p:spPr bwMode="auto">
          <a:xfrm>
            <a:off x="4559300" y="2019300"/>
            <a:ext cx="1198563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/>
          <a:lstStyle/>
          <a:p>
            <a:fld id="{76EB4F5A-F7A5-4AA2-87B0-8258979A43C0}" type="datetime'O''the''''r r''''''e''n''e''''''''''w''''''a''b''''le''''''s'">
              <a:rPr lang="en-US" sz="1200"/>
              <a:pPr/>
              <a:t>Other renewables</a:t>
            </a:fld>
            <a:r>
              <a:rPr lang="en-US" sz="1200" smtClean="0">
                <a:latin typeface="Arial"/>
                <a:cs typeface="Arial"/>
                <a:sym typeface="Arial"/>
              </a:rPr>
              <a:t/>
            </a:r>
            <a:br>
              <a:rPr lang="en-US" sz="1200" smtClean="0">
                <a:latin typeface="Arial"/>
                <a:cs typeface="Arial"/>
                <a:sym typeface="Arial"/>
              </a:rPr>
            </a:br>
            <a:fld id="{F549E28A-485D-4243-BEC9-6E1BDAFD3C3D}" type="datetime'''''''''3''''''''''%'''">
              <a:rPr lang="en-US" sz="1200"/>
              <a:pPr/>
              <a:t>3%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34" name="Text Placeholder 7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725863" y="3224213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C482A9D-EBF9-4985-BC0B-12BB1E931208}" type="datetime'''''''''''''1''''''''2''''''%'''''''''''''''''''''''''">
              <a:rPr lang="en-US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2%</a:t>
            </a:fld>
            <a:endParaRPr lang="en-US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angle 34"/>
          <p:cNvSpPr/>
          <p:nvPr>
            <p:custDataLst>
              <p:tags r:id="rId24"/>
            </p:custDataLst>
          </p:nvPr>
        </p:nvSpPr>
        <p:spPr bwMode="gray">
          <a:xfrm>
            <a:off x="4298950" y="4322763"/>
            <a:ext cx="263525" cy="18256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2225" tIns="0" rIns="22225" bIns="0" rtlCol="0" anchor="ctr">
            <a:noAutofit/>
          </a:bodyPr>
          <a:lstStyle/>
          <a:p>
            <a:pPr algn="ctr"/>
            <a:fld id="{AA646EFF-E270-41B9-9FBD-A876D9FF09AE}" type="datetime'''2''''''''''''''%'''''''''''''''''''''''">
              <a:rPr lang="en-US" sz="1200"/>
              <a:pPr algn="ctr"/>
              <a:t>2%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37" name="Rectangle 36"/>
          <p:cNvSpPr/>
          <p:nvPr>
            <p:custDataLst>
              <p:tags r:id="rId25"/>
            </p:custDataLst>
          </p:nvPr>
        </p:nvSpPr>
        <p:spPr bwMode="gray">
          <a:xfrm>
            <a:off x="5329238" y="2849563"/>
            <a:ext cx="347663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2225" tIns="0" rIns="22225" bIns="0" rtlCol="0" anchor="ctr"/>
          <a:lstStyle/>
          <a:p>
            <a:pPr algn="ctr"/>
            <a:fld id="{8FDDAB59-AF49-4D5D-89CF-311DAC362688}" type="datetime'''''''2''''''''''''''''8''''''''%'">
              <a:rPr lang="en-US" sz="1200">
                <a:solidFill>
                  <a:schemeClr val="bg1"/>
                </a:solidFill>
              </a:rPr>
              <a:pPr algn="ctr"/>
              <a:t>28%</a:t>
            </a:fld>
            <a:endParaRPr lang="en-US" sz="12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" name="Rectangle 30"/>
          <p:cNvSpPr/>
          <p:nvPr>
            <p:custDataLst>
              <p:tags r:id="rId26"/>
            </p:custDataLst>
          </p:nvPr>
        </p:nvSpPr>
        <p:spPr bwMode="auto">
          <a:xfrm>
            <a:off x="3825875" y="2006600"/>
            <a:ext cx="682625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/>
          <a:lstStyle/>
          <a:p>
            <a:pPr algn="r"/>
            <a:fld id="{D75791F6-3AC9-47BB-AF16-B3C346914E74}" type="datetime'''''''''''Bi''''''o''''''ene''rg''''''''y'">
              <a:rPr lang="en-US" sz="1200"/>
              <a:pPr algn="r"/>
              <a:t>Bioenergy</a:t>
            </a:fld>
            <a:r>
              <a:rPr lang="en-US" sz="1200" smtClean="0">
                <a:latin typeface="Arial"/>
                <a:cs typeface="Arial"/>
                <a:sym typeface="Arial"/>
              </a:rPr>
              <a:t/>
            </a:r>
            <a:br>
              <a:rPr lang="en-US" sz="1200" smtClean="0">
                <a:latin typeface="Arial"/>
                <a:cs typeface="Arial"/>
                <a:sym typeface="Arial"/>
              </a:rPr>
            </a:br>
            <a:fld id="{49BD0448-3327-48C8-BAF2-B24815DABFF0}" type="datetime'''''''''''''''''''''''''''''''''''''''6''''''%'''''''">
              <a:rPr lang="en-US" sz="1200"/>
              <a:pPr algn="r"/>
              <a:t>6%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36" name="Text Placeholder 6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089525" y="4240213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4DCB409-5DD8-4C02-B1C2-01459124218B}" type="datetime'''''''''''''''''''2''''''7''''''''''''''%'''''''''">
              <a:rPr lang="en-US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7%</a:t>
            </a:fld>
            <a:endParaRPr lang="en-US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3" name="Rectangle 32"/>
          <p:cNvSpPr/>
          <p:nvPr>
            <p:custDataLst>
              <p:tags r:id="rId28"/>
            </p:custDataLst>
          </p:nvPr>
        </p:nvSpPr>
        <p:spPr bwMode="gray">
          <a:xfrm>
            <a:off x="3883025" y="3968750"/>
            <a:ext cx="347663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3F869A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2225" tIns="0" rIns="22225" bIns="0" rtlCol="0" anchor="ctr">
            <a:noAutofit/>
          </a:bodyPr>
          <a:lstStyle/>
          <a:p>
            <a:pPr algn="ctr"/>
            <a:fld id="{548AED20-4184-4F4D-906F-43FAC27DB531}" type="datetime'1''''''''''''''''''''''''''''''''''''''6''''''''''''%'''''">
              <a:rPr lang="en-US" sz="1200">
                <a:solidFill>
                  <a:schemeClr val="bg1"/>
                </a:solidFill>
              </a:rPr>
              <a:pPr algn="ctr"/>
              <a:t>16%</a:t>
            </a:fld>
            <a:endParaRPr lang="en-US" sz="12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38" name="Object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51564573"/>
              </p:ext>
            </p:extLst>
          </p:nvPr>
        </p:nvGraphicFramePr>
        <p:xfrm>
          <a:off x="6554788" y="2287588"/>
          <a:ext cx="2451100" cy="2451100"/>
        </p:xfrm>
        <a:graphic>
          <a:graphicData uri="http://schemas.openxmlformats.org/presentationml/2006/ole">
            <p:oleObj spid="_x0000_s662596" name="Chart" r:id="rId47" imgW="2440800" imgH="2440800" progId="MSGraph.Chart.8">
              <p:embed followColorScheme="full"/>
            </p:oleObj>
          </a:graphicData>
        </a:graphic>
      </p:graphicFrame>
      <p:sp>
        <p:nvSpPr>
          <p:cNvPr id="46" name="Text Placeholder 9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542338" y="3352800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77C0549-D044-4876-9041-8253228B4FFE}" type="datetime'''''''''''''''''''''23''''''%'''''''''''''''''''''''''''''''">
              <a:rPr lang="en-US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3%</a:t>
            </a:fld>
            <a:endParaRPr lang="en-US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Rectangle 38"/>
          <p:cNvSpPr/>
          <p:nvPr>
            <p:custDataLst>
              <p:tags r:id="rId30"/>
            </p:custDataLst>
          </p:nvPr>
        </p:nvSpPr>
        <p:spPr bwMode="auto">
          <a:xfrm>
            <a:off x="6288088" y="3119438"/>
            <a:ext cx="346075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/>
          <a:lstStyle/>
          <a:p>
            <a:pPr algn="r"/>
            <a:fld id="{E5BA1FD7-D235-4AD2-952B-6EBE0900CC6A}" type="datetime'''''Wi''''''''''''''''''n''''''''''d'''''''''''''''''''''">
              <a:rPr lang="en-US" sz="1200"/>
              <a:pPr algn="r"/>
              <a:t>Wind</a:t>
            </a:fld>
            <a:r>
              <a:rPr lang="en-US" sz="1200" smtClean="0">
                <a:latin typeface="Arial"/>
                <a:cs typeface="Arial"/>
                <a:sym typeface="Arial"/>
              </a:rPr>
              <a:t/>
            </a:r>
            <a:br>
              <a:rPr lang="en-US" sz="1200" smtClean="0">
                <a:latin typeface="Arial"/>
                <a:cs typeface="Arial"/>
                <a:sym typeface="Arial"/>
              </a:rPr>
            </a:br>
            <a:fld id="{388156BD-71A2-45AA-B52D-30A9100666A9}" type="datetime'''1''''9''%'''''''''''''''''''''''''''''">
              <a:rPr lang="en-US" sz="1200"/>
              <a:pPr algn="r"/>
              <a:t>19%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44" name="Rectangle 43"/>
          <p:cNvSpPr/>
          <p:nvPr>
            <p:custDataLst>
              <p:tags r:id="rId31"/>
            </p:custDataLst>
          </p:nvPr>
        </p:nvSpPr>
        <p:spPr bwMode="gray">
          <a:xfrm>
            <a:off x="7854950" y="4360863"/>
            <a:ext cx="347663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22225" tIns="0" rIns="22225" bIns="0" rtlCol="0" anchor="ctr"/>
          <a:lstStyle/>
          <a:p>
            <a:pPr algn="ctr"/>
            <a:fld id="{1D9F8295-B1D8-42E7-B0E6-106ED843AA52}" type="datetime'''''2''''''''''''''''''''''''''''''''''0%'''''''">
              <a:rPr lang="en-US" sz="1200">
                <a:solidFill>
                  <a:schemeClr val="bg1"/>
                </a:solidFill>
              </a:rPr>
              <a:pPr algn="ctr"/>
              <a:t>20%</a:t>
            </a:fld>
            <a:endParaRPr lang="en-US" sz="12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2" name="Text Placeholder 10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980238" y="4095750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E45BFF-C137-4E88-A0C0-E1BD2B1683E7}" type="datetime'''''''''''''''''''''''''''1''''''''''2''''%'''''''''''''''''''">
              <a:rPr lang="en-US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2%</a:t>
            </a:fld>
            <a:endParaRPr lang="en-US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Text Placeholder 1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962900" y="2552700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B6D63B5-660A-4E0A-AECE-0B36D8319B4C}" type="datetime'''''''''''''1''2''%'''''''''''''''''''''''">
              <a:rPr lang="en-US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2%</a:t>
            </a:fld>
            <a:endParaRPr lang="en-US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1" name="Rectangle 40"/>
          <p:cNvSpPr/>
          <p:nvPr>
            <p:custDataLst>
              <p:tags r:id="rId34"/>
            </p:custDataLst>
          </p:nvPr>
        </p:nvSpPr>
        <p:spPr bwMode="auto">
          <a:xfrm>
            <a:off x="6376988" y="2290763"/>
            <a:ext cx="682625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/>
          <a:lstStyle/>
          <a:p>
            <a:pPr algn="r"/>
            <a:fld id="{28E2CD3F-F8D7-41E8-9093-01A938BF8553}" type="datetime'''Bio''''en''e''''''''''''r''''''''''''''''g''''''''''y'">
              <a:rPr lang="en-US" sz="1200"/>
              <a:pPr algn="r"/>
              <a:t>Bioenergy</a:t>
            </a:fld>
            <a:r>
              <a:rPr lang="en-US" sz="1200" smtClean="0">
                <a:latin typeface="Arial"/>
                <a:cs typeface="Arial"/>
                <a:sym typeface="Arial"/>
              </a:rPr>
              <a:t/>
            </a:r>
            <a:br>
              <a:rPr lang="en-US" sz="1200" smtClean="0">
                <a:latin typeface="Arial"/>
                <a:cs typeface="Arial"/>
                <a:sym typeface="Arial"/>
              </a:rPr>
            </a:br>
            <a:fld id="{9140FFA5-0CAB-464C-A522-D4B8FC91FC1C}" type="datetime'''''''''''''''''''''''''''''''''''''''''7''''''''''''''''%'''">
              <a:rPr lang="en-US" sz="1200"/>
              <a:pPr algn="r"/>
              <a:t>7%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40" name="Rectangle 39"/>
          <p:cNvSpPr/>
          <p:nvPr>
            <p:custDataLst>
              <p:tags r:id="rId35"/>
            </p:custDataLst>
          </p:nvPr>
        </p:nvSpPr>
        <p:spPr bwMode="auto">
          <a:xfrm>
            <a:off x="7726363" y="2019300"/>
            <a:ext cx="1198563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/>
          <a:lstStyle/>
          <a:p>
            <a:fld id="{78FDDCB1-369C-4FE0-BB68-8336AFD513CD}" type="datetime'''O''t''''her r''''en''''''ew''a''''''''b''''''l''''es'''''''">
              <a:rPr lang="en-US" sz="1200"/>
              <a:pPr/>
              <a:t>Other renewables</a:t>
            </a:fld>
            <a:r>
              <a:rPr lang="en-US" sz="1200" smtClean="0">
                <a:latin typeface="Arial"/>
                <a:cs typeface="Arial"/>
                <a:sym typeface="Arial"/>
              </a:rPr>
              <a:t/>
            </a:r>
            <a:br>
              <a:rPr lang="en-US" sz="1200" smtClean="0">
                <a:latin typeface="Arial"/>
                <a:cs typeface="Arial"/>
                <a:sym typeface="Arial"/>
              </a:rPr>
            </a:br>
            <a:fld id="{0FCB5C55-C2AF-4BC0-B3D2-CE23C8435907}" type="datetime'1''%'''''''''''''''''''''''''''''''''''''''''">
              <a:rPr lang="en-US" sz="1200"/>
              <a:pPr/>
              <a:t>1%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43" name="Rectangle 42"/>
          <p:cNvSpPr/>
          <p:nvPr>
            <p:custDataLst>
              <p:tags r:id="rId36"/>
            </p:custDataLst>
          </p:nvPr>
        </p:nvSpPr>
        <p:spPr bwMode="auto">
          <a:xfrm>
            <a:off x="7075488" y="1925638"/>
            <a:ext cx="600075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/>
          <a:lstStyle/>
          <a:p>
            <a:pPr algn="r"/>
            <a:fld id="{D8BDA934-E5A2-4729-8D66-3119DF8D313E}" type="datetime'''''''''So''''''la''r'' ''''''P''''''''''''''V'''''''''''''">
              <a:rPr lang="en-US" sz="1200"/>
              <a:pPr algn="r"/>
              <a:t>Solar PV</a:t>
            </a:fld>
            <a:r>
              <a:rPr lang="en-US" sz="1200" dirty="0" smtClean="0">
                <a:latin typeface="Arial"/>
                <a:cs typeface="Arial"/>
                <a:sym typeface="Arial"/>
              </a:rPr>
              <a:t/>
            </a:r>
            <a:br>
              <a:rPr lang="en-US" sz="1200" dirty="0" smtClean="0">
                <a:latin typeface="Arial"/>
                <a:cs typeface="Arial"/>
                <a:sym typeface="Arial"/>
              </a:rPr>
            </a:br>
            <a:fld id="{B0A833B6-0F99-4F30-8AC4-6984AC9C24EF}" type="datetime'''''''''''''''''''''''''''''''''5''''''%'''">
              <a:rPr lang="en-US" sz="1200"/>
              <a:pPr algn="r"/>
              <a:t>5%</a:t>
            </a:fld>
            <a:endParaRPr lang="en-US" sz="1200" dirty="0">
              <a:latin typeface="Arial"/>
              <a:cs typeface="Arial"/>
              <a:sym typeface="Arial"/>
            </a:endParaRPr>
          </a:p>
        </p:txBody>
      </p:sp>
      <p:sp>
        <p:nvSpPr>
          <p:cNvPr id="48" name="Oval 47"/>
          <p:cNvSpPr/>
          <p:nvPr>
            <p:custDataLst>
              <p:tags r:id="rId37"/>
            </p:custDataLst>
          </p:nvPr>
        </p:nvSpPr>
        <p:spPr bwMode="auto">
          <a:xfrm>
            <a:off x="1111250" y="2879725"/>
            <a:ext cx="1295400" cy="12954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38" tIns="45718" rIns="91438" bIns="45718" rtlCol="0" anchor="ctr"/>
          <a:lstStyle/>
          <a:p>
            <a:pPr algn="ctr"/>
            <a:endParaRPr lang="en-GB" sz="1200" dirty="0"/>
          </a:p>
        </p:txBody>
      </p:sp>
      <p:sp>
        <p:nvSpPr>
          <p:cNvPr id="49" name="Text Placeholder 1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439863" y="3436938"/>
            <a:ext cx="638175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b="1" dirty="0" smtClean="0">
                <a:cs typeface="Arial" panose="020B0604020202020204" pitchFamily="34" charset="0"/>
              </a:rPr>
              <a:t>2.6 </a:t>
            </a:r>
            <a:r>
              <a:rPr lang="en-US" b="1" dirty="0" err="1" smtClean="0">
                <a:latin typeface="Arial"/>
                <a:cs typeface="Arial"/>
                <a:sym typeface="Arial"/>
              </a:rPr>
              <a:t>PWh</a:t>
            </a:r>
            <a:endParaRPr lang="en-US" b="1" dirty="0">
              <a:latin typeface="Arial"/>
              <a:cs typeface="Arial"/>
              <a:sym typeface="Arial"/>
            </a:endParaRPr>
          </a:p>
        </p:txBody>
      </p:sp>
      <p:sp>
        <p:nvSpPr>
          <p:cNvPr id="50" name="Oval 49"/>
          <p:cNvSpPr/>
          <p:nvPr>
            <p:custDataLst>
              <p:tags r:id="rId39"/>
            </p:custDataLst>
          </p:nvPr>
        </p:nvSpPr>
        <p:spPr bwMode="auto">
          <a:xfrm>
            <a:off x="4143375" y="2879725"/>
            <a:ext cx="1295400" cy="12954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38" tIns="45718" rIns="91438" bIns="45718" rtlCol="0" anchor="ctr"/>
          <a:lstStyle/>
          <a:p>
            <a:pPr algn="ctr"/>
            <a:endParaRPr lang="en-GB" sz="1200" dirty="0"/>
          </a:p>
        </p:txBody>
      </p:sp>
      <p:sp>
        <p:nvSpPr>
          <p:cNvPr id="51" name="Text Placeholder 1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494213" y="3436938"/>
            <a:ext cx="59531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b="1" dirty="0" smtClean="0">
                <a:latin typeface="Arial"/>
                <a:cs typeface="Arial"/>
                <a:sym typeface="Arial"/>
              </a:rPr>
              <a:t>3.2PWh</a:t>
            </a:r>
            <a:endParaRPr lang="en-US" b="1" dirty="0">
              <a:latin typeface="Arial"/>
              <a:cs typeface="Arial"/>
              <a:sym typeface="Arial"/>
            </a:endParaRPr>
          </a:p>
        </p:txBody>
      </p:sp>
      <p:sp>
        <p:nvSpPr>
          <p:cNvPr id="52" name="Oval 51"/>
          <p:cNvSpPr/>
          <p:nvPr>
            <p:custDataLst>
              <p:tags r:id="rId41"/>
            </p:custDataLst>
          </p:nvPr>
        </p:nvSpPr>
        <p:spPr bwMode="auto">
          <a:xfrm>
            <a:off x="7146925" y="2879725"/>
            <a:ext cx="1295400" cy="12954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438" tIns="45718" rIns="91438" bIns="45718" rtlCol="0" anchor="ctr"/>
          <a:lstStyle/>
          <a:p>
            <a:pPr algn="ctr"/>
            <a:endParaRPr lang="en-GB" sz="1200" dirty="0"/>
          </a:p>
        </p:txBody>
      </p:sp>
      <p:sp>
        <p:nvSpPr>
          <p:cNvPr id="53" name="Text Placeholder 1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497763" y="3436938"/>
            <a:ext cx="595313" cy="1825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182547" indent="-182547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43" indent="-174610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2pPr>
            <a:lvl3pPr marL="538115" indent="-17778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725424" indent="-185721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4pPr>
            <a:lvl5pPr marL="887335" indent="-160324" algn="l" rtl="0" eaLnBrk="1" fontAlgn="base" hangingPunct="1">
              <a:spcBef>
                <a:spcPts val="300"/>
              </a:spcBef>
              <a:spcAft>
                <a:spcPct val="0"/>
              </a:spcAft>
              <a:buSzPct val="80000"/>
              <a:buFont typeface="Arial" pitchFamily="34" charset="0"/>
              <a:buChar char="·"/>
              <a:defRPr sz="1200">
                <a:solidFill>
                  <a:schemeClr val="tx1"/>
                </a:solidFill>
                <a:latin typeface="+mn-lt"/>
              </a:defRPr>
            </a:lvl5pPr>
            <a:lvl6pPr marL="134449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0165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58814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15973" indent="-160324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b="1" dirty="0" smtClean="0">
                <a:cs typeface="Arial" panose="020B0604020202020204" pitchFamily="34" charset="0"/>
              </a:rPr>
              <a:t>3.4</a:t>
            </a:r>
            <a:r>
              <a:rPr lang="en-US" b="1" dirty="0" smtClean="0">
                <a:latin typeface="Arial"/>
                <a:cs typeface="Arial"/>
                <a:sym typeface="Arial"/>
              </a:rPr>
              <a:t>PWh</a:t>
            </a:r>
            <a:endParaRPr lang="en-US" b="1" dirty="0">
              <a:latin typeface="Arial"/>
              <a:cs typeface="Arial"/>
              <a:sym typeface="Arial"/>
            </a:endParaRPr>
          </a:p>
        </p:txBody>
      </p:sp>
      <p:sp>
        <p:nvSpPr>
          <p:cNvPr id="54" name="TextBox 53"/>
          <p:cNvSpPr txBox="1"/>
          <p:nvPr/>
        </p:nvSpPr>
        <p:spPr>
          <a:xfrm rot="19971372">
            <a:off x="4126134" y="2578100"/>
            <a:ext cx="554338" cy="276995"/>
          </a:xfrm>
          <a:prstGeom prst="rect">
            <a:avLst/>
          </a:prstGeom>
          <a:noFill/>
        </p:spPr>
        <p:txBody>
          <a:bodyPr wrap="square" lIns="91438" tIns="45718" rIns="91438" bIns="45718" rtlCol="0">
            <a:spAutoFit/>
          </a:bodyPr>
          <a:lstStyle/>
          <a:p>
            <a:r>
              <a:rPr lang="en-GB" sz="1200" b="1" dirty="0" smtClean="0"/>
              <a:t>16%</a:t>
            </a:r>
            <a:endParaRPr lang="en-GB" sz="1200" b="1" dirty="0"/>
          </a:p>
        </p:txBody>
      </p:sp>
      <p:sp>
        <p:nvSpPr>
          <p:cNvPr id="55" name="TextBox 54"/>
          <p:cNvSpPr txBox="1"/>
          <p:nvPr/>
        </p:nvSpPr>
        <p:spPr>
          <a:xfrm rot="19113722">
            <a:off x="6896100" y="2787650"/>
            <a:ext cx="641160" cy="276995"/>
          </a:xfrm>
          <a:prstGeom prst="rect">
            <a:avLst/>
          </a:prstGeom>
          <a:noFill/>
        </p:spPr>
        <p:txBody>
          <a:bodyPr wrap="square" lIns="91438" tIns="45718" rIns="91438" bIns="45718" rtlCol="0">
            <a:spAutoFit/>
          </a:bodyPr>
          <a:lstStyle/>
          <a:p>
            <a:pPr algn="ctr"/>
            <a:r>
              <a:rPr lang="en-GB" sz="1200" b="1" dirty="0" smtClean="0"/>
              <a:t>32%</a:t>
            </a:r>
            <a:endParaRPr lang="en-GB" sz="1200" b="1" dirty="0"/>
          </a:p>
        </p:txBody>
      </p:sp>
    </p:spTree>
    <p:extLst>
      <p:ext uri="{BB962C8B-B14F-4D97-AF65-F5344CB8AC3E}">
        <p14:creationId xmlns:p14="http://schemas.microsoft.com/office/powerpoint/2010/main" xmlns="" val="3588866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95474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3585" name="think-cell Slide" r:id="rId21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1000" b="1" dirty="0" smtClean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" name="Content Placeholder 203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600" b="1" dirty="0" smtClean="0"/>
              <a:t>Offshore wind is a part of the strong Danish </a:t>
            </a:r>
            <a:r>
              <a:rPr lang="en-GB" sz="1600" b="1" dirty="0"/>
              <a:t>w</a:t>
            </a:r>
            <a:r>
              <a:rPr lang="en-GB" sz="1600" b="1" dirty="0" smtClean="0"/>
              <a:t>ind </a:t>
            </a:r>
            <a:r>
              <a:rPr lang="en-GB" sz="1600" b="1" dirty="0"/>
              <a:t>i</a:t>
            </a:r>
            <a:r>
              <a:rPr lang="en-GB" sz="1600" b="1" dirty="0" smtClean="0"/>
              <a:t>ndustry</a:t>
            </a:r>
          </a:p>
          <a:p>
            <a:pPr marL="0" indent="0">
              <a:buNone/>
            </a:pPr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2" name="Content Placeholder 1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600" b="1" dirty="0" smtClean="0">
                <a:latin typeface="+mn-lt"/>
              </a:rPr>
              <a:t>Installed capacity in Europe by end of 2015</a:t>
            </a:r>
          </a:p>
          <a:p>
            <a:pPr marL="0" indent="0">
              <a:buNone/>
            </a:pPr>
            <a:r>
              <a:rPr lang="en-GB" dirty="0" smtClean="0"/>
              <a:t>MW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ffshore wind is a fast growing new energy technology industry</a:t>
            </a:r>
            <a:endParaRPr lang="en-GB" dirty="0"/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208790253"/>
              </p:ext>
            </p:extLst>
          </p:nvPr>
        </p:nvGraphicFramePr>
        <p:xfrm>
          <a:off x="417513" y="1789113"/>
          <a:ext cx="4165600" cy="3073400"/>
        </p:xfrm>
        <a:graphic>
          <a:graphicData uri="http://schemas.openxmlformats.org/presentationml/2006/ole">
            <p:oleObj spid="_x0000_s663586" name="Chart" r:id="rId22" imgW="4150800" imgH="3062520" progId="MSGraph.Chart.8">
              <p:embed followColorScheme="full"/>
            </p:oleObj>
          </a:graphicData>
        </a:graphic>
      </p:graphicFrame>
      <p:sp>
        <p:nvSpPr>
          <p:cNvPr id="47" name="Text Placeholder 38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860675" y="4843463"/>
            <a:ext cx="190500" cy="160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310CCA9-4645-4F0C-8824-A26A195B888F}" type="datetime'''''''''''''''''''''''S''''''''E'''''''''">
              <a:rPr lang="en-US" sz="1050">
                <a:cs typeface="+mn-cs"/>
                <a:sym typeface="+mn-lt"/>
              </a:rPr>
              <a:pPr algn="ctr">
                <a:spcBef>
                  <a:spcPct val="0"/>
                </a:spcBef>
              </a:pPr>
              <a:t>SE</a:t>
            </a:fld>
            <a:endParaRPr lang="en-GB" sz="1050" dirty="0">
              <a:cs typeface="+mn-cs"/>
              <a:sym typeface="+mn-lt"/>
            </a:endParaRPr>
          </a:p>
        </p:txBody>
      </p:sp>
      <p:sp>
        <p:nvSpPr>
          <p:cNvPr id="24" name="Text Placeholder 170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66750" y="4843463"/>
            <a:ext cx="198438" cy="160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E197841-0B2C-467E-BFC8-F99DEBABA394}" type="datetime'''''''''''''''''''''''''U''''K'''''''''''">
              <a:rPr lang="en-US" sz="1050"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pPr algn="ctr">
                <a:spcBef>
                  <a:spcPct val="0"/>
                </a:spcBef>
              </a:pPr>
              <a:t>UK</a:t>
            </a:fld>
            <a:endParaRPr lang="en-GB" sz="105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29" name="Text Placeholder 175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43050" y="4843463"/>
            <a:ext cx="198438" cy="160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DE671E4-1A86-41FA-A8CF-4D557316D81B}" type="datetime'''''''''''''''D''''''''''''''''''''''''''''''''''''''K'''">
              <a:rPr lang="en-US" sz="1050"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pPr algn="ctr">
                <a:spcBef>
                  <a:spcPct val="0"/>
                </a:spcBef>
              </a:pPr>
              <a:t>DK</a:t>
            </a:fld>
            <a:endParaRPr lang="en-GB" sz="105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26" name="Text Placeholder 17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04900" y="4843463"/>
            <a:ext cx="198438" cy="160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CCDEC7C-45B6-4616-ABEF-E109CF95451B}" type="datetime'''''''''''''''''D''''''''''''''''E'''''''''''">
              <a:rPr lang="en-US" sz="1050"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pPr algn="ctr">
                <a:spcBef>
                  <a:spcPct val="0"/>
                </a:spcBef>
              </a:pPr>
              <a:t>DE</a:t>
            </a:fld>
            <a:endParaRPr lang="en-GB" sz="105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52" name="Text Placeholder 43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425700" y="4843463"/>
            <a:ext cx="184150" cy="160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5D85DA0-DE7D-44F0-8F34-0E75A92FE81F}" type="datetime'''N''''''''''''''''L'''''''''">
              <a:rPr lang="en-US" sz="1050">
                <a:cs typeface="+mn-cs"/>
                <a:sym typeface="+mn-lt"/>
              </a:rPr>
              <a:pPr algn="ctr">
                <a:spcBef>
                  <a:spcPct val="0"/>
                </a:spcBef>
              </a:pPr>
              <a:t>NL</a:t>
            </a:fld>
            <a:endParaRPr lang="en-GB" sz="1050" dirty="0">
              <a:cs typeface="+mn-cs"/>
              <a:sym typeface="+mn-lt"/>
            </a:endParaRPr>
          </a:p>
        </p:txBody>
      </p:sp>
      <p:sp>
        <p:nvSpPr>
          <p:cNvPr id="30" name="Text Placeholder 176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466850" y="4256088"/>
            <a:ext cx="34925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8D256F8-1561-46B4-80FE-0A8A18850E4D}" type="datetime'1''''''''''.''''''''''27''1'''''''''''''''''''''">
              <a:rPr lang="en-US" altLang="en-US" sz="1000">
                <a:cs typeface="+mn-cs"/>
              </a:rPr>
              <a:pPr algn="ctr">
                <a:spcBef>
                  <a:spcPct val="0"/>
                </a:spcBef>
              </a:pPr>
              <a:t>1.271</a:t>
            </a:fld>
            <a:endParaRPr lang="en-GB" sz="100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27" name="Text Placeholder 17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28700" y="3730625"/>
            <a:ext cx="34925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9CCD8F4-B41D-4214-9EC0-3D9C7837F332}" type="datetime'''3.2''''''9''5'''''">
              <a:rPr lang="en-US" altLang="en-US" sz="1000">
                <a:cs typeface="+mn-cs"/>
              </a:rPr>
              <a:pPr algn="ctr">
                <a:spcBef>
                  <a:spcPct val="0"/>
                </a:spcBef>
              </a:pPr>
              <a:t>3.295</a:t>
            </a:fld>
            <a:endParaRPr lang="en-GB" sz="100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28" name="Text Placeholder 174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84375" y="4843463"/>
            <a:ext cx="190500" cy="160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9A172B4-C995-4CA3-B935-099106F50C9F}" type="datetime'''''''''''''''''''''''''''''B''E'''''''''''">
              <a:rPr lang="en-US" sz="1050">
                <a:latin typeface="Arial" panose="020B0604020202020204" pitchFamily="34" charset="0"/>
                <a:cs typeface="+mn-cs"/>
                <a:sym typeface="Arial" panose="020B0604020202020204" pitchFamily="34" charset="0"/>
              </a:rPr>
              <a:pPr algn="ctr">
                <a:spcBef>
                  <a:spcPct val="0"/>
                </a:spcBef>
              </a:pPr>
              <a:t>BE</a:t>
            </a:fld>
            <a:endParaRPr lang="en-GB" sz="105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25" name="Text Placeholder 17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90550" y="3273425"/>
            <a:ext cx="34925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5543848-CA2C-45F4-B13E-1B7F2F150D14}" type="datetime'''5''''.''''''''''''''''''''''''''''''''''06''''1'''">
              <a:rPr lang="en-US" altLang="en-US" sz="1000">
                <a:cs typeface="+mn-cs"/>
              </a:rPr>
              <a:pPr algn="ctr">
                <a:spcBef>
                  <a:spcPct val="0"/>
                </a:spcBef>
              </a:pPr>
              <a:t>5.061</a:t>
            </a:fld>
            <a:endParaRPr lang="en-GB" sz="1000" dirty="0">
              <a:cs typeface="+mn-cs"/>
              <a:sym typeface="+mn-lt"/>
            </a:endParaRPr>
          </a:p>
        </p:txBody>
      </p:sp>
      <p:sp>
        <p:nvSpPr>
          <p:cNvPr id="32" name="Text Placeholder 17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116388" y="4843463"/>
            <a:ext cx="309563" cy="160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9D338E9-A456-4349-BB04-860AA9CFC288}" type="datetime'T''''o''''''t''''''''''''a''''l'''''''''''''''''''''''''">
              <a:rPr lang="en-US" sz="1050">
                <a:cs typeface="+mn-cs"/>
              </a:rPr>
              <a:pPr algn="ctr">
                <a:spcBef>
                  <a:spcPct val="0"/>
                </a:spcBef>
              </a:pPr>
              <a:t>Total</a:t>
            </a:fld>
            <a:endParaRPr lang="en-GB" sz="1050" dirty="0"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53" name="Text Placeholder 4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171824" y="4843463"/>
            <a:ext cx="444500" cy="3206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135916E-2DAF-4FFA-BB31-776F7AD33F2A}" type="datetime'''Res''''''''''''t o''f'''''' ''''E''''u''r''''''''op''e'''">
              <a:rPr lang="en-US" sz="1050">
                <a:cs typeface="+mn-cs"/>
                <a:sym typeface="+mn-lt"/>
              </a:rPr>
              <a:pPr algn="ctr">
                <a:spcBef>
                  <a:spcPct val="0"/>
                </a:spcBef>
              </a:pPr>
              <a:t>Rest of Europe</a:t>
            </a:fld>
            <a:endParaRPr lang="en-GB" sz="1050" dirty="0">
              <a:cs typeface="+mn-cs"/>
              <a:sym typeface="+mn-lt"/>
            </a:endParaRPr>
          </a:p>
        </p:txBody>
      </p:sp>
      <p:sp>
        <p:nvSpPr>
          <p:cNvPr id="95" name="Text Placeholder 207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060825" y="1727200"/>
            <a:ext cx="419100" cy="152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8014C68-6CBB-451A-A0B3-90113D7826B1}" type="datetime'''''''''''1''''''1''''''''''''''''''.''''02''7'''''">
              <a:rPr lang="en-US" altLang="en-US" sz="1000" b="1">
                <a:cs typeface="+mn-cs"/>
              </a:rPr>
              <a:pPr algn="ctr">
                <a:spcBef>
                  <a:spcPct val="0"/>
                </a:spcBef>
              </a:pPr>
              <a:t>11.027</a:t>
            </a:fld>
            <a:endParaRPr lang="en-GB" sz="1000" b="1" dirty="0">
              <a:cs typeface="+mn-cs"/>
              <a:sym typeface="+mn-lt"/>
            </a:endParaRPr>
          </a:p>
        </p:txBody>
      </p:sp>
      <p:sp>
        <p:nvSpPr>
          <p:cNvPr id="205" name="TextBox 204"/>
          <p:cNvSpPr txBox="1"/>
          <p:nvPr/>
        </p:nvSpPr>
        <p:spPr>
          <a:xfrm>
            <a:off x="4946400" y="5973639"/>
            <a:ext cx="29352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800" dirty="0" smtClean="0"/>
              <a:t>Source: Danish Wind Industry Association, 2015. Data for 2014</a:t>
            </a:r>
          </a:p>
        </p:txBody>
      </p:sp>
      <p:sp>
        <p:nvSpPr>
          <p:cNvPr id="206" name="TextBox 205"/>
          <p:cNvSpPr txBox="1"/>
          <p:nvPr/>
        </p:nvSpPr>
        <p:spPr>
          <a:xfrm>
            <a:off x="306451" y="5973542"/>
            <a:ext cx="29352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800" dirty="0" smtClean="0"/>
              <a:t>Source: EWEA, 2015 and DONG Energy</a:t>
            </a:r>
          </a:p>
        </p:txBody>
      </p:sp>
      <p:cxnSp>
        <p:nvCxnSpPr>
          <p:cNvPr id="215" name="Straight Connector 214"/>
          <p:cNvCxnSpPr/>
          <p:nvPr/>
        </p:nvCxnSpPr>
        <p:spPr>
          <a:xfrm>
            <a:off x="3825551" y="1723118"/>
            <a:ext cx="0" cy="346165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>
            <p:custDataLst>
              <p:tags r:id="rId15"/>
            </p:custDataLst>
          </p:nvPr>
        </p:nvSpPr>
        <p:spPr bwMode="auto">
          <a:xfrm>
            <a:off x="600075" y="5386388"/>
            <a:ext cx="187325" cy="139700"/>
          </a:xfrm>
          <a:prstGeom prst="rect">
            <a:avLst/>
          </a:prstGeom>
          <a:solidFill>
            <a:srgbClr val="9DB1CF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>
            <p:custDataLst>
              <p:tags r:id="rId16"/>
            </p:custDataLst>
          </p:nvPr>
        </p:nvSpPr>
        <p:spPr bwMode="auto">
          <a:xfrm>
            <a:off x="600075" y="5597525"/>
            <a:ext cx="187325" cy="139700"/>
          </a:xfrm>
          <a:prstGeom prst="rect">
            <a:avLst/>
          </a:prstGeom>
          <a:solidFill>
            <a:srgbClr val="364D6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41" name="Text Placeholder 211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38200" y="5383213"/>
            <a:ext cx="1931988" cy="160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1F345AF-105C-4D66-9D9A-D2EAB74D3C80}" type="datetime'C''on''''str''''ucted by ot''her ''de''''v''elo''p''''e''''rs'">
              <a:rPr lang="en-GB" altLang="en-US" sz="1050">
                <a:cs typeface="+mn-cs"/>
              </a:rPr>
              <a:pPr>
                <a:spcBef>
                  <a:spcPct val="0"/>
                </a:spcBef>
              </a:pPr>
              <a:t>Constructed by other developers</a:t>
            </a:fld>
            <a:endParaRPr lang="en-GB" sz="1050" dirty="0">
              <a:cs typeface="+mn-cs"/>
              <a:sym typeface="+mn-lt"/>
            </a:endParaRPr>
          </a:p>
        </p:txBody>
      </p:sp>
      <p:sp>
        <p:nvSpPr>
          <p:cNvPr id="31" name="Text Placeholder 211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38200" y="5594350"/>
            <a:ext cx="1795463" cy="1603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0469D181-A868-4241-96AA-5D1416275166}" type="datetime'''C''''o''nst''r''''uc''''''t''ed by'''' DO''''N''G Energ''y'">
              <a:rPr lang="en-GB" altLang="en-US" sz="1050">
                <a:cs typeface="+mn-cs"/>
              </a:rPr>
              <a:pPr>
                <a:spcBef>
                  <a:spcPct val="0"/>
                </a:spcBef>
              </a:pPr>
              <a:t>Constructed by DONG Energy</a:t>
            </a:fld>
            <a:endParaRPr lang="en-GB" sz="1050" dirty="0">
              <a:cs typeface="+mn-cs"/>
              <a:sym typeface="+mn-lt"/>
            </a:endParaRPr>
          </a:p>
        </p:txBody>
      </p:sp>
      <p:pic>
        <p:nvPicPr>
          <p:cNvPr id="219" name="Picture 218"/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549944" y="2323822"/>
            <a:ext cx="1807727" cy="2711591"/>
          </a:xfrm>
          <a:prstGeom prst="rect">
            <a:avLst/>
          </a:prstGeom>
        </p:spPr>
      </p:pic>
      <p:sp>
        <p:nvSpPr>
          <p:cNvPr id="220" name="Rectangle 219"/>
          <p:cNvSpPr/>
          <p:nvPr/>
        </p:nvSpPr>
        <p:spPr>
          <a:xfrm>
            <a:off x="5234378" y="2222498"/>
            <a:ext cx="222248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/>
              <a:t>Full-time Employment: </a:t>
            </a:r>
            <a:r>
              <a:rPr lang="en-GB" sz="1600" b="1" dirty="0" smtClean="0"/>
              <a:t>30,000 </a:t>
            </a:r>
            <a:endParaRPr lang="en-GB" sz="1600" b="1" dirty="0"/>
          </a:p>
          <a:p>
            <a:endParaRPr lang="en-GB" sz="1600" dirty="0"/>
          </a:p>
          <a:p>
            <a:endParaRPr lang="en-GB" sz="1600" dirty="0"/>
          </a:p>
          <a:p>
            <a:r>
              <a:rPr lang="en-GB" sz="1600" dirty="0"/>
              <a:t>Gross Revenue in Denmark: </a:t>
            </a:r>
            <a:r>
              <a:rPr lang="en-GB" sz="1600" b="1" dirty="0"/>
              <a:t>84.4 </a:t>
            </a:r>
            <a:r>
              <a:rPr lang="en-GB" sz="1600" b="1" dirty="0" err="1"/>
              <a:t>bn</a:t>
            </a:r>
            <a:r>
              <a:rPr lang="en-GB" sz="1600" b="1" dirty="0"/>
              <a:t> </a:t>
            </a:r>
            <a:r>
              <a:rPr lang="en-GB" sz="1600" b="1" dirty="0" smtClean="0"/>
              <a:t>DKK (~13 </a:t>
            </a:r>
            <a:r>
              <a:rPr lang="en-GB" sz="1600" b="1" dirty="0" err="1" smtClean="0"/>
              <a:t>bn</a:t>
            </a:r>
            <a:r>
              <a:rPr lang="en-GB" sz="1600" b="1" dirty="0" smtClean="0"/>
              <a:t> USD)</a:t>
            </a:r>
            <a:endParaRPr lang="en-GB" sz="1600" b="1" dirty="0"/>
          </a:p>
          <a:p>
            <a:endParaRPr lang="en-GB" sz="1600" dirty="0"/>
          </a:p>
          <a:p>
            <a:endParaRPr lang="en-GB" sz="1600" dirty="0"/>
          </a:p>
          <a:p>
            <a:r>
              <a:rPr lang="en-GB" sz="1600" dirty="0" smtClean="0"/>
              <a:t>Export: </a:t>
            </a:r>
            <a:r>
              <a:rPr lang="en-GB" sz="1600" b="1" dirty="0"/>
              <a:t>53.5 </a:t>
            </a:r>
            <a:r>
              <a:rPr lang="en-GB" sz="1600" b="1" dirty="0" err="1"/>
              <a:t>bn</a:t>
            </a:r>
            <a:r>
              <a:rPr lang="en-GB" sz="1600" b="1" dirty="0"/>
              <a:t> </a:t>
            </a:r>
            <a:r>
              <a:rPr lang="en-GB" sz="1600" b="1" dirty="0" smtClean="0"/>
              <a:t>DKK (~ 8.2 </a:t>
            </a:r>
            <a:r>
              <a:rPr lang="en-GB" sz="1600" b="1" dirty="0" err="1" smtClean="0"/>
              <a:t>bn</a:t>
            </a:r>
            <a:r>
              <a:rPr lang="en-GB" sz="1600" b="1" dirty="0" smtClean="0"/>
              <a:t> USD)</a:t>
            </a:r>
            <a:endParaRPr lang="en-GB" sz="1600" b="1" dirty="0"/>
          </a:p>
        </p:txBody>
      </p:sp>
    </p:spTree>
    <p:extLst>
      <p:ext uri="{BB962C8B-B14F-4D97-AF65-F5344CB8AC3E}">
        <p14:creationId xmlns:p14="http://schemas.microsoft.com/office/powerpoint/2010/main" xmlns="" val="3124058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748291309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p:oleObj spid="_x0000_s639056" name="think-cell Slide" r:id="rId8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GB" sz="1000" dirty="0">
              <a:solidFill>
                <a:schemeClr val="bg1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y Offshore Wind?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11" name="Rectangle 3"/>
          <p:cNvSpPr txBox="1">
            <a:spLocks/>
          </p:cNvSpPr>
          <p:nvPr/>
        </p:nvSpPr>
        <p:spPr>
          <a:xfrm>
            <a:off x="4575175" y="1619250"/>
            <a:ext cx="31316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Description</a:t>
            </a: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4545013" y="1863725"/>
            <a:ext cx="45562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901700" y="1874838"/>
            <a:ext cx="15488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3"/>
          <p:cNvSpPr txBox="1">
            <a:spLocks/>
          </p:cNvSpPr>
          <p:nvPr/>
        </p:nvSpPr>
        <p:spPr>
          <a:xfrm>
            <a:off x="4575175" y="1920875"/>
            <a:ext cx="445952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 smtClean="0"/>
              <a:t>Can be deployed at a large scale</a:t>
            </a:r>
            <a:r>
              <a:rPr lang="en-US" dirty="0">
                <a:ea typeface="Arial Unicode MS"/>
                <a:cs typeface="Arial Unicode MS"/>
              </a:rPr>
              <a:t> </a:t>
            </a:r>
            <a:r>
              <a:rPr lang="en-US" dirty="0" smtClean="0">
                <a:ea typeface="Arial Unicode MS"/>
                <a:cs typeface="Arial Unicode MS"/>
              </a:rPr>
              <a:t>providing:-</a:t>
            </a:r>
          </a:p>
          <a:p>
            <a:pPr fontAlgn="t"/>
            <a:r>
              <a:rPr lang="en-US" dirty="0">
                <a:ea typeface="Arial Unicode MS"/>
                <a:cs typeface="Arial Unicode MS"/>
              </a:rPr>
              <a:t>	</a:t>
            </a:r>
            <a:r>
              <a:rPr lang="en-US" dirty="0" smtClean="0">
                <a:ea typeface="Arial Unicode MS"/>
                <a:cs typeface="Arial Unicode MS"/>
              </a:rPr>
              <a:t>Greater economies of scale,</a:t>
            </a:r>
          </a:p>
          <a:p>
            <a:pPr fontAlgn="t"/>
            <a:r>
              <a:rPr lang="en-US" dirty="0" smtClean="0">
                <a:ea typeface="Arial Unicode MS"/>
                <a:cs typeface="Arial Unicode MS"/>
              </a:rPr>
              <a:t>	More efficient development ($/MW),</a:t>
            </a:r>
          </a:p>
          <a:p>
            <a:pPr fontAlgn="t"/>
            <a:r>
              <a:rPr lang="en-US" dirty="0" smtClean="0">
                <a:ea typeface="Arial Unicode MS"/>
                <a:cs typeface="Arial Unicode MS"/>
              </a:rPr>
              <a:t>	Faster deployment of capacity.</a:t>
            </a:r>
            <a:endParaRPr lang="en-US" dirty="0" smtClean="0"/>
          </a:p>
        </p:txBody>
      </p:sp>
      <p:sp>
        <p:nvSpPr>
          <p:cNvPr id="15" name="Rectangle 3"/>
          <p:cNvSpPr txBox="1">
            <a:spLocks/>
          </p:cNvSpPr>
          <p:nvPr/>
        </p:nvSpPr>
        <p:spPr>
          <a:xfrm>
            <a:off x="909638" y="1971675"/>
            <a:ext cx="154091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dirty="0" smtClean="0"/>
              <a:t>Can be deployed on a </a:t>
            </a:r>
            <a:r>
              <a:rPr lang="en-US" smtClean="0"/>
              <a:t>large scale..</a:t>
            </a:r>
            <a:endParaRPr lang="en-US" dirty="0">
              <a:ea typeface="Arial Unicode MS"/>
              <a:cs typeface="Arial Unicode MS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933450" y="2852738"/>
            <a:ext cx="8167821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3"/>
          <p:cNvSpPr txBox="1">
            <a:spLocks/>
          </p:cNvSpPr>
          <p:nvPr/>
        </p:nvSpPr>
        <p:spPr>
          <a:xfrm>
            <a:off x="2738438" y="1205369"/>
            <a:ext cx="154885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Beneficial to developing a US market?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2738438" y="1874838"/>
            <a:ext cx="15488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"/>
          <p:cNvSpPr txBox="1">
            <a:spLocks/>
          </p:cNvSpPr>
          <p:nvPr/>
        </p:nvSpPr>
        <p:spPr>
          <a:xfrm>
            <a:off x="896938" y="1644650"/>
            <a:ext cx="154885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Reason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0" name="Text Placeholder 1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124200" y="1963738"/>
            <a:ext cx="479425" cy="4794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4133" dirty="0" smtClean="0">
                <a:solidFill>
                  <a:schemeClr val="accent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4133" dirty="0">
              <a:solidFill>
                <a:schemeClr val="accent1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30" name="Rectangle 3"/>
          <p:cNvSpPr txBox="1">
            <a:spLocks/>
          </p:cNvSpPr>
          <p:nvPr/>
        </p:nvSpPr>
        <p:spPr>
          <a:xfrm>
            <a:off x="4575175" y="2943225"/>
            <a:ext cx="445952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 smtClean="0"/>
              <a:t>Capacity factors of close to 50% in Denmark and UK.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 smtClean="0"/>
              <a:t>Future capacity factors of above 50%.</a:t>
            </a:r>
          </a:p>
        </p:txBody>
      </p:sp>
      <p:sp>
        <p:nvSpPr>
          <p:cNvPr id="31" name="Rectangle 3"/>
          <p:cNvSpPr txBox="1">
            <a:spLocks/>
          </p:cNvSpPr>
          <p:nvPr/>
        </p:nvSpPr>
        <p:spPr>
          <a:xfrm>
            <a:off x="909638" y="2989263"/>
            <a:ext cx="154091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dirty="0" smtClean="0"/>
              <a:t>Reliable and increasingly so..</a:t>
            </a:r>
            <a:endParaRPr lang="en-US" dirty="0">
              <a:ea typeface="Arial Unicode MS"/>
              <a:cs typeface="Arial Unicode MS"/>
            </a:endParaRPr>
          </a:p>
        </p:txBody>
      </p:sp>
      <p:sp>
        <p:nvSpPr>
          <p:cNvPr id="33" name="Text Placeholder 1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124200" y="2986088"/>
            <a:ext cx="479425" cy="4794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4133" smtClean="0">
                <a:solidFill>
                  <a:schemeClr val="accent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4133" dirty="0">
              <a:solidFill>
                <a:schemeClr val="accent1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34" name="Rectangle 3"/>
          <p:cNvSpPr txBox="1">
            <a:spLocks/>
          </p:cNvSpPr>
          <p:nvPr/>
        </p:nvSpPr>
        <p:spPr>
          <a:xfrm>
            <a:off x="4575175" y="3716338"/>
            <a:ext cx="4459524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 smtClean="0"/>
              <a:t>DONG Energy’s target of €100/MWh</a:t>
            </a:r>
            <a:r>
              <a:rPr lang="en-US" baseline="30000" dirty="0" smtClean="0"/>
              <a:t>1</a:t>
            </a:r>
            <a:r>
              <a:rPr lang="en-US" dirty="0" smtClean="0"/>
              <a:t> (approx. $110/MWh) for projects taking final decision in 2020.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 smtClean="0"/>
              <a:t>Recent auction prices were 27% and 32% lower than previous projects in UK and DK.</a:t>
            </a:r>
          </a:p>
        </p:txBody>
      </p:sp>
      <p:sp>
        <p:nvSpPr>
          <p:cNvPr id="35" name="Rectangle 3"/>
          <p:cNvSpPr txBox="1">
            <a:spLocks/>
          </p:cNvSpPr>
          <p:nvPr/>
        </p:nvSpPr>
        <p:spPr>
          <a:xfrm>
            <a:off x="909638" y="3716338"/>
            <a:ext cx="154091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dirty="0" smtClean="0"/>
              <a:t>Costs are falling, and fast..</a:t>
            </a:r>
            <a:endParaRPr lang="en-US" dirty="0">
              <a:ea typeface="Arial Unicode MS"/>
              <a:cs typeface="Arial Unicode MS"/>
            </a:endParaRPr>
          </a:p>
        </p:txBody>
      </p:sp>
      <p:sp>
        <p:nvSpPr>
          <p:cNvPr id="37" name="Text Placeholder 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124200" y="3759200"/>
            <a:ext cx="479425" cy="4794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4133" smtClean="0">
                <a:solidFill>
                  <a:schemeClr val="accent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4133" dirty="0">
              <a:solidFill>
                <a:schemeClr val="accent1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42" name="Rectangle 3"/>
          <p:cNvSpPr txBox="1">
            <a:spLocks/>
          </p:cNvSpPr>
          <p:nvPr/>
        </p:nvSpPr>
        <p:spPr>
          <a:xfrm>
            <a:off x="4575175" y="4849813"/>
            <a:ext cx="445952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 smtClean="0"/>
              <a:t>A typical DONG Energy project will create up to:-</a:t>
            </a:r>
          </a:p>
          <a:p>
            <a:pPr fontAlgn="t"/>
            <a:r>
              <a:rPr lang="en-US" dirty="0"/>
              <a:t>	</a:t>
            </a:r>
            <a:r>
              <a:rPr lang="en-US" dirty="0" smtClean="0"/>
              <a:t>1,000 jobs during construction,</a:t>
            </a:r>
          </a:p>
          <a:p>
            <a:pPr fontAlgn="t"/>
            <a:r>
              <a:rPr lang="en-US" dirty="0" smtClean="0"/>
              <a:t>	100 jobs during 25 year operation phase. </a:t>
            </a:r>
          </a:p>
        </p:txBody>
      </p:sp>
      <p:sp>
        <p:nvSpPr>
          <p:cNvPr id="43" name="Rectangle 3"/>
          <p:cNvSpPr txBox="1">
            <a:spLocks/>
          </p:cNvSpPr>
          <p:nvPr/>
        </p:nvSpPr>
        <p:spPr>
          <a:xfrm>
            <a:off x="909638" y="4849813"/>
            <a:ext cx="15409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dirty="0" smtClean="0"/>
              <a:t>Jobs are created..</a:t>
            </a:r>
            <a:endParaRPr lang="en-US" dirty="0">
              <a:ea typeface="Arial Unicode MS"/>
              <a:cs typeface="Arial Unicode MS"/>
            </a:endParaRPr>
          </a:p>
        </p:txBody>
      </p:sp>
      <p:sp>
        <p:nvSpPr>
          <p:cNvPr id="48" name="Text Placeholder 1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24200" y="4892675"/>
            <a:ext cx="479425" cy="4794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4133" smtClean="0">
                <a:solidFill>
                  <a:schemeClr val="accent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4133" dirty="0">
              <a:solidFill>
                <a:schemeClr val="accent1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38" name="Straight Connector 37"/>
          <p:cNvCxnSpPr>
            <a:cxnSpLocks/>
          </p:cNvCxnSpPr>
          <p:nvPr/>
        </p:nvCxnSpPr>
        <p:spPr>
          <a:xfrm>
            <a:off x="933450" y="3570288"/>
            <a:ext cx="8167821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Straight Connector 40"/>
          <p:cNvCxnSpPr>
            <a:cxnSpLocks/>
          </p:cNvCxnSpPr>
          <p:nvPr/>
        </p:nvCxnSpPr>
        <p:spPr>
          <a:xfrm>
            <a:off x="933450" y="4713288"/>
            <a:ext cx="8167821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933450" y="5645150"/>
            <a:ext cx="8167821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TextBox 2"/>
          <p:cNvSpPr txBox="1"/>
          <p:nvPr/>
        </p:nvSpPr>
        <p:spPr>
          <a:xfrm>
            <a:off x="392399" y="6178609"/>
            <a:ext cx="22824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800" dirty="0" smtClean="0"/>
              <a:t>1) Euro 2012 (real)</a:t>
            </a:r>
          </a:p>
        </p:txBody>
      </p:sp>
    </p:spTree>
    <p:extLst>
      <p:ext uri="{BB962C8B-B14F-4D97-AF65-F5344CB8AC3E}">
        <p14:creationId xmlns:p14="http://schemas.microsoft.com/office/powerpoint/2010/main" xmlns="" val="325928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37774295"/>
              </p:ext>
            </p:ext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p:oleObj spid="_x0000_s640077" name="think-cell Slide" r:id="rId7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GB" sz="1000" dirty="0">
              <a:solidFill>
                <a:schemeClr val="bg1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y USA?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976C159F-270B-4884-AD34-0650DAF41DBF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11" name="Rectangle 3"/>
          <p:cNvSpPr txBox="1">
            <a:spLocks/>
          </p:cNvSpPr>
          <p:nvPr/>
        </p:nvSpPr>
        <p:spPr>
          <a:xfrm>
            <a:off x="3530495" y="1846263"/>
            <a:ext cx="31316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Description</a:t>
            </a: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3500333" y="2090738"/>
            <a:ext cx="287097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673100" y="2092325"/>
            <a:ext cx="10159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3"/>
          <p:cNvSpPr txBox="1">
            <a:spLocks/>
          </p:cNvSpPr>
          <p:nvPr/>
        </p:nvSpPr>
        <p:spPr>
          <a:xfrm>
            <a:off x="3530495" y="2243138"/>
            <a:ext cx="313166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 smtClean="0"/>
              <a:t>Large federal designated lease areas </a:t>
            </a:r>
            <a:endParaRPr lang="en-US" sz="1200" dirty="0"/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 smtClean="0">
                <a:ea typeface="Arial Unicode MS"/>
                <a:cs typeface="Arial Unicode MS"/>
              </a:rPr>
              <a:t>World class </a:t>
            </a:r>
            <a:r>
              <a:rPr lang="en-US" sz="1200" dirty="0">
                <a:ea typeface="Arial Unicode MS"/>
                <a:cs typeface="Arial Unicode MS"/>
              </a:rPr>
              <a:t>site conditions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>
                <a:ea typeface="Arial Unicode MS"/>
                <a:cs typeface="Arial Unicode MS"/>
              </a:rPr>
              <a:t>Pre-permitting work by </a:t>
            </a:r>
            <a:r>
              <a:rPr lang="en-US" sz="1200" dirty="0" smtClean="0">
                <a:ea typeface="Arial Unicode MS"/>
                <a:cs typeface="Arial Unicode MS"/>
              </a:rPr>
              <a:t>BOEM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 smtClean="0">
                <a:ea typeface="Arial Unicode MS"/>
                <a:cs typeface="Arial Unicode MS"/>
              </a:rPr>
              <a:t>Further-from-shore projects</a:t>
            </a:r>
            <a:endParaRPr lang="en-US" sz="1200" dirty="0">
              <a:ea typeface="Arial Unicode MS"/>
              <a:cs typeface="Arial Unicode MS"/>
            </a:endParaRPr>
          </a:p>
        </p:txBody>
      </p:sp>
      <p:sp>
        <p:nvSpPr>
          <p:cNvPr id="15" name="Rectangle 3"/>
          <p:cNvSpPr txBox="1">
            <a:spLocks/>
          </p:cNvSpPr>
          <p:nvPr/>
        </p:nvSpPr>
        <p:spPr>
          <a:xfrm>
            <a:off x="681038" y="2257425"/>
            <a:ext cx="1008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dirty="0" smtClean="0"/>
              <a:t>World Class Offshore </a:t>
            </a:r>
            <a:r>
              <a:rPr lang="en-US" dirty="0"/>
              <a:t>Wind </a:t>
            </a:r>
            <a:r>
              <a:rPr lang="en-US" dirty="0" smtClean="0"/>
              <a:t>Areas</a:t>
            </a:r>
            <a:endParaRPr lang="en-US" dirty="0">
              <a:ea typeface="Arial Unicode MS"/>
              <a:cs typeface="Arial Unicode MS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704850" y="3187700"/>
            <a:ext cx="5724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Connector 17"/>
          <p:cNvCxnSpPr>
            <a:cxnSpLocks/>
          </p:cNvCxnSpPr>
          <p:nvPr/>
        </p:nvCxnSpPr>
        <p:spPr>
          <a:xfrm flipV="1">
            <a:off x="1890713" y="2090738"/>
            <a:ext cx="125561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"/>
          <p:cNvSpPr txBox="1">
            <a:spLocks/>
          </p:cNvSpPr>
          <p:nvPr/>
        </p:nvSpPr>
        <p:spPr>
          <a:xfrm>
            <a:off x="3530495" y="3341688"/>
            <a:ext cx="327597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 smtClean="0"/>
              <a:t>Energy system under transition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 smtClean="0">
                <a:ea typeface="Arial Unicode MS"/>
                <a:cs typeface="Arial Unicode MS"/>
              </a:rPr>
              <a:t>Significant capacity retirements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 smtClean="0">
                <a:ea typeface="Arial Unicode MS"/>
                <a:cs typeface="Arial Unicode MS"/>
              </a:rPr>
              <a:t>Desire for clean, reliable, local energy </a:t>
            </a:r>
            <a:endParaRPr lang="en-US" sz="1200" dirty="0">
              <a:ea typeface="Arial Unicode MS"/>
              <a:cs typeface="Arial Unicode MS"/>
            </a:endParaRPr>
          </a:p>
        </p:txBody>
      </p:sp>
      <p:sp>
        <p:nvSpPr>
          <p:cNvPr id="24" name="Rectangle 3"/>
          <p:cNvSpPr txBox="1">
            <a:spLocks/>
          </p:cNvSpPr>
          <p:nvPr/>
        </p:nvSpPr>
        <p:spPr>
          <a:xfrm>
            <a:off x="681038" y="3281363"/>
            <a:ext cx="1008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dirty="0" smtClean="0"/>
              <a:t>An Energy </a:t>
            </a:r>
          </a:p>
          <a:p>
            <a:pPr fontAlgn="t"/>
            <a:r>
              <a:rPr lang="en-US" dirty="0" smtClean="0"/>
              <a:t>System in Transition</a:t>
            </a:r>
            <a:endParaRPr lang="en-US" dirty="0">
              <a:ea typeface="Arial Unicode MS"/>
              <a:cs typeface="Arial Unicode MS"/>
            </a:endParaRPr>
          </a:p>
        </p:txBody>
      </p:sp>
      <p:cxnSp>
        <p:nvCxnSpPr>
          <p:cNvPr id="29" name="Straight Connector 28"/>
          <p:cNvCxnSpPr>
            <a:cxnSpLocks/>
          </p:cNvCxnSpPr>
          <p:nvPr/>
        </p:nvCxnSpPr>
        <p:spPr>
          <a:xfrm>
            <a:off x="704850" y="4138613"/>
            <a:ext cx="5724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Rectangle 3"/>
          <p:cNvSpPr txBox="1">
            <a:spLocks/>
          </p:cNvSpPr>
          <p:nvPr/>
        </p:nvSpPr>
        <p:spPr>
          <a:xfrm>
            <a:off x="668338" y="1846263"/>
            <a:ext cx="1008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Driver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0" name="Text Placeholder 1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276475" y="2276475"/>
            <a:ext cx="479425" cy="4794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4133" smtClean="0">
                <a:solidFill>
                  <a:schemeClr val="accent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4133" dirty="0">
              <a:solidFill>
                <a:schemeClr val="accent1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41" name="Text Placeholder 1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76475" y="3317875"/>
            <a:ext cx="479425" cy="4794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4133" smtClean="0">
                <a:solidFill>
                  <a:schemeClr val="accent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4133" dirty="0">
              <a:solidFill>
                <a:schemeClr val="accent1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38" name="Rectangle 3"/>
          <p:cNvSpPr txBox="1">
            <a:spLocks/>
          </p:cNvSpPr>
          <p:nvPr/>
        </p:nvSpPr>
        <p:spPr>
          <a:xfrm>
            <a:off x="3530496" y="4294188"/>
            <a:ext cx="313166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smtClean="0"/>
              <a:t>Draft diversified energy </a:t>
            </a:r>
            <a:r>
              <a:rPr lang="en-US" sz="1200" dirty="0" smtClean="0"/>
              <a:t>bill in MA including offshore wind specific element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 smtClean="0"/>
              <a:t>Legislation in </a:t>
            </a:r>
            <a:r>
              <a:rPr lang="en-US" sz="1200" smtClean="0"/>
              <a:t>New Jersey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smtClean="0"/>
              <a:t>BOEM New York Auction</a:t>
            </a:r>
            <a:endParaRPr lang="en-US" sz="1200" dirty="0" smtClean="0"/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sz="1200" dirty="0"/>
              <a:t>T</a:t>
            </a:r>
            <a:r>
              <a:rPr lang="en-US" sz="1200" dirty="0" smtClean="0"/>
              <a:t>iming encouraging</a:t>
            </a:r>
          </a:p>
        </p:txBody>
      </p:sp>
      <p:sp>
        <p:nvSpPr>
          <p:cNvPr id="45" name="Rectangle 3"/>
          <p:cNvSpPr txBox="1">
            <a:spLocks/>
          </p:cNvSpPr>
          <p:nvPr/>
        </p:nvSpPr>
        <p:spPr>
          <a:xfrm>
            <a:off x="681038" y="4256662"/>
            <a:ext cx="1008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dirty="0" smtClean="0"/>
              <a:t>Promising Legislative Agenda</a:t>
            </a:r>
            <a:endParaRPr lang="en-US" dirty="0">
              <a:ea typeface="Arial Unicode MS"/>
              <a:cs typeface="Arial Unicode MS"/>
            </a:endParaRPr>
          </a:p>
        </p:txBody>
      </p:sp>
      <p:cxnSp>
        <p:nvCxnSpPr>
          <p:cNvPr id="46" name="Straight Connector 45"/>
          <p:cNvCxnSpPr>
            <a:cxnSpLocks/>
          </p:cNvCxnSpPr>
          <p:nvPr/>
        </p:nvCxnSpPr>
        <p:spPr>
          <a:xfrm>
            <a:off x="703670" y="5309232"/>
            <a:ext cx="57240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Text Placeholder 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276475" y="4308475"/>
            <a:ext cx="479425" cy="4794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61950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60363" indent="-904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4133" dirty="0" smtClean="0">
                <a:solidFill>
                  <a:schemeClr val="accent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GB" sz="4133" dirty="0">
              <a:solidFill>
                <a:schemeClr val="accent1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Rectangle 3"/>
          <p:cNvSpPr txBox="1">
            <a:spLocks/>
          </p:cNvSpPr>
          <p:nvPr/>
        </p:nvSpPr>
        <p:spPr>
          <a:xfrm>
            <a:off x="1933513" y="1852514"/>
            <a:ext cx="12128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>
                <a:ea typeface="Arial Unicode MS" pitchFamily="34" charset="-128"/>
                <a:cs typeface="Arial Unicode MS" pitchFamily="34" charset="-128"/>
              </a:defRPr>
            </a:lvl1pPr>
            <a:lvl2pPr marL="180975" indent="-17938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ea typeface="Arial Unicode MS" pitchFamily="34" charset="-128"/>
                <a:cs typeface="Arial Unicode MS" pitchFamily="34" charset="-128"/>
              </a:defRPr>
            </a:lvl2pPr>
            <a:lvl3pPr marL="419100" indent="-2286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>
                <a:ea typeface="Arial Unicode MS" pitchFamily="34" charset="-128"/>
                <a:cs typeface="Arial Unicode MS" pitchFamily="34" charset="-128"/>
              </a:defRPr>
            </a:lvl3pPr>
            <a:lvl4pPr marL="609600" indent="-1905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>
                <a:ea typeface="Arial Unicode MS" pitchFamily="34" charset="-128"/>
                <a:cs typeface="Arial Unicode MS" pitchFamily="34" charset="-128"/>
              </a:defRPr>
            </a:lvl4pPr>
            <a:lvl5pPr marL="771525" indent="-1524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fontAlgn="t"/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USA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26" name="Picture 5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008" b="17503"/>
          <a:stretch/>
        </p:blipFill>
        <p:spPr bwMode="auto">
          <a:xfrm>
            <a:off x="1974536" y="315620"/>
            <a:ext cx="603878" cy="39547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148960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24&quot;&gt;&lt;elem m_fUsage=&quot;3.95863944825409630000E+000&quot;&gt;&lt;m_msothmcolidx val=&quot;0&quot;/&gt;&lt;m_rgb r=&quot;4a&quot; g=&quot;4c&quot; b=&quot;46&quot;/&gt;&lt;m_ppcolschidx tagver0=&quot;23004&quot; tagname0=&quot;m_ppcolschidxUNRECOGNIZED&quot; val=&quot;0&quot;/&gt;&lt;m_nBrightness val=&quot;0&quot;/&gt;&lt;/elem&gt;&lt;elem m_fUsage=&quot;2.41648773972507950000E+000&quot;&gt;&lt;m_msothmcolidx val=&quot;0&quot;/&gt;&lt;m_rgb r=&quot;c4&quot; g=&quot;d3&quot; b=&quot;e2&quot;/&gt;&lt;m_ppcolschidx tagver0=&quot;23004&quot; tagname0=&quot;m_ppcolschidxUNRECOGNIZED&quot; val=&quot;0&quot;/&gt;&lt;m_nBrightness val=&quot;0&quot;/&gt;&lt;/elem&gt;&lt;elem m_fUsage=&quot;2.00158286080943480000E+000&quot;&gt;&lt;m_msothmcolidx val=&quot;0&quot;/&gt;&lt;m_rgb r=&quot;93&quot; g=&quot;96&quot; b=&quot;7f&quot;/&gt;&lt;m_ppcolschidx tagver0=&quot;23004&quot; tagname0=&quot;m_ppcolschidxUNRECOGNIZED&quot; val=&quot;0&quot;/&gt;&lt;m_nBrightness val=&quot;0&quot;/&gt;&lt;/elem&gt;&lt;elem m_fUsage=&quot;1.03343990873886750000E+000&quot;&gt;&lt;m_msothmcolidx val=&quot;0&quot;/&gt;&lt;m_rgb r=&quot;18&quot; g=&quot;3a&quot; b=&quot;5c&quot;/&gt;&lt;m_ppcolschidx tagver0=&quot;23004&quot; tagname0=&quot;m_ppcolschidxUNRECOGNIZED&quot; val=&quot;0&quot;/&gt;&lt;m_nBrightness val=&quot;0&quot;/&gt;&lt;/elem&gt;&lt;elem m_fUsage=&quot;4.93839383473910150000E-001&quot;&gt;&lt;m_msothmcolidx val=&quot;0&quot;/&gt;&lt;m_rgb r=&quot;bf&quot; g=&quot;c1&quot; b=&quot;b4&quot;/&gt;&lt;m_ppcolschidx tagver0=&quot;23004&quot; tagname0=&quot;m_ppcolschidxUNRECOGNIZED&quot; val=&quot;0&quot;/&gt;&lt;m_nBrightness val=&quot;0&quot;/&gt;&lt;/elem&gt;&lt;elem m_fUsage=&quot;3.43368382029251570000E-002&quot;&gt;&lt;m_msothmcolidx val=&quot;0&quot;/&gt;&lt;m_rgb r=&quot;e9&quot; g=&quot;ea&quot; b=&quot;e6&quot;/&gt;&lt;m_ppcolschidx tagver0=&quot;23004&quot; tagname0=&quot;m_ppcolschidxUNRECOGNIZED&quot; val=&quot;0&quot;/&gt;&lt;m_nBrightness val=&quot;0&quot;/&gt;&lt;/elem&gt;&lt;elem m_fUsage=&quot;3.09031543826326430000E-002&quot;&gt;&lt;m_msothmcolidx val=&quot;0&quot;/&gt;&lt;m_rgb r=&quot;f0&quot; g=&quot;f7&quot; b=&quot;f9&quot;/&gt;&lt;m_ppcolschidx tagver0=&quot;23004&quot; tagname0=&quot;m_ppcolschidxUNRECOGNIZED&quot; val=&quot;0&quot;/&gt;&lt;m_nBrightness val=&quot;0&quot;/&gt;&lt;/elem&gt;&lt;elem m_fUsage=&quot;6.40548586304620120000E-003&quot;&gt;&lt;m_msothmcolidx val=&quot;0&quot;/&gt;&lt;m_rgb r=&quot;9c&quot; g=&quot;ca&quot; b=&quot;d8&quot;/&gt;&lt;m_ppcolschidx tagver0=&quot;23004&quot; tagname0=&quot;m_ppcolschidxUNRECOGNIZED&quot; val=&quot;0&quot;/&gt;&lt;m_nBrightness val=&quot;0&quot;/&gt;&lt;/elem&gt;&lt;elem m_fUsage=&quot;3.64428913891796540000E-003&quot;&gt;&lt;m_msothmcolidx val=&quot;0&quot;/&gt;&lt;m_rgb r=&quot;b4&quot; g=&quot;d7&quot; b=&quot;e1&quot;/&gt;&lt;m_ppcolschidx tagver0=&quot;23004&quot; tagname0=&quot;m_ppcolschidxUNRECOGNIZED&quot; val=&quot;0&quot;/&gt;&lt;m_nBrightness val=&quot;0&quot;/&gt;&lt;/elem&gt;&lt;elem m_fUsage=&quot;3.38139191352273020000E-003&quot;&gt;&lt;m_msothmcolidx val=&quot;0&quot;/&gt;&lt;m_rgb r=&quot;6b&quot; g=&quot;90&quot; b=&quot;b6&quot;/&gt;&lt;m_ppcolschidx tagver0=&quot;23004&quot; tagname0=&quot;m_ppcolschidxUNRECOGNIZED&quot; val=&quot;0&quot;/&gt;&lt;m_nBrightness val=&quot;0&quot;/&gt;&lt;/elem&gt;&lt;elem m_fUsage=&quot;2.85618256673318090000E-003&quot;&gt;&lt;m_msothmcolidx val=&quot;0&quot;/&gt;&lt;m_rgb r=&quot;6c&quot; g=&quot;b0&quot; b=&quot;d8&quot;/&gt;&lt;m_ppcolschidx tagver0=&quot;23004&quot; tagname0=&quot;m_ppcolschidxUNRECOGNIZED&quot; val=&quot;0&quot;/&gt;&lt;m_nBrightness val=&quot;0&quot;/&gt;&lt;/elem&gt;&lt;elem m_fUsage=&quot;2.73892744995341170000E-003&quot;&gt;&lt;m_msothmcolidx val=&quot;0&quot;/&gt;&lt;m_rgb r=&quot;8c&quot; g=&quot;b4&quot; b=&quot;1d&quot;/&gt;&lt;m_ppcolschidx tagver0=&quot;23004&quot; tagname0=&quot;m_ppcolschidxUNRECOGNIZED&quot; val=&quot;0&quot;/&gt;&lt;m_nBrightness val=&quot;0&quot;/&gt;&lt;/elem&gt;&lt;elem m_fUsage=&quot;2.57056431005986280000E-003&quot;&gt;&lt;m_msothmcolidx val=&quot;0&quot;/&gt;&lt;m_rgb r=&quot;3a&quot; g=&quot;7d&quot; b=&quot;91&quot;/&gt;&lt;m_ppcolschidx tagver0=&quot;23004&quot; tagname0=&quot;m_ppcolschidxUNRECOGNIZED&quot; val=&quot;0&quot;/&gt;&lt;m_nBrightness val=&quot;0&quot;/&gt;&lt;/elem&gt;&lt;elem m_fUsage=&quot;2.31361205736838740000E-003&quot;&gt;&lt;m_msothmcolidx val=&quot;0&quot;/&gt;&lt;m_rgb r=&quot;f&quot; g=&quot;4b&quot; b=&quot;5f&quot;/&gt;&lt;m_ppcolschidx tagver0=&quot;23004&quot; tagname0=&quot;m_ppcolschidxUNRECOGNIZED&quot; val=&quot;0&quot;/&gt;&lt;m_nBrightness val=&quot;0&quot;/&gt;&lt;/elem&gt;&lt;elem m_fUsage=&quot;1.45874224981556650000E-003&quot;&gt;&lt;m_msothmcolidx val=&quot;0&quot;/&gt;&lt;m_rgb r=&quot;d2&quot; g=&quot;e7&quot; b=&quot;ed&quot;/&gt;&lt;m_ppcolschidx tagver0=&quot;23004&quot; tagname0=&quot;m_ppcolschidxUNRECOGNIZED&quot; val=&quot;0&quot;/&gt;&lt;m_nBrightness val=&quot;0&quot;/&gt;&lt;/elem&gt;&lt;elem m_fUsage=&quot;1.41467478182107630000E-003&quot;&gt;&lt;m_msothmcolidx val=&quot;0&quot;/&gt;&lt;m_rgb r=&quot;6c&quot; g=&quot;b0&quot; b=&quot;c4&quot;/&gt;&lt;m_ppcolschidx tagver0=&quot;23004&quot; tagname0=&quot;m_ppcolschidxUNRECOGNIZED&quot; val=&quot;0&quot;/&gt;&lt;m_nBrightness val=&quot;0&quot;/&gt;&lt;/elem&gt;&lt;elem m_fUsage=&quot;1.31002050863762210000E-003&quot;&gt;&lt;m_msothmcolidx val=&quot;0&quot;/&gt;&lt;m_rgb r=&quot;d2&quot; g=&quot;d5&quot; b=&quot;ed&quot;/&gt;&lt;m_ppcolschidx tagver0=&quot;23004&quot; tagname0=&quot;m_ppcolschidxUNRECOGNIZED&quot; val=&quot;0&quot;/&gt;&lt;m_nBrightness val=&quot;0&quot;/&gt;&lt;/elem&gt;&lt;elem m_fUsage=&quot;1.06111661199647390000E-003&quot;&gt;&lt;m_msothmcolidx val=&quot;0&quot;/&gt;&lt;m_rgb r=&quot;b4&quot; g=&quot;d7&quot; b=&quot;19&quot;/&gt;&lt;m_ppcolschidx tagver0=&quot;23004&quot; tagname0=&quot;m_ppcolschidxUNRECOGNIZED&quot; val=&quot;0&quot;/&gt;&lt;m_nBrightness val=&quot;0&quot;/&gt;&lt;/elem&gt;&lt;elem m_fUsage=&quot;8.25591373342035650000E-004&quot;&gt;&lt;m_msothmcolidx val=&quot;0&quot;/&gt;&lt;m_rgb r=&quot;52&quot; g=&quot;a3&quot; b=&quot;ba&quot;/&gt;&lt;m_ppcolschidx tagver0=&quot;23004&quot; tagname0=&quot;m_ppcolschidxUNRECOGNIZED&quot; val=&quot;0&quot;/&gt;&lt;m_nBrightness val=&quot;0&quot;/&gt;&lt;/elem&gt;&lt;elem m_fUsage=&quot;2.77390501186752770000E-004&quot;&gt;&lt;m_msothmcolidx val=&quot;0&quot;/&gt;&lt;m_rgb r=&quot;74&quot; g=&quot;b4&quot; b=&quot;c7&quot;/&gt;&lt;m_ppcolschidx tagver0=&quot;23004&quot; tagname0=&quot;m_ppcolschidxUNRECOGNIZED&quot; val=&quot;0&quot;/&gt;&lt;m_nBrightness val=&quot;0&quot;/&gt;&lt;/elem&gt;&lt;elem m_fUsage=&quot;2.52736729752820230000E-004&quot;&gt;&lt;m_msothmcolidx val=&quot;0&quot;/&gt;&lt;m_rgb r=&quot;3f&quot; g=&quot;86&quot; b=&quot;9a&quot;/&gt;&lt;m_ppcolschidx tagver0=&quot;23004&quot; tagname0=&quot;m_ppcolschidxUNRECOGNIZED&quot; val=&quot;0&quot;/&gt;&lt;m_nBrightness val=&quot;0&quot;/&gt;&lt;/elem&gt;&lt;elem m_fUsage=&quot;1.09292680298895930000E-004&quot;&gt;&lt;m_msothmcolidx val=&quot;0&quot;/&gt;&lt;m_rgb r=&quot;35&quot; g=&quot;72&quot; b=&quot;84&quot;/&gt;&lt;m_ppcolschidx tagver0=&quot;23004&quot; tagname0=&quot;m_ppcolschidxUNRECOGNIZED&quot; val=&quot;0&quot;/&gt;&lt;m_nBrightness val=&quot;0&quot;/&gt;&lt;/elem&gt;&lt;elem m_fUsage=&quot;9.22719639801246580000E-005&quot;&gt;&lt;m_msothmcolidx val=&quot;0&quot;/&gt;&lt;m_rgb r=&quot;42&quot; g=&quot;8f&quot; b=&quot;a6&quot;/&gt;&lt;m_ppcolschidx tagver0=&quot;23004&quot; tagname0=&quot;m_ppcolschidxUNRECOGNIZED&quot; val=&quot;0&quot;/&gt;&lt;m_nBrightness val=&quot;0&quot;/&gt;&lt;/elem&gt;&lt;elem m_fUsage=&quot;2.56283152765449960000E-005&quot;&gt;&lt;m_msothmcolidx val=&quot;0&quot;/&gt;&lt;m_rgb r=&quot;46&quot; g=&quot;97&quot; b=&quot;ae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J3542VESLoFOSNZ9X4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BobhG9RkKI_3bQAZEh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TwigfIaEaF06ARxUm3q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8eTF3RQUq8enzq8NpK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.BxttDV0SZs4Le5htof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skLN60O0mEigG2X3ftm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9dSESNQkq9l9YqnJ7Kx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mTc5rHk.j.SA0_OctP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SZggUdfkijBg6hfo.uM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j7k73w0GLvrHH89ga0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yWtA7hE069o3r_0YYL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CKmtzS8ESlVxhPkqY9S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1SHNOX.kWGhoW7pr1Wc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SYVyocOkOwQ9pbbY3MB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NhI5rkV0mHHEpwxPY2N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_voFrehE6HP.64UrHhx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PiVQzH0k26JF7KoD2M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6w6pQHiUuDhW..3gzC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0ddRC0b0iGoIt7_YMxR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ZhbokSuUStu2Y3CMfeI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iTp8_2X0eLWQ7uNhwI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U80uhqt0GOKZPg7qRj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WnbrD3bESsHLQaIkLKR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5LH3Jg0EaOzaDugFErg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kZKkh5L0WJOfb4K42Zi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BMrey2HE.FtsBSTw0Pd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MLTIGJfUadH_.WTIn8Z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pXkobgkCNHDcH0_Z1k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3PUV_QNEG.zaEtSAWhu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QOsFXJLEm1_i9aE4ZoU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EQ4oo.50yjm8FgQC3T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lweJGB60OwJ1At.kE2s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0l5PnDGESOpias3mUi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HsklP4J0eTZzEq3BCQn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KIXTayzUmtf0nwQlWU9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z5n7L7xUSHV1jwIxDoT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nLS41r60CkKpIWRkG6k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lo6CIAy0K5h.Cx8Igsq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SgJq18yEiq3nkdGUU6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1S4af6kUahTFGnlXTwR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9HJScIFUqTYpHuxL6T3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d5XkmaBE6AJzmu2Bhx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PxxsJoWEKd4l_8VN0wW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cD872pEWpKauFnoaT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nr1Hq_60eHTJWtImnYU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sTTepC1Uam9UDqS.YaQ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TpZuEKjE2dtKiHPR.5F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lz_mUGakmQAAXOeo8Mf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GAdBuHkOhEF1Ydh_G1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05iXeBU0.RMEc5gBPwt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pxuL1JjE2P8CGrbcmWu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Xj6Biad0uaCoP4wfTLc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5oypd1Z0KexiVPbmCqM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glUNz.hUOFn7meUw59U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1.QVNbTUCV3MoEb7.t_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kQL8t6QUyWwsOf0LoqJ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eoqax4P02l.GcTUTwUa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PDNE_hiEi_F9TU7XSyc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rvZv9Rik.VvY1ut1y7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rvAeGgTkim1cJok2NeS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0ekH92.kGgl1q6mMrUw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sMy_bG8Uq89Z7oUwpZg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uLZyf9tUu9OwmyxvzIp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21Qm1bP0KWo88MeTqKs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EeIf5f90exeHNA.CPBB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D7Tzd1AkqM4IS5ypoc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UYd7j8E.7aAZcll2g.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l4ufqs7kWbRXDf0aT15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KtuPn1dk.luunr_yl7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c5zK5YZEyV0B.ZdxSYz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U8zEJwkO9NeRnomiOc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bvDZIgmEyaKnMub8ga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PvPfvng068zpSuXIKIH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Zn9jb930.Ql9a8pEZw.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O9nPm5ck28Y_NHnvn34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JJEnHFoEKyxe.ISfya5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VgmhjjNEKr7Imq1rgv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12hoOgS0uQxT7KvGhEm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nHm1q1yUivr9hqCOTMm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uV_BtWd021xuqnf1SFd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YSc5.ShUySD51Fzj0I5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2g0B1nc0aBpG25v35wc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nmK6Jxxkm9nQFolZvE_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IBMHR.O0SfgbJNaXE.Y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eHFBGp9E.caM3f27Zvx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AEPFlChUuF8PEgcZIb7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DkTDZPrkmnENEl8InpR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OtjR0.U2zN1OEbbxg8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8eTF3RQUq8enzq8NpKX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K48pb8MU.CrqyLiQT.O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UcL2JLwkSIGXRtY0KWN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S0qn_MPUSml0KzF8FJ4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nvkcSnCkCUbmiy0t5Hr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xFsPpSs0uWVogTXV5iP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lKPrKWDkyXqGGF8HV56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XJYjkX2EOb935dm3TuA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SOD9cLtE2SJ38SjcwUq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o6U8XA.0u2J657jvNGN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qWY8anL02WjpJ39tUy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.BxttDV0SZs4Le5htof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GAXyIplUe.aJLIhug8l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jR8A33V06MkKGzGj2zv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DEkT8TZE22jxO.BjzsE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SRB1p6gEa3_j4ny0eg7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0UiyIipUKD6nKK3S95Y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Ze2mA3fUque_pILmp9t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ToYUmnbkCoBLVhQkmz8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C96fL5RUm1Mc8PbUHAF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lZOsSQR2pK_lUBf3ZI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nhD6T3Qcm3SNAnTG8P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skLN60O0mEigG2X3ftm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JiHGvxSnWL_zwPodA2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E6IvvfT4KfQLfAH74yz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Images\Wind turbines\1150-0173.jp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GAdBuHkOhEF1Ydh_G1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25hX7PtEewVoLJUQuNl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5e5conYkacSPcVso8mp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3_PNTgrkeg.rw8AATz5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Zqp5JgR02.za5WPjjkN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GAdBuHkOhEF1Ydh_G1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25hX7PtEewVoLJUQuN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9dSESNQkq9l9YqnJ7Kx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gKhE0vV0qGcDwhP_Q35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2dyFQU1UKaOrn1ZIWTb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GAdBuHkOhEF1Ydh_G1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z3uyA.Z0WMsD_pW0bms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Z4XswrJUqZNJ5vJ..3V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FQzROohEm75acja813A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PrV4rAn0K_gf4RRTPsC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Y_5.y8NU2x.ObdwA3Ny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Y9rAoZsEmw4iXrEIOYb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W7KrMChkegOgYJyQEs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mTc5rHk.j.SA0_OctP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jzRlHkJ0SM7rso3qigr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jVxH970kG5UlnAuyOQ6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eqzQYGB0OHwmTQyRXuL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ikWzCOgEOn1A79pkhh2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.nPpcQv0._R7KT5uQob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fwuYDpTk.AA4iC0QxKH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aODCHeJUa2DvJD4dmbm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V1c7DGTUSh2YkxCTfX9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TC5rpgskipYaufqfLHH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wjXZG840.BRV.WTLoH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SAM7srvU2EuMG4prW4d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.SvMe.D0e40GzPgcOvR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GzUIqoA0WFttzr537aH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DJYR8QPE6Acj160Ytsv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slokNDmUqVlH0B4HVYB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MAQg_Oe0CpK2ivDAxu1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gZLsWzJ0yUQsNjEFNBY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UsZxJtMUGk3XAHknlCw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V_QVuLdEqmyD.je7oq2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vXLSvakE.J_4NYgz5MC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GAdBuHkOhEF1Ydh_G1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6Bnh_0ECUI1AlRl6Yv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GAdBuHkOhEF1Ydh_G1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T2xJv8H0q6m_M6GFFd5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e.nx_krUegiqDtAPuN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RCP4fvkmpyPc8SsE9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jDa3XB0iAHClZQIWV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HHOtOjV0eD6S9PzZ7f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LG9E6JW02VPYbDX0Se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wyON8e.kGhlbyxb5L9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UKuuraF0SnShBP71Vi0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uj1haHEOC_cecw7um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2XhHS1AUOfTfKP9A0_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pZ7vitd0OO.UMdNYCX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ybjYaE0GX7xZMEbbT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BobhG9RkKI_3bQAZEh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TwigfIaEaF06ARxUm3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8eTF3RQUq8enzq8NpK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.BxttDV0SZs4Le5htof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skLN60O0mEigG2X3ftm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9dSESNQkq9l9YqnJ7K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mTc5rHk.j.SA0_Oct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SAM7srvU2EuMG4prW4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6Bnh_0ECUI1AlRl6Y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T2xJv8H0q6m_M6GFFd5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e.nx_krUegiqDtAPuNl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RCP4fvkmpyPc8SsE9S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jDa3XB0iAHClZQIWV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HHOtOjV0eD6S9PzZ7f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LG9E6JW02VPYbDX0Se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wyON8e.kGhlbyxb5L9v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UKuuraF0SnShBP71Vi0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uj1haHEOC_cecw7umF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2XhHS1AUOfTfKP9A0_r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pZ7vitd0OO.UMdNYCXK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ybjYaE0GX7xZMEbbTm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BobhG9RkKI_3bQAZEh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TwigfIaEaF06ARxUm3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8eTF3RQUq8enzq8NpK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.BxttDV0SZs4Le5htof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skLN60O0mEigG2X3ft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9dSESNQkq9l9YqnJ7K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mTc5rHk.j.SA0_Oct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SAM7srvU2EuMG4prW4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6Bnh_0ECUI1AlRl6Yv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T2xJv8H0q6m_M6GFFd5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e.nx_krUegiqDtAPuNl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RCP4fvkmpyPc8SsE9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jDa3XB0iAHClZQIWVq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HHOtOjV0eD6S9PzZ7fr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LG9E6JW02VPYbDX0Se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wyON8e.kGhlbyxb5L9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UKuuraF0SnShBP71Vi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uj1haHEOC_cecw7um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2XhHS1AUOfTfKP9A0_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pZ7vitd0OO.UMdNYCXK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ybjYaE0GX7xZMEbbT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BobhG9RkKI_3bQAZEh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TwigfIaEaF06ARxUm3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8eTF3RQUq8enzq8NpK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.BxttDV0SZs4Le5hto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skLN60O0mEigG2X3ftm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9dSESNQkq9l9YqnJ7Kx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mTc5rHk.j.SA0_Oct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SAM7srvU2EuMG4prW4d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6Bnh_0ECUI1AlRl6Yv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T2xJv8H0q6m_M6GFFd5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e.nx_krUegiqDtAPuN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0_GgoHI0ydoFtYp.uK7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RCP4fvkmpyPc8SsE9S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jDa3XB0iAHClZQIWVq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HHOtOjV0eD6S9PzZ7fr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LG9E6JW02VPYbDX0Se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wyON8e.kGhlbyxb5L9v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UKuuraF0SnShBP71Vi0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uj1haHEOC_cecw7umF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2XhHS1AUOfTfKP9A0_r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pZ7vitd0OO.UMdNYCXK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ybjYaE0GX7xZMEbbTmQ"/>
</p:tagLst>
</file>

<file path=ppt/theme/theme1.xml><?xml version="1.0" encoding="utf-8"?>
<a:theme xmlns:a="http://schemas.openxmlformats.org/drawingml/2006/main" name="Blank">
  <a:themeElements>
    <a:clrScheme name="DONG Energy">
      <a:dk1>
        <a:sysClr val="windowText" lastClr="000000"/>
      </a:dk1>
      <a:lt1>
        <a:sysClr val="window" lastClr="FFFFFF"/>
      </a:lt1>
      <a:dk2>
        <a:srgbClr val="D4D47E"/>
      </a:dk2>
      <a:lt2>
        <a:srgbClr val="646B00"/>
      </a:lt2>
      <a:accent1>
        <a:srgbClr val="183A5C"/>
      </a:accent1>
      <a:accent2>
        <a:srgbClr val="6B90B6"/>
      </a:accent2>
      <a:accent3>
        <a:srgbClr val="C4D3E2"/>
      </a:accent3>
      <a:accent4>
        <a:srgbClr val="4A4C46"/>
      </a:accent4>
      <a:accent5>
        <a:srgbClr val="939680"/>
      </a:accent5>
      <a:accent6>
        <a:srgbClr val="BFC1B4"/>
      </a:accent6>
      <a:hlink>
        <a:srgbClr val="A05D15"/>
      </a:hlink>
      <a:folHlink>
        <a:srgbClr val="E8AF7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lIns="72000" tIns="36000" rIns="72000" bIns="36000" rtlCol="0" anchor="t"/>
      <a:lstStyle>
        <a:defPPr>
          <a:spcAft>
            <a:spcPts val="300"/>
          </a:spcAft>
          <a:defRPr sz="10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fontAlgn="auto">
          <a:spcAft>
            <a:spcPts val="600"/>
          </a:spcAft>
          <a:defRPr sz="1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DONG Energy Template A4.potx" id="{84C8EB0B-AE95-432D-A6B1-7F4BE4276CC2}" vid="{EC09D978-92F0-472B-86FB-42692DB3D3AE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4 DONG Energy Landscape</Template>
  <TotalTime>0</TotalTime>
  <Words>1276</Words>
  <Application>Microsoft Office PowerPoint</Application>
  <PresentationFormat>A4 Paper (210x297 mm)</PresentationFormat>
  <Paragraphs>414</Paragraphs>
  <Slides>15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Blank</vt:lpstr>
      <vt:lpstr>think-cell Slide</vt:lpstr>
      <vt:lpstr>Chart</vt:lpstr>
      <vt:lpstr>Offshore wind power New england Electricity Restructuring Roundtable </vt:lpstr>
      <vt:lpstr>DONG Energy at a glance</vt:lpstr>
      <vt:lpstr>DONG Energy Wind Power</vt:lpstr>
      <vt:lpstr>DONG Energy is building on +20years of offshore wind experience</vt:lpstr>
      <vt:lpstr>DONG Energy is the global leader in offshore wind with a unique pipeline of future projects</vt:lpstr>
      <vt:lpstr>Transformation of European power generation</vt:lpstr>
      <vt:lpstr>Offshore wind is a fast growing new energy technology industry</vt:lpstr>
      <vt:lpstr>Why Offshore Wind?</vt:lpstr>
      <vt:lpstr>Why USA?</vt:lpstr>
      <vt:lpstr>The US is a market full of opportunities</vt:lpstr>
      <vt:lpstr>By 2025 offshore wind will be truly global… </vt:lpstr>
      <vt:lpstr>Industry evolution in perspective; wind turbines</vt:lpstr>
      <vt:lpstr>Introducing Bay State Wind…</vt:lpstr>
      <vt:lpstr>Introducing Ocean Wind…</vt:lpstr>
      <vt:lpstr>Slide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08-19T16:19:30Z</dcterms:created>
  <dcterms:modified xsi:type="dcterms:W3CDTF">2016-05-17T16:23:14Z</dcterms:modified>
</cp:coreProperties>
</file>